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heme/themeOverride5.xml" ContentType="application/vnd.openxmlformats-officedocument.themeOverride+xml"/>
  <Override PartName="/ppt/tags/tag6.xml" ContentType="application/vnd.openxmlformats-officedocument.presentationml.tags+xml"/>
  <Override PartName="/ppt/theme/themeOverride6.xml" ContentType="application/vnd.openxmlformats-officedocument.themeOverride+xml"/>
  <Override PartName="/ppt/tags/tag7.xml" ContentType="application/vnd.openxmlformats-officedocument.presentationml.tags+xml"/>
  <Override PartName="/ppt/theme/themeOverride7.xml" ContentType="application/vnd.openxmlformats-officedocument.themeOverr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8.xml" ContentType="application/vnd.openxmlformats-officedocument.themeOverride+xml"/>
  <Override PartName="/ppt/tags/tag9.xml" ContentType="application/vnd.openxmlformats-officedocument.presentationml.tags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ags/tag10.xml" ContentType="application/vnd.openxmlformats-officedocument.presentationml.tags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ags/tag11.xml" ContentType="application/vnd.openxmlformats-officedocument.presentationml.tags+xml"/>
  <Override PartName="/ppt/theme/themeOverride13.xml" ContentType="application/vnd.openxmlformats-officedocument.themeOverride+xml"/>
  <Override PartName="/ppt/tags/tag12.xml" ContentType="application/vnd.openxmlformats-officedocument.presentationml.tags+xml"/>
  <Override PartName="/ppt/theme/themeOverride14.xml" ContentType="application/vnd.openxmlformats-officedocument.themeOverride+xml"/>
  <Override PartName="/ppt/tags/tag13.xml" ContentType="application/vnd.openxmlformats-officedocument.presentationml.tags+xml"/>
  <Override PartName="/ppt/theme/themeOverride15.xml" ContentType="application/vnd.openxmlformats-officedocument.themeOverride+xml"/>
  <Override PartName="/ppt/tags/tag14.xml" ContentType="application/vnd.openxmlformats-officedocument.presentationml.tags+xml"/>
  <Override PartName="/ppt/theme/themeOverride16.xml" ContentType="application/vnd.openxmlformats-officedocument.themeOverride+xml"/>
  <Override PartName="/ppt/tags/tag15.xml" ContentType="application/vnd.openxmlformats-officedocument.presentationml.tags+xml"/>
  <Override PartName="/ppt/theme/themeOverride17.xml" ContentType="application/vnd.openxmlformats-officedocument.themeOverride+xml"/>
  <Override PartName="/ppt/tags/tag16.xml" ContentType="application/vnd.openxmlformats-officedocument.presentationml.tags+xml"/>
  <Override PartName="/ppt/theme/themeOverride18.xml" ContentType="application/vnd.openxmlformats-officedocument.themeOverride+xml"/>
  <Override PartName="/ppt/tags/tag17.xml" ContentType="application/vnd.openxmlformats-officedocument.presentationml.tags+xml"/>
  <Override PartName="/ppt/theme/themeOverride19.xml" ContentType="application/vnd.openxmlformats-officedocument.themeOverride+xml"/>
  <Override PartName="/ppt/tags/tag18.xml" ContentType="application/vnd.openxmlformats-officedocument.presentationml.tags+xml"/>
  <Override PartName="/ppt/theme/themeOverride20.xml" ContentType="application/vnd.openxmlformats-officedocument.themeOverride+xml"/>
  <Override PartName="/ppt/tags/tag19.xml" ContentType="application/vnd.openxmlformats-officedocument.presentationml.tags+xml"/>
  <Override PartName="/ppt/theme/themeOverride21.xml" ContentType="application/vnd.openxmlformats-officedocument.themeOverride+xml"/>
  <Override PartName="/ppt/tags/tag20.xml" ContentType="application/vnd.openxmlformats-officedocument.presentationml.tags+xml"/>
  <Override PartName="/ppt/theme/themeOverride22.xml" ContentType="application/vnd.openxmlformats-officedocument.themeOverride+xml"/>
  <Override PartName="/ppt/tags/tag21.xml" ContentType="application/vnd.openxmlformats-officedocument.presentationml.tags+xml"/>
  <Override PartName="/ppt/theme/themeOverride23.xml" ContentType="application/vnd.openxmlformats-officedocument.themeOverride+xml"/>
  <Override PartName="/ppt/tags/tag22.xml" ContentType="application/vnd.openxmlformats-officedocument.presentationml.tags+xml"/>
  <Override PartName="/ppt/theme/themeOverride24.xml" ContentType="application/vnd.openxmlformats-officedocument.themeOverride+xml"/>
  <Override PartName="/ppt/tags/tag23.xml" ContentType="application/vnd.openxmlformats-officedocument.presentationml.tags+xml"/>
  <Override PartName="/ppt/theme/themeOverride25.xml" ContentType="application/vnd.openxmlformats-officedocument.themeOverride+xml"/>
  <Override PartName="/ppt/tags/tag24.xml" ContentType="application/vnd.openxmlformats-officedocument.presentationml.tags+xml"/>
  <Override PartName="/ppt/theme/themeOverride26.xml" ContentType="application/vnd.openxmlformats-officedocument.themeOverride+xml"/>
  <Override PartName="/ppt/tags/tag25.xml" ContentType="application/vnd.openxmlformats-officedocument.presentationml.tags+xml"/>
  <Override PartName="/ppt/theme/themeOverride27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256" r:id="rId2"/>
    <p:sldId id="269" r:id="rId3"/>
    <p:sldId id="258" r:id="rId4"/>
    <p:sldId id="272" r:id="rId5"/>
    <p:sldId id="273" r:id="rId6"/>
    <p:sldId id="274" r:id="rId7"/>
    <p:sldId id="275" r:id="rId8"/>
    <p:sldId id="277" r:id="rId9"/>
    <p:sldId id="278" r:id="rId10"/>
    <p:sldId id="279" r:id="rId11"/>
    <p:sldId id="280" r:id="rId12"/>
    <p:sldId id="281" r:id="rId13"/>
    <p:sldId id="283" r:id="rId14"/>
    <p:sldId id="284" r:id="rId15"/>
    <p:sldId id="285" r:id="rId16"/>
    <p:sldId id="286" r:id="rId17"/>
    <p:sldId id="287" r:id="rId18"/>
    <p:sldId id="289" r:id="rId19"/>
    <p:sldId id="290" r:id="rId20"/>
    <p:sldId id="291" r:id="rId21"/>
    <p:sldId id="292" r:id="rId22"/>
    <p:sldId id="293" r:id="rId23"/>
    <p:sldId id="295" r:id="rId24"/>
    <p:sldId id="296" r:id="rId25"/>
    <p:sldId id="297" r:id="rId26"/>
    <p:sldId id="299" r:id="rId27"/>
    <p:sldId id="261" r:id="rId28"/>
  </p:sldIdLst>
  <p:sldSz cx="12192000" cy="6858000"/>
  <p:notesSz cx="6858000" cy="9144000"/>
  <p:custDataLst>
    <p:tags r:id="rId3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28"/>
    <a:srgbClr val="008837"/>
    <a:srgbClr val="A4DCFE"/>
    <a:srgbClr val="5DC0FD"/>
    <a:srgbClr val="39B2FD"/>
    <a:srgbClr val="0292E7"/>
    <a:srgbClr val="F1F2F7"/>
    <a:srgbClr val="A20000"/>
    <a:srgbClr val="A40000"/>
    <a:srgbClr val="9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1" autoAdjust="0"/>
    <p:restoredTop sz="95979" autoAdjust="0"/>
  </p:normalViewPr>
  <p:slideViewPr>
    <p:cSldViewPr snapToGrid="0">
      <p:cViewPr varScale="1">
        <p:scale>
          <a:sx n="70" d="100"/>
          <a:sy n="70" d="100"/>
        </p:scale>
        <p:origin x="211" y="58"/>
      </p:cViewPr>
      <p:guideLst/>
    </p:cSldViewPr>
  </p:slideViewPr>
  <p:notesTextViewPr>
    <p:cViewPr>
      <p:scale>
        <a:sx n="20" d="100"/>
        <a:sy n="2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-09-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-09-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/>
              <a:t>www.51pptmoban.com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6433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 dirty="0"/>
              <a:t>www.51pptmoban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66272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>
            <a:extLst>
              <a:ext uri="{FF2B5EF4-FFF2-40B4-BE49-F238E27FC236}">
                <a16:creationId xmlns:a16="http://schemas.microsoft.com/office/drawing/2014/main" id="{4213E5B6-29CC-446E-B771-6E85AA5F84B9}"/>
              </a:ext>
            </a:extLst>
          </p:cNvPr>
          <p:cNvGrpSpPr/>
          <p:nvPr userDrawn="1"/>
        </p:nvGrpSpPr>
        <p:grpSpPr>
          <a:xfrm>
            <a:off x="0" y="0"/>
            <a:ext cx="12192000" cy="6879488"/>
            <a:chOff x="0" y="0"/>
            <a:chExt cx="12192000" cy="6879488"/>
          </a:xfrm>
        </p:grpSpPr>
        <p:pic>
          <p:nvPicPr>
            <p:cNvPr id="7" name="Picture 43">
              <a:extLst>
                <a:ext uri="{FF2B5EF4-FFF2-40B4-BE49-F238E27FC236}">
                  <a16:creationId xmlns:a16="http://schemas.microsoft.com/office/drawing/2014/main" id="{FF40615B-F5DD-41A5-83C7-37E75570BFA3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2192000" cy="6879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422711A7-4B6A-4E7C-A645-41AEEC591A13}"/>
                </a:ext>
              </a:extLst>
            </p:cNvPr>
            <p:cNvSpPr>
              <a:spLocks/>
            </p:cNvSpPr>
            <p:nvPr/>
          </p:nvSpPr>
          <p:spPr>
            <a:xfrm flipV="1">
              <a:off x="0" y="0"/>
              <a:ext cx="12192000" cy="687948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48000"/>
                  </a:schemeClr>
                </a:gs>
                <a:gs pos="100000">
                  <a:schemeClr val="bg1"/>
                </a:gs>
              </a:gsLst>
              <a:lin ang="5400000" scaled="0"/>
              <a:tileRect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" name="矩形 8">
            <a:extLst>
              <a:ext uri="{FF2B5EF4-FFF2-40B4-BE49-F238E27FC236}">
                <a16:creationId xmlns:a16="http://schemas.microsoft.com/office/drawing/2014/main" id="{2774602A-6715-43C9-8EB2-B485583C5D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rgbClr val="F1F2F7">
                  <a:alpha val="83000"/>
                </a:srgb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Oval 60_1">
            <a:extLst>
              <a:ext uri="{FF2B5EF4-FFF2-40B4-BE49-F238E27FC236}">
                <a16:creationId xmlns:a16="http://schemas.microsoft.com/office/drawing/2014/main" id="{5C8D4DFA-601D-4F66-94C2-07452F53AAF0}"/>
              </a:ext>
            </a:extLst>
          </p:cNvPr>
          <p:cNvSpPr/>
          <p:nvPr userDrawn="1"/>
        </p:nvSpPr>
        <p:spPr>
          <a:xfrm rot="907621">
            <a:off x="3185885" y="917811"/>
            <a:ext cx="4720742" cy="4720742"/>
          </a:xfrm>
          <a:prstGeom prst="arc">
            <a:avLst>
              <a:gd name="adj1" fmla="val 11826755"/>
              <a:gd name="adj2" fmla="val 8314017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893597" y="3710209"/>
            <a:ext cx="9625301" cy="341632"/>
          </a:xfrm>
          <a:noFill/>
        </p:spPr>
        <p:txBody>
          <a:bodyPr wrap="square">
            <a:spAutoFit/>
          </a:bodyPr>
          <a:lstStyle>
            <a:lvl1pPr marL="0" indent="0">
              <a:buNone/>
              <a:defRPr lang="en-US" b="0" i="0" u="sng" dirty="0">
                <a:solidFill>
                  <a:srgbClr val="006428"/>
                </a:solidFill>
                <a:effectLst/>
                <a:latin typeface="arial" panose="020B0604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893597" y="1773937"/>
            <a:ext cx="9625301" cy="1894268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zh-CN" altLang="en-US" b="0" dirty="0">
                <a:solidFill>
                  <a:schemeClr val="accent2"/>
                </a:solidFill>
                <a:latin typeface="+mj-ea"/>
              </a:defRPr>
            </a:lvl1pPr>
          </a:lstStyle>
          <a:p>
            <a:pPr marL="0" lvl="0" fontAlgn="b">
              <a:lnSpc>
                <a:spcPct val="100000"/>
              </a:lnSpc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41399" y="5516686"/>
            <a:ext cx="10845800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altLang="zh-CN" sz="1400" b="0" dirty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041399" y="5876457"/>
            <a:ext cx="10845800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zh-CN" altLang="en-US" sz="1400" b="0" dirty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15" name="图形 14">
            <a:extLst>
              <a:ext uri="{FF2B5EF4-FFF2-40B4-BE49-F238E27FC236}">
                <a16:creationId xmlns:a16="http://schemas.microsoft.com/office/drawing/2014/main" id="{6D06386D-E00A-41A7-A350-E7D4FC3C63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40900" y="5713232"/>
            <a:ext cx="1823198" cy="409290"/>
          </a:xfrm>
          <a:prstGeom prst="rect">
            <a:avLst/>
          </a:prstGeom>
        </p:spPr>
      </p:pic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F57E0760-103A-4C93-89A4-BE3A7E0C4CBB}"/>
              </a:ext>
            </a:extLst>
          </p:cNvPr>
          <p:cNvSpPr/>
          <p:nvPr userDrawn="1"/>
        </p:nvSpPr>
        <p:spPr>
          <a:xfrm>
            <a:off x="5546256" y="1905000"/>
            <a:ext cx="6372568" cy="4953001"/>
          </a:xfrm>
          <a:custGeom>
            <a:avLst/>
            <a:gdLst>
              <a:gd name="connsiteX0" fmla="*/ 2573615 w 5857912"/>
              <a:gd name="connsiteY0" fmla="*/ 1153139 h 4552991"/>
              <a:gd name="connsiteX1" fmla="*/ 2573615 w 5857912"/>
              <a:gd name="connsiteY1" fmla="*/ 1153349 h 4552991"/>
              <a:gd name="connsiteX2" fmla="*/ 2346181 w 5857912"/>
              <a:gd name="connsiteY2" fmla="*/ 1260429 h 4552991"/>
              <a:gd name="connsiteX3" fmla="*/ 2131601 w 5857912"/>
              <a:gd name="connsiteY3" fmla="*/ 1367718 h 4552991"/>
              <a:gd name="connsiteX4" fmla="*/ 1930323 w 5857912"/>
              <a:gd name="connsiteY4" fmla="*/ 1488307 h 4552991"/>
              <a:gd name="connsiteX5" fmla="*/ 1756088 w 5857912"/>
              <a:gd name="connsiteY5" fmla="*/ 1608897 h 4552991"/>
              <a:gd name="connsiteX6" fmla="*/ 1581853 w 5857912"/>
              <a:gd name="connsiteY6" fmla="*/ 1742788 h 4552991"/>
              <a:gd name="connsiteX7" fmla="*/ 1434221 w 5857912"/>
              <a:gd name="connsiteY7" fmla="*/ 1863377 h 4552991"/>
              <a:gd name="connsiteX8" fmla="*/ 1300331 w 5857912"/>
              <a:gd name="connsiteY8" fmla="*/ 1997268 h 4552991"/>
              <a:gd name="connsiteX9" fmla="*/ 1179741 w 5857912"/>
              <a:gd name="connsiteY9" fmla="*/ 2131158 h 4552991"/>
              <a:gd name="connsiteX10" fmla="*/ 1072450 w 5857912"/>
              <a:gd name="connsiteY10" fmla="*/ 2265049 h 4552991"/>
              <a:gd name="connsiteX11" fmla="*/ 992205 w 5857912"/>
              <a:gd name="connsiteY11" fmla="*/ 2385638 h 4552991"/>
              <a:gd name="connsiteX12" fmla="*/ 925261 w 5857912"/>
              <a:gd name="connsiteY12" fmla="*/ 2519527 h 4552991"/>
              <a:gd name="connsiteX13" fmla="*/ 884916 w 5857912"/>
              <a:gd name="connsiteY13" fmla="*/ 2640117 h 4552991"/>
              <a:gd name="connsiteX14" fmla="*/ 858314 w 5857912"/>
              <a:gd name="connsiteY14" fmla="*/ 2760706 h 4552991"/>
              <a:gd name="connsiteX15" fmla="*/ 858314 w 5857912"/>
              <a:gd name="connsiteY15" fmla="*/ 2881296 h 4552991"/>
              <a:gd name="connsiteX16" fmla="*/ 871615 w 5857912"/>
              <a:gd name="connsiteY16" fmla="*/ 2988585 h 4552991"/>
              <a:gd name="connsiteX17" fmla="*/ 898217 w 5857912"/>
              <a:gd name="connsiteY17" fmla="*/ 3095876 h 4552991"/>
              <a:gd name="connsiteX18" fmla="*/ 938561 w 5857912"/>
              <a:gd name="connsiteY18" fmla="*/ 3162820 h 4552991"/>
              <a:gd name="connsiteX19" fmla="*/ 978904 w 5857912"/>
              <a:gd name="connsiteY19" fmla="*/ 3216466 h 4552991"/>
              <a:gd name="connsiteX20" fmla="*/ 1032550 w 5857912"/>
              <a:gd name="connsiteY20" fmla="*/ 3256809 h 4552991"/>
              <a:gd name="connsiteX21" fmla="*/ 1099494 w 5857912"/>
              <a:gd name="connsiteY21" fmla="*/ 3297154 h 4552991"/>
              <a:gd name="connsiteX22" fmla="*/ 1179741 w 5857912"/>
              <a:gd name="connsiteY22" fmla="*/ 3337498 h 4552991"/>
              <a:gd name="connsiteX23" fmla="*/ 1259986 w 5857912"/>
              <a:gd name="connsiteY23" fmla="*/ 3364542 h 4552991"/>
              <a:gd name="connsiteX24" fmla="*/ 1353974 w 5857912"/>
              <a:gd name="connsiteY24" fmla="*/ 3377843 h 4552991"/>
              <a:gd name="connsiteX25" fmla="*/ 1461263 w 5857912"/>
              <a:gd name="connsiteY25" fmla="*/ 3391144 h 4552991"/>
              <a:gd name="connsiteX26" fmla="*/ 1702443 w 5857912"/>
              <a:gd name="connsiteY26" fmla="*/ 3391144 h 4552991"/>
              <a:gd name="connsiteX27" fmla="*/ 1956923 w 5857912"/>
              <a:gd name="connsiteY27" fmla="*/ 3364542 h 4552991"/>
              <a:gd name="connsiteX28" fmla="*/ 2251748 w 5857912"/>
              <a:gd name="connsiteY28" fmla="*/ 3310897 h 4552991"/>
              <a:gd name="connsiteX29" fmla="*/ 2573615 w 5857912"/>
              <a:gd name="connsiteY29" fmla="*/ 3230652 h 4552991"/>
              <a:gd name="connsiteX30" fmla="*/ 2573615 w 5857912"/>
              <a:gd name="connsiteY30" fmla="*/ 1153349 h 4552991"/>
              <a:gd name="connsiteX31" fmla="*/ 2574060 w 5857912"/>
              <a:gd name="connsiteY31" fmla="*/ 1153139 h 4552991"/>
              <a:gd name="connsiteX32" fmla="*/ 2895926 w 5857912"/>
              <a:gd name="connsiteY32" fmla="*/ 254923 h 4552991"/>
              <a:gd name="connsiteX33" fmla="*/ 2883070 w 5857912"/>
              <a:gd name="connsiteY33" fmla="*/ 3594196 h 4552991"/>
              <a:gd name="connsiteX34" fmla="*/ 2888025 w 5857912"/>
              <a:gd name="connsiteY34" fmla="*/ 4552991 h 4552991"/>
              <a:gd name="connsiteX35" fmla="*/ 2574502 w 5857912"/>
              <a:gd name="connsiteY35" fmla="*/ 4552991 h 4552991"/>
              <a:gd name="connsiteX36" fmla="*/ 2574502 w 5857912"/>
              <a:gd name="connsiteY36" fmla="*/ 3728084 h 4552991"/>
              <a:gd name="connsiteX37" fmla="*/ 2373225 w 5857912"/>
              <a:gd name="connsiteY37" fmla="*/ 3795030 h 4552991"/>
              <a:gd name="connsiteX38" fmla="*/ 2158645 w 5857912"/>
              <a:gd name="connsiteY38" fmla="*/ 3848674 h 4552991"/>
              <a:gd name="connsiteX39" fmla="*/ 1957368 w 5857912"/>
              <a:gd name="connsiteY39" fmla="*/ 3889019 h 4552991"/>
              <a:gd name="connsiteX40" fmla="*/ 1756088 w 5857912"/>
              <a:gd name="connsiteY40" fmla="*/ 3916063 h 4552991"/>
              <a:gd name="connsiteX41" fmla="*/ 1554809 w 5857912"/>
              <a:gd name="connsiteY41" fmla="*/ 3916063 h 4552991"/>
              <a:gd name="connsiteX42" fmla="*/ 1367275 w 5857912"/>
              <a:gd name="connsiteY42" fmla="*/ 3916063 h 4552991"/>
              <a:gd name="connsiteX43" fmla="*/ 1179741 w 5857912"/>
              <a:gd name="connsiteY43" fmla="*/ 3902762 h 4552991"/>
              <a:gd name="connsiteX44" fmla="*/ 1005506 w 5857912"/>
              <a:gd name="connsiteY44" fmla="*/ 3862419 h 4552991"/>
              <a:gd name="connsiteX45" fmla="*/ 844571 w 5857912"/>
              <a:gd name="connsiteY45" fmla="*/ 3822074 h 4552991"/>
              <a:gd name="connsiteX46" fmla="*/ 696937 w 5857912"/>
              <a:gd name="connsiteY46" fmla="*/ 3768429 h 4552991"/>
              <a:gd name="connsiteX47" fmla="*/ 549303 w 5857912"/>
              <a:gd name="connsiteY47" fmla="*/ 3714785 h 4552991"/>
              <a:gd name="connsiteX48" fmla="*/ 428714 w 5857912"/>
              <a:gd name="connsiteY48" fmla="*/ 3647839 h 4552991"/>
              <a:gd name="connsiteX49" fmla="*/ 321425 w 5857912"/>
              <a:gd name="connsiteY49" fmla="*/ 3567594 h 4552991"/>
              <a:gd name="connsiteX50" fmla="*/ 227436 w 5857912"/>
              <a:gd name="connsiteY50" fmla="*/ 3473606 h 4552991"/>
              <a:gd name="connsiteX51" fmla="*/ 147191 w 5857912"/>
              <a:gd name="connsiteY51" fmla="*/ 3379616 h 4552991"/>
              <a:gd name="connsiteX52" fmla="*/ 93546 w 5857912"/>
              <a:gd name="connsiteY52" fmla="*/ 3285627 h 4552991"/>
              <a:gd name="connsiteX53" fmla="*/ 53201 w 5857912"/>
              <a:gd name="connsiteY53" fmla="*/ 3178338 h 4552991"/>
              <a:gd name="connsiteX54" fmla="*/ 26602 w 5857912"/>
              <a:gd name="connsiteY54" fmla="*/ 3071047 h 4552991"/>
              <a:gd name="connsiteX55" fmla="*/ 13301 w 5857912"/>
              <a:gd name="connsiteY55" fmla="*/ 2963758 h 4552991"/>
              <a:gd name="connsiteX56" fmla="*/ 0 w 5857912"/>
              <a:gd name="connsiteY56" fmla="*/ 2856469 h 4552991"/>
              <a:gd name="connsiteX57" fmla="*/ 13301 w 5857912"/>
              <a:gd name="connsiteY57" fmla="*/ 2749180 h 4552991"/>
              <a:gd name="connsiteX58" fmla="*/ 26602 w 5857912"/>
              <a:gd name="connsiteY58" fmla="*/ 2641891 h 4552991"/>
              <a:gd name="connsiteX59" fmla="*/ 39900 w 5857912"/>
              <a:gd name="connsiteY59" fmla="*/ 2534602 h 4552991"/>
              <a:gd name="connsiteX60" fmla="*/ 80245 w 5857912"/>
              <a:gd name="connsiteY60" fmla="*/ 2427311 h 4552991"/>
              <a:gd name="connsiteX61" fmla="*/ 120590 w 5857912"/>
              <a:gd name="connsiteY61" fmla="*/ 2320022 h 4552991"/>
              <a:gd name="connsiteX62" fmla="*/ 174236 w 5857912"/>
              <a:gd name="connsiteY62" fmla="*/ 2212733 h 4552991"/>
              <a:gd name="connsiteX63" fmla="*/ 294825 w 5857912"/>
              <a:gd name="connsiteY63" fmla="*/ 1998155 h 4552991"/>
              <a:gd name="connsiteX64" fmla="*/ 455758 w 5857912"/>
              <a:gd name="connsiteY64" fmla="*/ 1783575 h 4552991"/>
              <a:gd name="connsiteX65" fmla="*/ 657037 w 5857912"/>
              <a:gd name="connsiteY65" fmla="*/ 1582298 h 4552991"/>
              <a:gd name="connsiteX66" fmla="*/ 871615 w 5857912"/>
              <a:gd name="connsiteY66" fmla="*/ 1381018 h 4552991"/>
              <a:gd name="connsiteX67" fmla="*/ 1099494 w 5857912"/>
              <a:gd name="connsiteY67" fmla="*/ 1193484 h 4552991"/>
              <a:gd name="connsiteX68" fmla="*/ 1367717 w 5857912"/>
              <a:gd name="connsiteY68" fmla="*/ 1005948 h 4552991"/>
              <a:gd name="connsiteX69" fmla="*/ 1649242 w 5857912"/>
              <a:gd name="connsiteY69" fmla="*/ 831715 h 4552991"/>
              <a:gd name="connsiteX70" fmla="*/ 1944067 w 5857912"/>
              <a:gd name="connsiteY70" fmla="*/ 670780 h 4552991"/>
              <a:gd name="connsiteX71" fmla="*/ 2252190 w 5857912"/>
              <a:gd name="connsiteY71" fmla="*/ 523147 h 4552991"/>
              <a:gd name="connsiteX72" fmla="*/ 2574060 w 5857912"/>
              <a:gd name="connsiteY72" fmla="*/ 375513 h 4552991"/>
              <a:gd name="connsiteX73" fmla="*/ 3378286 w 5857912"/>
              <a:gd name="connsiteY73" fmla="*/ 107289 h 4552991"/>
              <a:gd name="connsiteX74" fmla="*/ 3378286 w 5857912"/>
              <a:gd name="connsiteY74" fmla="*/ 1126096 h 4552991"/>
              <a:gd name="connsiteX75" fmla="*/ 3378286 w 5857912"/>
              <a:gd name="connsiteY75" fmla="*/ 4552991 h 4552991"/>
              <a:gd name="connsiteX76" fmla="*/ 3070162 w 5857912"/>
              <a:gd name="connsiteY76" fmla="*/ 4552991 h 4552991"/>
              <a:gd name="connsiteX77" fmla="*/ 3070162 w 5857912"/>
              <a:gd name="connsiteY77" fmla="*/ 4155470 h 4552991"/>
              <a:gd name="connsiteX78" fmla="*/ 3070162 w 5857912"/>
              <a:gd name="connsiteY78" fmla="*/ 174235 h 4552991"/>
              <a:gd name="connsiteX79" fmla="*/ 4169213 w 5857912"/>
              <a:gd name="connsiteY79" fmla="*/ 0 h 4552991"/>
              <a:gd name="connsiteX80" fmla="*/ 4356747 w 5857912"/>
              <a:gd name="connsiteY80" fmla="*/ 0 h 4552991"/>
              <a:gd name="connsiteX81" fmla="*/ 4544283 w 5857912"/>
              <a:gd name="connsiteY81" fmla="*/ 0 h 4552991"/>
              <a:gd name="connsiteX82" fmla="*/ 4705216 w 5857912"/>
              <a:gd name="connsiteY82" fmla="*/ 13301 h 4552991"/>
              <a:gd name="connsiteX83" fmla="*/ 4852849 w 5857912"/>
              <a:gd name="connsiteY83" fmla="*/ 26602 h 4552991"/>
              <a:gd name="connsiteX84" fmla="*/ 5000483 w 5857912"/>
              <a:gd name="connsiteY84" fmla="*/ 66945 h 4552991"/>
              <a:gd name="connsiteX85" fmla="*/ 5134374 w 5857912"/>
              <a:gd name="connsiteY85" fmla="*/ 107289 h 4552991"/>
              <a:gd name="connsiteX86" fmla="*/ 5254963 w 5857912"/>
              <a:gd name="connsiteY86" fmla="*/ 160935 h 4552991"/>
              <a:gd name="connsiteX87" fmla="*/ 5362252 w 5857912"/>
              <a:gd name="connsiteY87" fmla="*/ 214578 h 4552991"/>
              <a:gd name="connsiteX88" fmla="*/ 5456242 w 5857912"/>
              <a:gd name="connsiteY88" fmla="*/ 281525 h 4552991"/>
              <a:gd name="connsiteX89" fmla="*/ 5550231 w 5857912"/>
              <a:gd name="connsiteY89" fmla="*/ 361769 h 4552991"/>
              <a:gd name="connsiteX90" fmla="*/ 5617177 w 5857912"/>
              <a:gd name="connsiteY90" fmla="*/ 442014 h 4552991"/>
              <a:gd name="connsiteX91" fmla="*/ 5670820 w 5857912"/>
              <a:gd name="connsiteY91" fmla="*/ 536005 h 4552991"/>
              <a:gd name="connsiteX92" fmla="*/ 5724466 w 5857912"/>
              <a:gd name="connsiteY92" fmla="*/ 629993 h 4552991"/>
              <a:gd name="connsiteX93" fmla="*/ 5027527 w 5857912"/>
              <a:gd name="connsiteY93" fmla="*/ 924818 h 4552991"/>
              <a:gd name="connsiteX94" fmla="*/ 4933539 w 5857912"/>
              <a:gd name="connsiteY94" fmla="*/ 857872 h 4552991"/>
              <a:gd name="connsiteX95" fmla="*/ 4826250 w 5857912"/>
              <a:gd name="connsiteY95" fmla="*/ 817527 h 4552991"/>
              <a:gd name="connsiteX96" fmla="*/ 4692360 w 5857912"/>
              <a:gd name="connsiteY96" fmla="*/ 790928 h 4552991"/>
              <a:gd name="connsiteX97" fmla="*/ 4544726 w 5857912"/>
              <a:gd name="connsiteY97" fmla="*/ 777627 h 4552991"/>
              <a:gd name="connsiteX98" fmla="*/ 4383791 w 5857912"/>
              <a:gd name="connsiteY98" fmla="*/ 777627 h 4552991"/>
              <a:gd name="connsiteX99" fmla="*/ 4222858 w 5857912"/>
              <a:gd name="connsiteY99" fmla="*/ 777627 h 4552991"/>
              <a:gd name="connsiteX100" fmla="*/ 4035322 w 5857912"/>
              <a:gd name="connsiteY100" fmla="*/ 804226 h 4552991"/>
              <a:gd name="connsiteX101" fmla="*/ 3861089 w 5857912"/>
              <a:gd name="connsiteY101" fmla="*/ 831270 h 4552991"/>
              <a:gd name="connsiteX102" fmla="*/ 3861089 w 5857912"/>
              <a:gd name="connsiteY102" fmla="*/ 2856027 h 4552991"/>
              <a:gd name="connsiteX103" fmla="*/ 4115567 w 5857912"/>
              <a:gd name="connsiteY103" fmla="*/ 2708393 h 4552991"/>
              <a:gd name="connsiteX104" fmla="*/ 4330148 w 5857912"/>
              <a:gd name="connsiteY104" fmla="*/ 2560759 h 4552991"/>
              <a:gd name="connsiteX105" fmla="*/ 4504380 w 5857912"/>
              <a:gd name="connsiteY105" fmla="*/ 2413125 h 4552991"/>
              <a:gd name="connsiteX106" fmla="*/ 4665315 w 5857912"/>
              <a:gd name="connsiteY106" fmla="*/ 2279235 h 4552991"/>
              <a:gd name="connsiteX107" fmla="*/ 4812949 w 5857912"/>
              <a:gd name="connsiteY107" fmla="*/ 2145344 h 4552991"/>
              <a:gd name="connsiteX108" fmla="*/ 4933539 w 5857912"/>
              <a:gd name="connsiteY108" fmla="*/ 1997710 h 4552991"/>
              <a:gd name="connsiteX109" fmla="*/ 5054128 w 5857912"/>
              <a:gd name="connsiteY109" fmla="*/ 1850077 h 4552991"/>
              <a:gd name="connsiteX110" fmla="*/ 5161418 w 5857912"/>
              <a:gd name="connsiteY110" fmla="*/ 1675843 h 4552991"/>
              <a:gd name="connsiteX111" fmla="*/ 4316846 w 5857912"/>
              <a:gd name="connsiteY111" fmla="*/ 2038055 h 4552991"/>
              <a:gd name="connsiteX112" fmla="*/ 4316846 w 5857912"/>
              <a:gd name="connsiteY112" fmla="*/ 1528652 h 4552991"/>
              <a:gd name="connsiteX113" fmla="*/ 4611670 w 5857912"/>
              <a:gd name="connsiteY113" fmla="*/ 1421363 h 4552991"/>
              <a:gd name="connsiteX114" fmla="*/ 4611670 w 5857912"/>
              <a:gd name="connsiteY114" fmla="*/ 1434664 h 4552991"/>
              <a:gd name="connsiteX115" fmla="*/ 5831312 w 5857912"/>
              <a:gd name="connsiteY115" fmla="*/ 895999 h 4552991"/>
              <a:gd name="connsiteX116" fmla="*/ 5857912 w 5857912"/>
              <a:gd name="connsiteY116" fmla="*/ 1070235 h 4552991"/>
              <a:gd name="connsiteX117" fmla="*/ 5857912 w 5857912"/>
              <a:gd name="connsiteY117" fmla="*/ 1231167 h 4552991"/>
              <a:gd name="connsiteX118" fmla="*/ 5844614 w 5857912"/>
              <a:gd name="connsiteY118" fmla="*/ 1392102 h 4552991"/>
              <a:gd name="connsiteX119" fmla="*/ 5818012 w 5857912"/>
              <a:gd name="connsiteY119" fmla="*/ 1553036 h 4552991"/>
              <a:gd name="connsiteX120" fmla="*/ 5764366 w 5857912"/>
              <a:gd name="connsiteY120" fmla="*/ 1713971 h 4552991"/>
              <a:gd name="connsiteX121" fmla="*/ 5684122 w 5857912"/>
              <a:gd name="connsiteY121" fmla="*/ 1874905 h 4552991"/>
              <a:gd name="connsiteX122" fmla="*/ 5590133 w 5857912"/>
              <a:gd name="connsiteY122" fmla="*/ 2035838 h 4552991"/>
              <a:gd name="connsiteX123" fmla="*/ 5469544 w 5857912"/>
              <a:gd name="connsiteY123" fmla="*/ 2183472 h 4552991"/>
              <a:gd name="connsiteX124" fmla="*/ 5335653 w 5857912"/>
              <a:gd name="connsiteY124" fmla="*/ 2344406 h 4552991"/>
              <a:gd name="connsiteX125" fmla="*/ 5188019 w 5857912"/>
              <a:gd name="connsiteY125" fmla="*/ 2492040 h 4552991"/>
              <a:gd name="connsiteX126" fmla="*/ 5013784 w 5857912"/>
              <a:gd name="connsiteY126" fmla="*/ 2639674 h 4552991"/>
              <a:gd name="connsiteX127" fmla="*/ 4812506 w 5857912"/>
              <a:gd name="connsiteY127" fmla="*/ 2800609 h 4552991"/>
              <a:gd name="connsiteX128" fmla="*/ 4611227 w 5857912"/>
              <a:gd name="connsiteY128" fmla="*/ 2948242 h 4552991"/>
              <a:gd name="connsiteX129" fmla="*/ 4370048 w 5857912"/>
              <a:gd name="connsiteY129" fmla="*/ 3095876 h 4552991"/>
              <a:gd name="connsiteX130" fmla="*/ 4128868 w 5857912"/>
              <a:gd name="connsiteY130" fmla="*/ 3256809 h 4552991"/>
              <a:gd name="connsiteX131" fmla="*/ 3860644 w 5857912"/>
              <a:gd name="connsiteY131" fmla="*/ 3404443 h 4552991"/>
              <a:gd name="connsiteX132" fmla="*/ 3860644 w 5857912"/>
              <a:gd name="connsiteY132" fmla="*/ 4552991 h 4552991"/>
              <a:gd name="connsiteX133" fmla="*/ 3552521 w 5857912"/>
              <a:gd name="connsiteY133" fmla="*/ 4552991 h 4552991"/>
              <a:gd name="connsiteX134" fmla="*/ 3552521 w 5857912"/>
              <a:gd name="connsiteY134" fmla="*/ 1125653 h 4552991"/>
              <a:gd name="connsiteX135" fmla="*/ 3552521 w 5857912"/>
              <a:gd name="connsiteY135" fmla="*/ 80245 h 4552991"/>
              <a:gd name="connsiteX136" fmla="*/ 3767099 w 5857912"/>
              <a:gd name="connsiteY136" fmla="*/ 53646 h 4552991"/>
              <a:gd name="connsiteX137" fmla="*/ 3981679 w 5857912"/>
              <a:gd name="connsiteY137" fmla="*/ 13301 h 455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5857912" h="4552991">
                <a:moveTo>
                  <a:pt x="2573615" y="1153139"/>
                </a:moveTo>
                <a:lnTo>
                  <a:pt x="2573615" y="1153349"/>
                </a:lnTo>
                <a:lnTo>
                  <a:pt x="2346181" y="1260429"/>
                </a:lnTo>
                <a:lnTo>
                  <a:pt x="2131601" y="1367718"/>
                </a:lnTo>
                <a:lnTo>
                  <a:pt x="1930323" y="1488307"/>
                </a:lnTo>
                <a:lnTo>
                  <a:pt x="1756088" y="1608897"/>
                </a:lnTo>
                <a:lnTo>
                  <a:pt x="1581853" y="1742788"/>
                </a:lnTo>
                <a:lnTo>
                  <a:pt x="1434221" y="1863377"/>
                </a:lnTo>
                <a:lnTo>
                  <a:pt x="1300331" y="1997268"/>
                </a:lnTo>
                <a:lnTo>
                  <a:pt x="1179741" y="2131158"/>
                </a:lnTo>
                <a:lnTo>
                  <a:pt x="1072450" y="2265049"/>
                </a:lnTo>
                <a:lnTo>
                  <a:pt x="992205" y="2385638"/>
                </a:lnTo>
                <a:lnTo>
                  <a:pt x="925261" y="2519527"/>
                </a:lnTo>
                <a:lnTo>
                  <a:pt x="884916" y="2640117"/>
                </a:lnTo>
                <a:lnTo>
                  <a:pt x="858314" y="2760706"/>
                </a:lnTo>
                <a:lnTo>
                  <a:pt x="858314" y="2881296"/>
                </a:lnTo>
                <a:lnTo>
                  <a:pt x="871615" y="2988585"/>
                </a:lnTo>
                <a:lnTo>
                  <a:pt x="898217" y="3095876"/>
                </a:lnTo>
                <a:lnTo>
                  <a:pt x="938561" y="3162820"/>
                </a:lnTo>
                <a:lnTo>
                  <a:pt x="978904" y="3216466"/>
                </a:lnTo>
                <a:lnTo>
                  <a:pt x="1032550" y="3256809"/>
                </a:lnTo>
                <a:lnTo>
                  <a:pt x="1099494" y="3297154"/>
                </a:lnTo>
                <a:lnTo>
                  <a:pt x="1179741" y="3337498"/>
                </a:lnTo>
                <a:lnTo>
                  <a:pt x="1259986" y="3364542"/>
                </a:lnTo>
                <a:lnTo>
                  <a:pt x="1353974" y="3377843"/>
                </a:lnTo>
                <a:lnTo>
                  <a:pt x="1461263" y="3391144"/>
                </a:lnTo>
                <a:lnTo>
                  <a:pt x="1702443" y="3391144"/>
                </a:lnTo>
                <a:lnTo>
                  <a:pt x="1956923" y="3364542"/>
                </a:lnTo>
                <a:lnTo>
                  <a:pt x="2251748" y="3310897"/>
                </a:lnTo>
                <a:lnTo>
                  <a:pt x="2573615" y="3230652"/>
                </a:lnTo>
                <a:lnTo>
                  <a:pt x="2573615" y="1153349"/>
                </a:lnTo>
                <a:lnTo>
                  <a:pt x="2574060" y="1153139"/>
                </a:lnTo>
                <a:close/>
                <a:moveTo>
                  <a:pt x="2895926" y="254923"/>
                </a:moveTo>
                <a:lnTo>
                  <a:pt x="2883070" y="3594196"/>
                </a:lnTo>
                <a:lnTo>
                  <a:pt x="2888025" y="4552991"/>
                </a:lnTo>
                <a:lnTo>
                  <a:pt x="2574502" y="4552991"/>
                </a:lnTo>
                <a:lnTo>
                  <a:pt x="2574502" y="3728084"/>
                </a:lnTo>
                <a:lnTo>
                  <a:pt x="2373225" y="3795030"/>
                </a:lnTo>
                <a:lnTo>
                  <a:pt x="2158645" y="3848674"/>
                </a:lnTo>
                <a:lnTo>
                  <a:pt x="1957368" y="3889019"/>
                </a:lnTo>
                <a:lnTo>
                  <a:pt x="1756088" y="3916063"/>
                </a:lnTo>
                <a:lnTo>
                  <a:pt x="1554809" y="3916063"/>
                </a:lnTo>
                <a:lnTo>
                  <a:pt x="1367275" y="3916063"/>
                </a:lnTo>
                <a:lnTo>
                  <a:pt x="1179741" y="3902762"/>
                </a:lnTo>
                <a:lnTo>
                  <a:pt x="1005506" y="3862419"/>
                </a:lnTo>
                <a:lnTo>
                  <a:pt x="844571" y="3822074"/>
                </a:lnTo>
                <a:lnTo>
                  <a:pt x="696937" y="3768429"/>
                </a:lnTo>
                <a:lnTo>
                  <a:pt x="549303" y="3714785"/>
                </a:lnTo>
                <a:lnTo>
                  <a:pt x="428714" y="3647839"/>
                </a:lnTo>
                <a:lnTo>
                  <a:pt x="321425" y="3567594"/>
                </a:lnTo>
                <a:lnTo>
                  <a:pt x="227436" y="3473606"/>
                </a:lnTo>
                <a:lnTo>
                  <a:pt x="147191" y="3379616"/>
                </a:lnTo>
                <a:lnTo>
                  <a:pt x="93546" y="3285627"/>
                </a:lnTo>
                <a:lnTo>
                  <a:pt x="53201" y="3178338"/>
                </a:lnTo>
                <a:lnTo>
                  <a:pt x="26602" y="3071047"/>
                </a:lnTo>
                <a:lnTo>
                  <a:pt x="13301" y="2963758"/>
                </a:lnTo>
                <a:lnTo>
                  <a:pt x="0" y="2856469"/>
                </a:lnTo>
                <a:lnTo>
                  <a:pt x="13301" y="2749180"/>
                </a:lnTo>
                <a:lnTo>
                  <a:pt x="26602" y="2641891"/>
                </a:lnTo>
                <a:lnTo>
                  <a:pt x="39900" y="2534602"/>
                </a:lnTo>
                <a:lnTo>
                  <a:pt x="80245" y="2427311"/>
                </a:lnTo>
                <a:lnTo>
                  <a:pt x="120590" y="2320022"/>
                </a:lnTo>
                <a:lnTo>
                  <a:pt x="174236" y="2212733"/>
                </a:lnTo>
                <a:lnTo>
                  <a:pt x="294825" y="1998155"/>
                </a:lnTo>
                <a:lnTo>
                  <a:pt x="455758" y="1783575"/>
                </a:lnTo>
                <a:lnTo>
                  <a:pt x="657037" y="1582298"/>
                </a:lnTo>
                <a:lnTo>
                  <a:pt x="871615" y="1381018"/>
                </a:lnTo>
                <a:lnTo>
                  <a:pt x="1099494" y="1193484"/>
                </a:lnTo>
                <a:lnTo>
                  <a:pt x="1367717" y="1005948"/>
                </a:lnTo>
                <a:lnTo>
                  <a:pt x="1649242" y="831715"/>
                </a:lnTo>
                <a:lnTo>
                  <a:pt x="1944067" y="670780"/>
                </a:lnTo>
                <a:lnTo>
                  <a:pt x="2252190" y="523147"/>
                </a:lnTo>
                <a:lnTo>
                  <a:pt x="2574060" y="375513"/>
                </a:lnTo>
                <a:close/>
                <a:moveTo>
                  <a:pt x="3378286" y="107289"/>
                </a:moveTo>
                <a:lnTo>
                  <a:pt x="3378286" y="1126096"/>
                </a:lnTo>
                <a:lnTo>
                  <a:pt x="3378286" y="4552991"/>
                </a:lnTo>
                <a:lnTo>
                  <a:pt x="3070162" y="4552991"/>
                </a:lnTo>
                <a:lnTo>
                  <a:pt x="3070162" y="4155470"/>
                </a:lnTo>
                <a:lnTo>
                  <a:pt x="3070162" y="174235"/>
                </a:lnTo>
                <a:close/>
                <a:moveTo>
                  <a:pt x="4169213" y="0"/>
                </a:moveTo>
                <a:lnTo>
                  <a:pt x="4356747" y="0"/>
                </a:lnTo>
                <a:lnTo>
                  <a:pt x="4544283" y="0"/>
                </a:lnTo>
                <a:lnTo>
                  <a:pt x="4705216" y="13301"/>
                </a:lnTo>
                <a:lnTo>
                  <a:pt x="4852849" y="26602"/>
                </a:lnTo>
                <a:lnTo>
                  <a:pt x="5000483" y="66945"/>
                </a:lnTo>
                <a:lnTo>
                  <a:pt x="5134374" y="107289"/>
                </a:lnTo>
                <a:lnTo>
                  <a:pt x="5254963" y="160935"/>
                </a:lnTo>
                <a:lnTo>
                  <a:pt x="5362252" y="214578"/>
                </a:lnTo>
                <a:lnTo>
                  <a:pt x="5456242" y="281525"/>
                </a:lnTo>
                <a:lnTo>
                  <a:pt x="5550231" y="361769"/>
                </a:lnTo>
                <a:lnTo>
                  <a:pt x="5617177" y="442014"/>
                </a:lnTo>
                <a:lnTo>
                  <a:pt x="5670820" y="536005"/>
                </a:lnTo>
                <a:lnTo>
                  <a:pt x="5724466" y="629993"/>
                </a:lnTo>
                <a:lnTo>
                  <a:pt x="5027527" y="924818"/>
                </a:lnTo>
                <a:lnTo>
                  <a:pt x="4933539" y="857872"/>
                </a:lnTo>
                <a:lnTo>
                  <a:pt x="4826250" y="817527"/>
                </a:lnTo>
                <a:lnTo>
                  <a:pt x="4692360" y="790928"/>
                </a:lnTo>
                <a:lnTo>
                  <a:pt x="4544726" y="777627"/>
                </a:lnTo>
                <a:lnTo>
                  <a:pt x="4383791" y="777627"/>
                </a:lnTo>
                <a:lnTo>
                  <a:pt x="4222858" y="777627"/>
                </a:lnTo>
                <a:lnTo>
                  <a:pt x="4035322" y="804226"/>
                </a:lnTo>
                <a:lnTo>
                  <a:pt x="3861089" y="831270"/>
                </a:lnTo>
                <a:lnTo>
                  <a:pt x="3861089" y="2856027"/>
                </a:lnTo>
                <a:lnTo>
                  <a:pt x="4115567" y="2708393"/>
                </a:lnTo>
                <a:lnTo>
                  <a:pt x="4330148" y="2560759"/>
                </a:lnTo>
                <a:lnTo>
                  <a:pt x="4504380" y="2413125"/>
                </a:lnTo>
                <a:lnTo>
                  <a:pt x="4665315" y="2279235"/>
                </a:lnTo>
                <a:lnTo>
                  <a:pt x="4812949" y="2145344"/>
                </a:lnTo>
                <a:lnTo>
                  <a:pt x="4933539" y="1997710"/>
                </a:lnTo>
                <a:lnTo>
                  <a:pt x="5054128" y="1850077"/>
                </a:lnTo>
                <a:lnTo>
                  <a:pt x="5161418" y="1675843"/>
                </a:lnTo>
                <a:lnTo>
                  <a:pt x="4316846" y="2038055"/>
                </a:lnTo>
                <a:lnTo>
                  <a:pt x="4316846" y="1528652"/>
                </a:lnTo>
                <a:lnTo>
                  <a:pt x="4611670" y="1421363"/>
                </a:lnTo>
                <a:lnTo>
                  <a:pt x="4611670" y="1434664"/>
                </a:lnTo>
                <a:lnTo>
                  <a:pt x="5831312" y="895999"/>
                </a:lnTo>
                <a:lnTo>
                  <a:pt x="5857912" y="1070235"/>
                </a:lnTo>
                <a:lnTo>
                  <a:pt x="5857912" y="1231167"/>
                </a:lnTo>
                <a:lnTo>
                  <a:pt x="5844614" y="1392102"/>
                </a:lnTo>
                <a:lnTo>
                  <a:pt x="5818012" y="1553036"/>
                </a:lnTo>
                <a:lnTo>
                  <a:pt x="5764366" y="1713971"/>
                </a:lnTo>
                <a:lnTo>
                  <a:pt x="5684122" y="1874905"/>
                </a:lnTo>
                <a:lnTo>
                  <a:pt x="5590133" y="2035838"/>
                </a:lnTo>
                <a:lnTo>
                  <a:pt x="5469544" y="2183472"/>
                </a:lnTo>
                <a:lnTo>
                  <a:pt x="5335653" y="2344406"/>
                </a:lnTo>
                <a:lnTo>
                  <a:pt x="5188019" y="2492040"/>
                </a:lnTo>
                <a:lnTo>
                  <a:pt x="5013784" y="2639674"/>
                </a:lnTo>
                <a:lnTo>
                  <a:pt x="4812506" y="2800609"/>
                </a:lnTo>
                <a:lnTo>
                  <a:pt x="4611227" y="2948242"/>
                </a:lnTo>
                <a:lnTo>
                  <a:pt x="4370048" y="3095876"/>
                </a:lnTo>
                <a:lnTo>
                  <a:pt x="4128868" y="3256809"/>
                </a:lnTo>
                <a:lnTo>
                  <a:pt x="3860644" y="3404443"/>
                </a:lnTo>
                <a:lnTo>
                  <a:pt x="3860644" y="4552991"/>
                </a:lnTo>
                <a:lnTo>
                  <a:pt x="3552521" y="4552991"/>
                </a:lnTo>
                <a:lnTo>
                  <a:pt x="3552521" y="1125653"/>
                </a:lnTo>
                <a:lnTo>
                  <a:pt x="3552521" y="80245"/>
                </a:lnTo>
                <a:lnTo>
                  <a:pt x="3767099" y="53646"/>
                </a:lnTo>
                <a:lnTo>
                  <a:pt x="3981679" y="1330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 w="2223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F5C94197-19A2-4804-9161-3B6C7EBEF624}"/>
              </a:ext>
            </a:extLst>
          </p:cNvPr>
          <p:cNvGrpSpPr/>
          <p:nvPr userDrawn="1"/>
        </p:nvGrpSpPr>
        <p:grpSpPr>
          <a:xfrm>
            <a:off x="0" y="0"/>
            <a:ext cx="12192000" cy="6879488"/>
            <a:chOff x="0" y="0"/>
            <a:chExt cx="12192000" cy="6879488"/>
          </a:xfrm>
        </p:grpSpPr>
        <p:pic>
          <p:nvPicPr>
            <p:cNvPr id="5" name="Picture 43">
              <a:extLst>
                <a:ext uri="{FF2B5EF4-FFF2-40B4-BE49-F238E27FC236}">
                  <a16:creationId xmlns:a16="http://schemas.microsoft.com/office/drawing/2014/main" id="{61BC0E7F-9051-4A65-BB77-1696B7919769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2192000" cy="6879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7F7332F0-A963-4FC4-B379-325A5F0DBBE4}"/>
                </a:ext>
              </a:extLst>
            </p:cNvPr>
            <p:cNvSpPr>
              <a:spLocks/>
            </p:cNvSpPr>
            <p:nvPr/>
          </p:nvSpPr>
          <p:spPr>
            <a:xfrm flipV="1">
              <a:off x="0" y="0"/>
              <a:ext cx="12192000" cy="687948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48000"/>
                  </a:schemeClr>
                </a:gs>
                <a:gs pos="100000">
                  <a:schemeClr val="bg1"/>
                </a:gs>
              </a:gsLst>
              <a:lin ang="5400000" scaled="0"/>
              <a:tileRect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7" name="矩形 6">
            <a:extLst>
              <a:ext uri="{FF2B5EF4-FFF2-40B4-BE49-F238E27FC236}">
                <a16:creationId xmlns:a16="http://schemas.microsoft.com/office/drawing/2014/main" id="{100E9E0E-D072-4C07-8562-0ED99A09D83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rgbClr val="F1F2F7">
                  <a:alpha val="83000"/>
                </a:srgb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75698" y="2657929"/>
            <a:ext cx="10563802" cy="895350"/>
          </a:xfrm>
        </p:spPr>
        <p:txBody>
          <a:bodyPr anchor="b">
            <a:normAutofit/>
          </a:bodyPr>
          <a:lstStyle>
            <a:lvl1pPr algn="ctr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6814" y="3553279"/>
            <a:ext cx="10563802" cy="1015623"/>
          </a:xfrm>
        </p:spPr>
        <p:txBody>
          <a:bodyPr anchor="t">
            <a:norm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2" name="图形 1">
            <a:extLst>
              <a:ext uri="{FF2B5EF4-FFF2-40B4-BE49-F238E27FC236}">
                <a16:creationId xmlns:a16="http://schemas.microsoft.com/office/drawing/2014/main" id="{4207A2DD-6B36-4980-A8CA-38DBEBBAB36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84401" y="5713232"/>
            <a:ext cx="1823198" cy="40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0CF54A3C-289A-4B71-A45E-B8092B385387}"/>
              </a:ext>
            </a:extLst>
          </p:cNvPr>
          <p:cNvGrpSpPr/>
          <p:nvPr userDrawn="1"/>
        </p:nvGrpSpPr>
        <p:grpSpPr>
          <a:xfrm>
            <a:off x="0" y="0"/>
            <a:ext cx="12192000" cy="6879488"/>
            <a:chOff x="0" y="0"/>
            <a:chExt cx="12192000" cy="6879488"/>
          </a:xfrm>
        </p:grpSpPr>
        <p:pic>
          <p:nvPicPr>
            <p:cNvPr id="7" name="Picture 43">
              <a:extLst>
                <a:ext uri="{FF2B5EF4-FFF2-40B4-BE49-F238E27FC236}">
                  <a16:creationId xmlns:a16="http://schemas.microsoft.com/office/drawing/2014/main" id="{8F009B05-54A8-4F06-AAEC-424B5D06D088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2192000" cy="6879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664C293F-F14B-42C9-B4B1-79C5BAC22245}"/>
                </a:ext>
              </a:extLst>
            </p:cNvPr>
            <p:cNvSpPr>
              <a:spLocks/>
            </p:cNvSpPr>
            <p:nvPr/>
          </p:nvSpPr>
          <p:spPr>
            <a:xfrm flipV="1">
              <a:off x="0" y="0"/>
              <a:ext cx="12192000" cy="687948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48000"/>
                  </a:schemeClr>
                </a:gs>
                <a:gs pos="100000">
                  <a:schemeClr val="bg1"/>
                </a:gs>
              </a:gsLst>
              <a:lin ang="5400000" scaled="0"/>
              <a:tileRect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" name="矩形 8">
            <a:extLst>
              <a:ext uri="{FF2B5EF4-FFF2-40B4-BE49-F238E27FC236}">
                <a16:creationId xmlns:a16="http://schemas.microsoft.com/office/drawing/2014/main" id="{DAB04CA9-EC54-43FB-975C-2D1FD5B0CD3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rgbClr val="F1F2F7">
                  <a:alpha val="83000"/>
                </a:srgb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pic>
        <p:nvPicPr>
          <p:cNvPr id="2" name="图形 1">
            <a:extLst>
              <a:ext uri="{FF2B5EF4-FFF2-40B4-BE49-F238E27FC236}">
                <a16:creationId xmlns:a16="http://schemas.microsoft.com/office/drawing/2014/main" id="{36D728D6-13FA-4A56-8528-3DFC65DD4D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40900" y="5713232"/>
            <a:ext cx="1823198" cy="40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2" name="图形 11">
            <a:extLst>
              <a:ext uri="{FF2B5EF4-FFF2-40B4-BE49-F238E27FC236}">
                <a16:creationId xmlns:a16="http://schemas.microsoft.com/office/drawing/2014/main" id="{786E95AD-E075-44FC-888C-55462DF248A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21583" y="617822"/>
            <a:ext cx="1398903" cy="314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6.sv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5.png"/><Relationship Id="rId4" Type="http://schemas.openxmlformats.org/officeDocument/2006/relationships/tags" Target="../tags/tag4.xml"/><Relationship Id="rId9" Type="http://schemas.openxmlformats.org/officeDocument/2006/relationships/hyperlink" Target="http://www.baidu.com/link?url=r3IHOMTiLdE7vNgRvmFuAIZshjoFlpRfINdtZBXSAn4Jl9JXwmgG2vfwIrvi3SuYs5d4Grm-B4e7aOdxt1AmnfPCYEa8nkKYq_1n-qTAhK3AF-eFWxcbcVR9roIESgJzhtS4UKwEyN6lFEM-YWxTia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10.jpg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16.xml"/><Relationship Id="rId4" Type="http://schemas.openxmlformats.org/officeDocument/2006/relationships/image" Target="../media/image8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themeOverride" Target="../theme/themeOverr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themeOverride" Target="../theme/themeOverride22.xml"/><Relationship Id="rId4" Type="http://schemas.openxmlformats.org/officeDocument/2006/relationships/image" Target="../media/image10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themeOverride" Target="../theme/themeOverr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.xml"/><Relationship Id="rId1" Type="http://schemas.openxmlformats.org/officeDocument/2006/relationships/themeOverride" Target="../theme/themeOverr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themeOverride" Target="../theme/themeOverr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7.xml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en-US" altLang="zh-CN" b="0" i="0" u="sng" dirty="0">
                <a:solidFill>
                  <a:srgbClr val="006428"/>
                </a:solidFill>
                <a:effectLst/>
                <a:latin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ongguan</a:t>
            </a:r>
            <a:r>
              <a:rPr lang="en-US" altLang="zh-CN" b="0" i="0" dirty="0">
                <a:solidFill>
                  <a:srgbClr val="006428"/>
                </a:solidFill>
                <a:effectLst/>
                <a:latin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 University </a:t>
            </a:r>
            <a:r>
              <a:rPr lang="en-US" altLang="zh-CN" b="0" i="0" u="sng" dirty="0">
                <a:solidFill>
                  <a:srgbClr val="006428"/>
                </a:solidFill>
                <a:effectLst/>
                <a:latin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f</a:t>
            </a:r>
            <a:r>
              <a:rPr lang="en-US" altLang="zh-CN" b="0" i="0" dirty="0">
                <a:solidFill>
                  <a:srgbClr val="006428"/>
                </a:solidFill>
                <a:effectLst/>
                <a:latin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 </a:t>
            </a:r>
            <a:r>
              <a:rPr lang="en-US" altLang="zh-CN" b="0" i="0" u="sng" dirty="0">
                <a:solidFill>
                  <a:srgbClr val="006428"/>
                </a:solidFill>
                <a:effectLst/>
                <a:latin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hnology</a:t>
            </a:r>
            <a:endParaRPr lang="en-US" altLang="zh-CN" b="0" i="0" dirty="0">
              <a:solidFill>
                <a:srgbClr val="006428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893597" y="952500"/>
            <a:ext cx="9625301" cy="2715705"/>
          </a:xfrm>
        </p:spPr>
        <p:txBody>
          <a:bodyPr/>
          <a:lstStyle/>
          <a:p>
            <a:pPr fontAlgn="b">
              <a:lnSpc>
                <a:spcPct val="100000"/>
              </a:lnSpc>
            </a:pPr>
            <a:r>
              <a:rPr lang="zh-CN" altLang="en-US" b="0" dirty="0">
                <a:solidFill>
                  <a:schemeClr val="accent2"/>
                </a:solidFill>
                <a:latin typeface="+mj-ea"/>
              </a:rPr>
              <a:t>东莞理工学院</a:t>
            </a:r>
            <a:br>
              <a:rPr lang="en-US" altLang="zh-CN" sz="2800" b="0" dirty="0">
                <a:solidFill>
                  <a:srgbClr val="2B2B2B"/>
                </a:solidFill>
                <a:latin typeface="+mj-ea"/>
              </a:rPr>
            </a:br>
            <a:r>
              <a:rPr lang="zh-CN" altLang="en-US" sz="5400" b="0" dirty="0">
                <a:solidFill>
                  <a:srgbClr val="006428"/>
                </a:solidFill>
                <a:latin typeface="+mj-ea"/>
              </a:rPr>
              <a:t>汇报答辩模板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073024" y="5555700"/>
            <a:ext cx="10845800" cy="296271"/>
          </a:xfrm>
        </p:spPr>
        <p:txBody>
          <a:bodyPr/>
          <a:lstStyle/>
          <a:p>
            <a:pPr algn="l"/>
            <a:r>
              <a:rPr lang="zh-CN" alt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指导老师：周小新</a:t>
            </a:r>
            <a:endParaRPr lang="en-US" altLang="zh-CN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1073024" y="5851971"/>
            <a:ext cx="10845800" cy="296271"/>
          </a:xfrm>
        </p:spPr>
        <p:txBody>
          <a:bodyPr/>
          <a:lstStyle/>
          <a:p>
            <a:pPr algn="l"/>
            <a:r>
              <a:rPr lang="zh-CN" alt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答辩学生：林一一</a:t>
            </a:r>
            <a:endParaRPr lang="en-US" altLang="en-US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15" name="文本框 314">
            <a:extLst>
              <a:ext uri="{FF2B5EF4-FFF2-40B4-BE49-F238E27FC236}">
                <a16:creationId xmlns:a16="http://schemas.microsoft.com/office/drawing/2014/main" id="{73284166-517E-4DA3-B547-087B1DC3D9E4}"/>
              </a:ext>
            </a:extLst>
          </p:cNvPr>
          <p:cNvSpPr txBox="1"/>
          <p:nvPr/>
        </p:nvSpPr>
        <p:spPr>
          <a:xfrm>
            <a:off x="572797" y="809384"/>
            <a:ext cx="2222499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indent="0" defTabSz="914354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177" indent="0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2pPr>
            <a:lvl3pPr marL="914353" indent="0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3pPr>
            <a:lvl4pPr marL="1371531" indent="0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4pPr>
            <a:lvl5pPr marL="1828709" indent="0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5pPr>
            <a:lvl6pPr marL="2514474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65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829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006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zh-CN" altLang="en-US" dirty="0"/>
              <a:t>www.dgut.edu.cn</a:t>
            </a:r>
          </a:p>
        </p:txBody>
      </p:sp>
      <p:sp>
        <p:nvSpPr>
          <p:cNvPr id="26" name="图形 31">
            <a:extLst>
              <a:ext uri="{FF2B5EF4-FFF2-40B4-BE49-F238E27FC236}">
                <a16:creationId xmlns:a16="http://schemas.microsoft.com/office/drawing/2014/main" id="{D747C046-016B-4CE2-A5CF-5122F9D20255}"/>
              </a:ext>
            </a:extLst>
          </p:cNvPr>
          <p:cNvSpPr/>
          <p:nvPr/>
        </p:nvSpPr>
        <p:spPr>
          <a:xfrm>
            <a:off x="845339" y="5884433"/>
            <a:ext cx="177975" cy="204433"/>
          </a:xfrm>
          <a:custGeom>
            <a:avLst/>
            <a:gdLst>
              <a:gd name="connsiteX0" fmla="*/ 493614 w 493821"/>
              <a:gd name="connsiteY0" fmla="*/ 557750 h 567236"/>
              <a:gd name="connsiteX1" fmla="*/ 488558 w 493821"/>
              <a:gd name="connsiteY1" fmla="*/ 567446 h 567236"/>
              <a:gd name="connsiteX2" fmla="*/ 0 w 493821"/>
              <a:gd name="connsiteY2" fmla="*/ 567446 h 567236"/>
              <a:gd name="connsiteX3" fmla="*/ 277 w 493821"/>
              <a:gd name="connsiteY3" fmla="*/ 552694 h 567236"/>
              <a:gd name="connsiteX4" fmla="*/ 13506 w 493821"/>
              <a:gd name="connsiteY4" fmla="*/ 450120 h 567236"/>
              <a:gd name="connsiteX5" fmla="*/ 70645 w 493821"/>
              <a:gd name="connsiteY5" fmla="*/ 349001 h 567236"/>
              <a:gd name="connsiteX6" fmla="*/ 74870 w 493821"/>
              <a:gd name="connsiteY6" fmla="*/ 345400 h 567236"/>
              <a:gd name="connsiteX7" fmla="*/ 80341 w 493821"/>
              <a:gd name="connsiteY7" fmla="*/ 345469 h 567236"/>
              <a:gd name="connsiteX8" fmla="*/ 145099 w 493821"/>
              <a:gd name="connsiteY8" fmla="*/ 344846 h 567236"/>
              <a:gd name="connsiteX9" fmla="*/ 145099 w 493821"/>
              <a:gd name="connsiteY9" fmla="*/ 374904 h 567236"/>
              <a:gd name="connsiteX10" fmla="*/ 85813 w 493821"/>
              <a:gd name="connsiteY10" fmla="*/ 374420 h 567236"/>
              <a:gd name="connsiteX11" fmla="*/ 41764 w 493821"/>
              <a:gd name="connsiteY11" fmla="*/ 457392 h 567236"/>
              <a:gd name="connsiteX12" fmla="*/ 29920 w 493821"/>
              <a:gd name="connsiteY12" fmla="*/ 538496 h 567236"/>
              <a:gd name="connsiteX13" fmla="*/ 464594 w 493821"/>
              <a:gd name="connsiteY13" fmla="*/ 538426 h 567236"/>
              <a:gd name="connsiteX14" fmla="*/ 447556 w 493821"/>
              <a:gd name="connsiteY14" fmla="*/ 448527 h 567236"/>
              <a:gd name="connsiteX15" fmla="*/ 406554 w 493821"/>
              <a:gd name="connsiteY15" fmla="*/ 373935 h 567236"/>
              <a:gd name="connsiteX16" fmla="*/ 338818 w 493821"/>
              <a:gd name="connsiteY16" fmla="*/ 373935 h 567236"/>
              <a:gd name="connsiteX17" fmla="*/ 338818 w 493821"/>
              <a:gd name="connsiteY17" fmla="*/ 344846 h 567236"/>
              <a:gd name="connsiteX18" fmla="*/ 416251 w 493821"/>
              <a:gd name="connsiteY18" fmla="*/ 344846 h 567236"/>
              <a:gd name="connsiteX19" fmla="*/ 422207 w 493821"/>
              <a:gd name="connsiteY19" fmla="*/ 346785 h 567236"/>
              <a:gd name="connsiteX20" fmla="*/ 475329 w 493821"/>
              <a:gd name="connsiteY20" fmla="*/ 439593 h 567236"/>
              <a:gd name="connsiteX21" fmla="*/ 493614 w 493821"/>
              <a:gd name="connsiteY21" fmla="*/ 557750 h 567236"/>
              <a:gd name="connsiteX22" fmla="*/ 493614 w 493821"/>
              <a:gd name="connsiteY22" fmla="*/ 557750 h 567236"/>
              <a:gd name="connsiteX23" fmla="*/ 251620 w 493821"/>
              <a:gd name="connsiteY23" fmla="*/ 519034 h 567236"/>
              <a:gd name="connsiteX24" fmla="*/ 212904 w 493821"/>
              <a:gd name="connsiteY24" fmla="*/ 490014 h 567236"/>
              <a:gd name="connsiteX25" fmla="*/ 237976 w 493821"/>
              <a:gd name="connsiteY25" fmla="*/ 389380 h 567236"/>
              <a:gd name="connsiteX26" fmla="*/ 228488 w 493821"/>
              <a:gd name="connsiteY26" fmla="*/ 373865 h 567236"/>
              <a:gd name="connsiteX27" fmla="*/ 229249 w 493821"/>
              <a:gd name="connsiteY27" fmla="*/ 358005 h 567236"/>
              <a:gd name="connsiteX28" fmla="*/ 270736 w 493821"/>
              <a:gd name="connsiteY28" fmla="*/ 358005 h 567236"/>
              <a:gd name="connsiteX29" fmla="*/ 271498 w 493821"/>
              <a:gd name="connsiteY29" fmla="*/ 373865 h 567236"/>
              <a:gd name="connsiteX30" fmla="*/ 262009 w 493821"/>
              <a:gd name="connsiteY30" fmla="*/ 389380 h 567236"/>
              <a:gd name="connsiteX31" fmla="*/ 290406 w 493821"/>
              <a:gd name="connsiteY31" fmla="*/ 489945 h 567236"/>
              <a:gd name="connsiteX32" fmla="*/ 251620 w 493821"/>
              <a:gd name="connsiteY32" fmla="*/ 519034 h 567236"/>
              <a:gd name="connsiteX33" fmla="*/ 363682 w 493821"/>
              <a:gd name="connsiteY33" fmla="*/ 227381 h 567236"/>
              <a:gd name="connsiteX34" fmla="*/ 322057 w 493821"/>
              <a:gd name="connsiteY34" fmla="*/ 306268 h 567236"/>
              <a:gd name="connsiteX35" fmla="*/ 247257 w 493821"/>
              <a:gd name="connsiteY35" fmla="*/ 345469 h 567236"/>
              <a:gd name="connsiteX36" fmla="*/ 244764 w 493821"/>
              <a:gd name="connsiteY36" fmla="*/ 345954 h 567236"/>
              <a:gd name="connsiteX37" fmla="*/ 242270 w 493821"/>
              <a:gd name="connsiteY37" fmla="*/ 345538 h 567236"/>
              <a:gd name="connsiteX38" fmla="*/ 169617 w 493821"/>
              <a:gd name="connsiteY38" fmla="*/ 308415 h 567236"/>
              <a:gd name="connsiteX39" fmla="*/ 125568 w 493821"/>
              <a:gd name="connsiteY39" fmla="*/ 227935 h 567236"/>
              <a:gd name="connsiteX40" fmla="*/ 105829 w 493821"/>
              <a:gd name="connsiteY40" fmla="*/ 204803 h 567236"/>
              <a:gd name="connsiteX41" fmla="*/ 98972 w 493821"/>
              <a:gd name="connsiteY41" fmla="*/ 160130 h 567236"/>
              <a:gd name="connsiteX42" fmla="*/ 99111 w 493821"/>
              <a:gd name="connsiteY42" fmla="*/ 153204 h 567236"/>
              <a:gd name="connsiteX43" fmla="*/ 104928 w 493821"/>
              <a:gd name="connsiteY43" fmla="*/ 149326 h 567236"/>
              <a:gd name="connsiteX44" fmla="*/ 110815 w 493821"/>
              <a:gd name="connsiteY44" fmla="*/ 145724 h 567236"/>
              <a:gd name="connsiteX45" fmla="*/ 136996 w 493821"/>
              <a:gd name="connsiteY45" fmla="*/ 15378 h 567236"/>
              <a:gd name="connsiteX46" fmla="*/ 250581 w 493821"/>
              <a:gd name="connsiteY46" fmla="*/ 3119 h 567236"/>
              <a:gd name="connsiteX47" fmla="*/ 381136 w 493821"/>
              <a:gd name="connsiteY47" fmla="*/ 147871 h 567236"/>
              <a:gd name="connsiteX48" fmla="*/ 383214 w 493821"/>
              <a:gd name="connsiteY48" fmla="*/ 149187 h 567236"/>
              <a:gd name="connsiteX49" fmla="*/ 389032 w 493821"/>
              <a:gd name="connsiteY49" fmla="*/ 153066 h 567236"/>
              <a:gd name="connsiteX50" fmla="*/ 389170 w 493821"/>
              <a:gd name="connsiteY50" fmla="*/ 159992 h 567236"/>
              <a:gd name="connsiteX51" fmla="*/ 382660 w 493821"/>
              <a:gd name="connsiteY51" fmla="*/ 203972 h 567236"/>
              <a:gd name="connsiteX52" fmla="*/ 363682 w 493821"/>
              <a:gd name="connsiteY52" fmla="*/ 227381 h 567236"/>
              <a:gd name="connsiteX53" fmla="*/ 363682 w 493821"/>
              <a:gd name="connsiteY53" fmla="*/ 227381 h 567236"/>
              <a:gd name="connsiteX54" fmla="*/ 349346 w 493821"/>
              <a:gd name="connsiteY54" fmla="*/ 173567 h 567236"/>
              <a:gd name="connsiteX55" fmla="*/ 347545 w 493821"/>
              <a:gd name="connsiteY55" fmla="*/ 167472 h 567236"/>
              <a:gd name="connsiteX56" fmla="*/ 343666 w 493821"/>
              <a:gd name="connsiteY56" fmla="*/ 167749 h 567236"/>
              <a:gd name="connsiteX57" fmla="*/ 341450 w 493821"/>
              <a:gd name="connsiteY57" fmla="*/ 156113 h 567236"/>
              <a:gd name="connsiteX58" fmla="*/ 333624 w 493821"/>
              <a:gd name="connsiteY58" fmla="*/ 92117 h 567236"/>
              <a:gd name="connsiteX59" fmla="*/ 301210 w 493821"/>
              <a:gd name="connsiteY59" fmla="*/ 82490 h 567236"/>
              <a:gd name="connsiteX60" fmla="*/ 295877 w 493821"/>
              <a:gd name="connsiteY60" fmla="*/ 98974 h 567236"/>
              <a:gd name="connsiteX61" fmla="*/ 287358 w 493821"/>
              <a:gd name="connsiteY61" fmla="*/ 97866 h 567236"/>
              <a:gd name="connsiteX62" fmla="*/ 288467 w 493821"/>
              <a:gd name="connsiteY62" fmla="*/ 87823 h 567236"/>
              <a:gd name="connsiteX63" fmla="*/ 279393 w 493821"/>
              <a:gd name="connsiteY63" fmla="*/ 102160 h 567236"/>
              <a:gd name="connsiteX64" fmla="*/ 271359 w 493821"/>
              <a:gd name="connsiteY64" fmla="*/ 100567 h 567236"/>
              <a:gd name="connsiteX65" fmla="*/ 279255 w 493821"/>
              <a:gd name="connsiteY65" fmla="*/ 79304 h 567236"/>
              <a:gd name="connsiteX66" fmla="*/ 154518 w 493821"/>
              <a:gd name="connsiteY66" fmla="*/ 93918 h 567236"/>
              <a:gd name="connsiteX67" fmla="*/ 151956 w 493821"/>
              <a:gd name="connsiteY67" fmla="*/ 100706 h 567236"/>
              <a:gd name="connsiteX68" fmla="*/ 145792 w 493821"/>
              <a:gd name="connsiteY68" fmla="*/ 165325 h 567236"/>
              <a:gd name="connsiteX69" fmla="*/ 145238 w 493821"/>
              <a:gd name="connsiteY69" fmla="*/ 168164 h 567236"/>
              <a:gd name="connsiteX70" fmla="*/ 145030 w 493821"/>
              <a:gd name="connsiteY70" fmla="*/ 168164 h 567236"/>
              <a:gd name="connsiteX71" fmla="*/ 143783 w 493821"/>
              <a:gd name="connsiteY71" fmla="*/ 172320 h 567236"/>
              <a:gd name="connsiteX72" fmla="*/ 126260 w 493821"/>
              <a:gd name="connsiteY72" fmla="*/ 172805 h 567236"/>
              <a:gd name="connsiteX73" fmla="*/ 130832 w 493821"/>
              <a:gd name="connsiteY73" fmla="*/ 194552 h 567236"/>
              <a:gd name="connsiteX74" fmla="*/ 140736 w 493821"/>
              <a:gd name="connsiteY74" fmla="*/ 205426 h 567236"/>
              <a:gd name="connsiteX75" fmla="*/ 147869 w 493821"/>
              <a:gd name="connsiteY75" fmla="*/ 207642 h 567236"/>
              <a:gd name="connsiteX76" fmla="*/ 149809 w 493821"/>
              <a:gd name="connsiteY76" fmla="*/ 214776 h 567236"/>
              <a:gd name="connsiteX77" fmla="*/ 188940 w 493821"/>
              <a:gd name="connsiteY77" fmla="*/ 289854 h 567236"/>
              <a:gd name="connsiteX78" fmla="*/ 244210 w 493821"/>
              <a:gd name="connsiteY78" fmla="*/ 318735 h 567236"/>
              <a:gd name="connsiteX79" fmla="*/ 302388 w 493821"/>
              <a:gd name="connsiteY79" fmla="*/ 287845 h 567236"/>
              <a:gd name="connsiteX80" fmla="*/ 339095 w 493821"/>
              <a:gd name="connsiteY80" fmla="*/ 214499 h 567236"/>
              <a:gd name="connsiteX81" fmla="*/ 340965 w 493821"/>
              <a:gd name="connsiteY81" fmla="*/ 207642 h 567236"/>
              <a:gd name="connsiteX82" fmla="*/ 347753 w 493821"/>
              <a:gd name="connsiteY82" fmla="*/ 205288 h 567236"/>
              <a:gd name="connsiteX83" fmla="*/ 357518 w 493821"/>
              <a:gd name="connsiteY83" fmla="*/ 194206 h 567236"/>
              <a:gd name="connsiteX84" fmla="*/ 361882 w 493821"/>
              <a:gd name="connsiteY84" fmla="*/ 172874 h 567236"/>
              <a:gd name="connsiteX85" fmla="*/ 349346 w 493821"/>
              <a:gd name="connsiteY85" fmla="*/ 173567 h 567236"/>
              <a:gd name="connsiteX86" fmla="*/ 349346 w 493821"/>
              <a:gd name="connsiteY86" fmla="*/ 173567 h 567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93821" h="567236">
                <a:moveTo>
                  <a:pt x="493614" y="557750"/>
                </a:moveTo>
                <a:lnTo>
                  <a:pt x="488558" y="567446"/>
                </a:lnTo>
                <a:lnTo>
                  <a:pt x="0" y="567446"/>
                </a:lnTo>
                <a:lnTo>
                  <a:pt x="277" y="552694"/>
                </a:lnTo>
                <a:cubicBezTo>
                  <a:pt x="831" y="524851"/>
                  <a:pt x="3740" y="487105"/>
                  <a:pt x="13506" y="450120"/>
                </a:cubicBezTo>
                <a:cubicBezTo>
                  <a:pt x="23618" y="412027"/>
                  <a:pt x="41002" y="374627"/>
                  <a:pt x="70645" y="349001"/>
                </a:cubicBezTo>
                <a:lnTo>
                  <a:pt x="74870" y="345400"/>
                </a:lnTo>
                <a:lnTo>
                  <a:pt x="80341" y="345469"/>
                </a:lnTo>
                <a:lnTo>
                  <a:pt x="145099" y="344846"/>
                </a:lnTo>
                <a:lnTo>
                  <a:pt x="145099" y="374904"/>
                </a:lnTo>
                <a:lnTo>
                  <a:pt x="85813" y="374420"/>
                </a:lnTo>
                <a:cubicBezTo>
                  <a:pt x="63719" y="395544"/>
                  <a:pt x="50005" y="426018"/>
                  <a:pt x="41764" y="457392"/>
                </a:cubicBezTo>
                <a:cubicBezTo>
                  <a:pt x="34214" y="485650"/>
                  <a:pt x="31098" y="514532"/>
                  <a:pt x="29920" y="538496"/>
                </a:cubicBezTo>
                <a:lnTo>
                  <a:pt x="464594" y="538426"/>
                </a:lnTo>
                <a:cubicBezTo>
                  <a:pt x="465356" y="511069"/>
                  <a:pt x="457391" y="478794"/>
                  <a:pt x="447556" y="448527"/>
                </a:cubicBezTo>
                <a:cubicBezTo>
                  <a:pt x="437652" y="417984"/>
                  <a:pt x="423523" y="391942"/>
                  <a:pt x="406554" y="373935"/>
                </a:cubicBezTo>
                <a:lnTo>
                  <a:pt x="338818" y="373935"/>
                </a:lnTo>
                <a:lnTo>
                  <a:pt x="338818" y="344846"/>
                </a:lnTo>
                <a:lnTo>
                  <a:pt x="416251" y="344846"/>
                </a:lnTo>
                <a:lnTo>
                  <a:pt x="422207" y="346785"/>
                </a:lnTo>
                <a:cubicBezTo>
                  <a:pt x="444855" y="367978"/>
                  <a:pt x="463278" y="402470"/>
                  <a:pt x="475329" y="439593"/>
                </a:cubicBezTo>
                <a:cubicBezTo>
                  <a:pt x="487865" y="478517"/>
                  <a:pt x="497215" y="524228"/>
                  <a:pt x="493614" y="557750"/>
                </a:cubicBezTo>
                <a:lnTo>
                  <a:pt x="493614" y="557750"/>
                </a:lnTo>
                <a:close/>
                <a:moveTo>
                  <a:pt x="251620" y="519034"/>
                </a:moveTo>
                <a:lnTo>
                  <a:pt x="212904" y="490014"/>
                </a:lnTo>
                <a:lnTo>
                  <a:pt x="237976" y="389380"/>
                </a:lnTo>
                <a:lnTo>
                  <a:pt x="228488" y="373865"/>
                </a:lnTo>
                <a:lnTo>
                  <a:pt x="229249" y="358005"/>
                </a:lnTo>
                <a:cubicBezTo>
                  <a:pt x="247326" y="357035"/>
                  <a:pt x="252659" y="357035"/>
                  <a:pt x="270736" y="358005"/>
                </a:cubicBezTo>
                <a:lnTo>
                  <a:pt x="271498" y="373865"/>
                </a:lnTo>
                <a:lnTo>
                  <a:pt x="262009" y="389380"/>
                </a:lnTo>
                <a:lnTo>
                  <a:pt x="290406" y="489945"/>
                </a:lnTo>
                <a:lnTo>
                  <a:pt x="251620" y="519034"/>
                </a:lnTo>
                <a:close/>
                <a:moveTo>
                  <a:pt x="363682" y="227381"/>
                </a:moveTo>
                <a:cubicBezTo>
                  <a:pt x="353778" y="261665"/>
                  <a:pt x="340203" y="287291"/>
                  <a:pt x="322057" y="306268"/>
                </a:cubicBezTo>
                <a:cubicBezTo>
                  <a:pt x="302526" y="326769"/>
                  <a:pt x="278008" y="339028"/>
                  <a:pt x="247257" y="345469"/>
                </a:cubicBezTo>
                <a:lnTo>
                  <a:pt x="244764" y="345954"/>
                </a:lnTo>
                <a:lnTo>
                  <a:pt x="242270" y="345538"/>
                </a:lnTo>
                <a:cubicBezTo>
                  <a:pt x="214497" y="340898"/>
                  <a:pt x="189979" y="329124"/>
                  <a:pt x="169617" y="308415"/>
                </a:cubicBezTo>
                <a:cubicBezTo>
                  <a:pt x="150917" y="289438"/>
                  <a:pt x="135957" y="263050"/>
                  <a:pt x="125568" y="227935"/>
                </a:cubicBezTo>
                <a:cubicBezTo>
                  <a:pt x="116841" y="223226"/>
                  <a:pt x="110261" y="215330"/>
                  <a:pt x="105829" y="204803"/>
                </a:cubicBezTo>
                <a:cubicBezTo>
                  <a:pt x="100981" y="193236"/>
                  <a:pt x="98695" y="178069"/>
                  <a:pt x="98972" y="160130"/>
                </a:cubicBezTo>
                <a:lnTo>
                  <a:pt x="99111" y="153204"/>
                </a:lnTo>
                <a:lnTo>
                  <a:pt x="104928" y="149326"/>
                </a:lnTo>
                <a:cubicBezTo>
                  <a:pt x="106868" y="148010"/>
                  <a:pt x="108876" y="146833"/>
                  <a:pt x="110815" y="145724"/>
                </a:cubicBezTo>
                <a:cubicBezTo>
                  <a:pt x="101950" y="91840"/>
                  <a:pt x="104305" y="45921"/>
                  <a:pt x="136996" y="15378"/>
                </a:cubicBezTo>
                <a:cubicBezTo>
                  <a:pt x="163037" y="-3530"/>
                  <a:pt x="208749" y="9352"/>
                  <a:pt x="250581" y="3119"/>
                </a:cubicBezTo>
                <a:cubicBezTo>
                  <a:pt x="370054" y="-14750"/>
                  <a:pt x="369223" y="45575"/>
                  <a:pt x="381136" y="147871"/>
                </a:cubicBezTo>
                <a:cubicBezTo>
                  <a:pt x="381829" y="148287"/>
                  <a:pt x="382521" y="148703"/>
                  <a:pt x="383214" y="149187"/>
                </a:cubicBezTo>
                <a:lnTo>
                  <a:pt x="389032" y="153066"/>
                </a:lnTo>
                <a:lnTo>
                  <a:pt x="389170" y="159992"/>
                </a:lnTo>
                <a:cubicBezTo>
                  <a:pt x="389447" y="177584"/>
                  <a:pt x="387300" y="192405"/>
                  <a:pt x="382660" y="203972"/>
                </a:cubicBezTo>
                <a:cubicBezTo>
                  <a:pt x="378435" y="214638"/>
                  <a:pt x="372063" y="222533"/>
                  <a:pt x="363682" y="227381"/>
                </a:cubicBezTo>
                <a:lnTo>
                  <a:pt x="363682" y="227381"/>
                </a:lnTo>
                <a:close/>
                <a:moveTo>
                  <a:pt x="349346" y="173567"/>
                </a:moveTo>
                <a:lnTo>
                  <a:pt x="347545" y="167472"/>
                </a:lnTo>
                <a:lnTo>
                  <a:pt x="343666" y="167749"/>
                </a:lnTo>
                <a:lnTo>
                  <a:pt x="341450" y="156113"/>
                </a:lnTo>
                <a:cubicBezTo>
                  <a:pt x="339719" y="146971"/>
                  <a:pt x="337087" y="99805"/>
                  <a:pt x="333624" y="92117"/>
                </a:cubicBezTo>
                <a:cubicBezTo>
                  <a:pt x="323304" y="96412"/>
                  <a:pt x="311738" y="88447"/>
                  <a:pt x="301210" y="82490"/>
                </a:cubicBezTo>
                <a:lnTo>
                  <a:pt x="295877" y="98974"/>
                </a:lnTo>
                <a:lnTo>
                  <a:pt x="287358" y="97866"/>
                </a:lnTo>
                <a:lnTo>
                  <a:pt x="288467" y="87823"/>
                </a:lnTo>
                <a:lnTo>
                  <a:pt x="279393" y="102160"/>
                </a:lnTo>
                <a:lnTo>
                  <a:pt x="271359" y="100567"/>
                </a:lnTo>
                <a:lnTo>
                  <a:pt x="279255" y="79304"/>
                </a:lnTo>
                <a:cubicBezTo>
                  <a:pt x="237007" y="108463"/>
                  <a:pt x="164145" y="107008"/>
                  <a:pt x="154518" y="93918"/>
                </a:cubicBezTo>
                <a:cubicBezTo>
                  <a:pt x="153064" y="95788"/>
                  <a:pt x="152718" y="98351"/>
                  <a:pt x="151956" y="100706"/>
                </a:cubicBezTo>
                <a:cubicBezTo>
                  <a:pt x="149947" y="108601"/>
                  <a:pt x="147731" y="157568"/>
                  <a:pt x="145792" y="165325"/>
                </a:cubicBezTo>
                <a:lnTo>
                  <a:pt x="145238" y="168164"/>
                </a:lnTo>
                <a:lnTo>
                  <a:pt x="145030" y="168164"/>
                </a:lnTo>
                <a:cubicBezTo>
                  <a:pt x="144614" y="169757"/>
                  <a:pt x="144199" y="171143"/>
                  <a:pt x="143783" y="172320"/>
                </a:cubicBezTo>
                <a:cubicBezTo>
                  <a:pt x="140182" y="169965"/>
                  <a:pt x="132840" y="171835"/>
                  <a:pt x="126260" y="172805"/>
                </a:cubicBezTo>
                <a:cubicBezTo>
                  <a:pt x="126884" y="181462"/>
                  <a:pt x="128338" y="188804"/>
                  <a:pt x="130832" y="194552"/>
                </a:cubicBezTo>
                <a:cubicBezTo>
                  <a:pt x="133256" y="200370"/>
                  <a:pt x="136580" y="204110"/>
                  <a:pt x="140736" y="205426"/>
                </a:cubicBezTo>
                <a:lnTo>
                  <a:pt x="147869" y="207642"/>
                </a:lnTo>
                <a:lnTo>
                  <a:pt x="149809" y="214776"/>
                </a:lnTo>
                <a:cubicBezTo>
                  <a:pt x="159020" y="248436"/>
                  <a:pt x="172318" y="272954"/>
                  <a:pt x="188940" y="289854"/>
                </a:cubicBezTo>
                <a:cubicBezTo>
                  <a:pt x="204455" y="305576"/>
                  <a:pt x="223085" y="314787"/>
                  <a:pt x="244210" y="318735"/>
                </a:cubicBezTo>
                <a:cubicBezTo>
                  <a:pt x="268243" y="313333"/>
                  <a:pt x="287358" y="303567"/>
                  <a:pt x="302388" y="287845"/>
                </a:cubicBezTo>
                <a:cubicBezTo>
                  <a:pt x="318317" y="271153"/>
                  <a:pt x="330230" y="247328"/>
                  <a:pt x="339095" y="214499"/>
                </a:cubicBezTo>
                <a:lnTo>
                  <a:pt x="340965" y="207642"/>
                </a:lnTo>
                <a:lnTo>
                  <a:pt x="347753" y="205288"/>
                </a:lnTo>
                <a:cubicBezTo>
                  <a:pt x="351839" y="203902"/>
                  <a:pt x="355164" y="200024"/>
                  <a:pt x="357518" y="194206"/>
                </a:cubicBezTo>
                <a:cubicBezTo>
                  <a:pt x="359804" y="188527"/>
                  <a:pt x="361258" y="181393"/>
                  <a:pt x="361882" y="172874"/>
                </a:cubicBezTo>
                <a:cubicBezTo>
                  <a:pt x="357934" y="172874"/>
                  <a:pt x="353917" y="172943"/>
                  <a:pt x="349346" y="173567"/>
                </a:cubicBezTo>
                <a:lnTo>
                  <a:pt x="349346" y="173567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6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dirty="0"/>
          </a:p>
        </p:txBody>
      </p:sp>
      <p:pic>
        <p:nvPicPr>
          <p:cNvPr id="27" name="图形 26">
            <a:extLst>
              <a:ext uri="{FF2B5EF4-FFF2-40B4-BE49-F238E27FC236}">
                <a16:creationId xmlns:a16="http://schemas.microsoft.com/office/drawing/2014/main" id="{737F966A-EB4F-4926-A045-E340890D24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4792" y="5600336"/>
            <a:ext cx="209805" cy="178590"/>
          </a:xfrm>
          <a:prstGeom prst="rect">
            <a:avLst/>
          </a:prstGeom>
        </p:spPr>
      </p:pic>
      <p:sp>
        <p:nvSpPr>
          <p:cNvPr id="28" name="副标题 4">
            <a:extLst>
              <a:ext uri="{FF2B5EF4-FFF2-40B4-BE49-F238E27FC236}">
                <a16:creationId xmlns:a16="http://schemas.microsoft.com/office/drawing/2014/main" id="{D795606D-AC0E-49A5-AE8E-B67DBA81D51F}"/>
              </a:ext>
            </a:extLst>
          </p:cNvPr>
          <p:cNvSpPr txBox="1">
            <a:spLocks/>
          </p:cNvSpPr>
          <p:nvPr/>
        </p:nvSpPr>
        <p:spPr>
          <a:xfrm>
            <a:off x="9642765" y="809384"/>
            <a:ext cx="1976438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indent="0" defTabSz="914354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177" indent="0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2pPr>
            <a:lvl3pPr marL="914353" indent="0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3pPr>
            <a:lvl4pPr marL="1371531" indent="0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4pPr>
            <a:lvl5pPr marL="1828709" indent="0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5pPr>
            <a:lvl6pPr marL="2514474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65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829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006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r"/>
            <a:r>
              <a:rPr lang="zh-CN" altLang="en-US" dirty="0"/>
              <a:t>学而知不足 </a:t>
            </a:r>
            <a:r>
              <a:rPr lang="en-US" altLang="zh-CN" dirty="0"/>
              <a:t>/ / / /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8925ECA-38D7-4D4F-8C5B-BF8E0B60F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E99C3EC-BD9E-4154-8B24-E0DA90246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34523DE-E946-4861-A3D6-4C88FC2C2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43" name="22207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D0E1B63-44C4-4E99-B881-3E15C6C8E5C4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553269"/>
            <a:ext cx="10852150" cy="4531804"/>
            <a:chOff x="669925" y="1553269"/>
            <a:chExt cx="10852150" cy="4531804"/>
          </a:xfrm>
        </p:grpSpPr>
        <p:sp>
          <p:nvSpPr>
            <p:cNvPr id="44" name="îşľîḋê">
              <a:extLst>
                <a:ext uri="{FF2B5EF4-FFF2-40B4-BE49-F238E27FC236}">
                  <a16:creationId xmlns:a16="http://schemas.microsoft.com/office/drawing/2014/main" id="{326AEC33-26B8-4F80-B67C-AF0E5ABB24E3}"/>
                </a:ext>
              </a:extLst>
            </p:cNvPr>
            <p:cNvSpPr/>
            <p:nvPr/>
          </p:nvSpPr>
          <p:spPr>
            <a:xfrm rot="2890726">
              <a:off x="3731200" y="2475201"/>
              <a:ext cx="2665131" cy="2647426"/>
            </a:xfrm>
            <a:custGeom>
              <a:avLst/>
              <a:gdLst/>
              <a:ahLst/>
              <a:cxnLst/>
              <a:rect l="l" t="t" r="r" b="b"/>
              <a:pathLst>
                <a:path w="3071958" h="3051550" extrusionOk="0">
                  <a:moveTo>
                    <a:pt x="0" y="223427"/>
                  </a:moveTo>
                  <a:lnTo>
                    <a:pt x="5457" y="222835"/>
                  </a:lnTo>
                  <a:lnTo>
                    <a:pt x="5460" y="220334"/>
                  </a:lnTo>
                  <a:lnTo>
                    <a:pt x="28507" y="220334"/>
                  </a:lnTo>
                  <a:lnTo>
                    <a:pt x="2059257" y="0"/>
                  </a:lnTo>
                  <a:lnTo>
                    <a:pt x="2119482" y="935855"/>
                  </a:lnTo>
                  <a:lnTo>
                    <a:pt x="1815594" y="952732"/>
                  </a:lnTo>
                  <a:lnTo>
                    <a:pt x="3071958" y="2076888"/>
                  </a:lnTo>
                  <a:lnTo>
                    <a:pt x="2199859" y="3051550"/>
                  </a:lnTo>
                  <a:lnTo>
                    <a:pt x="972751" y="1953570"/>
                  </a:lnTo>
                  <a:lnTo>
                    <a:pt x="972751" y="2236153"/>
                  </a:lnTo>
                  <a:lnTo>
                    <a:pt x="2769" y="2284871"/>
                  </a:lnTo>
                  <a:lnTo>
                    <a:pt x="5395" y="2703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dist="38100" dir="8100000" sx="101000" sy="101000" algn="tr" rotWithShape="0">
                <a:schemeClr val="tx1">
                  <a:alpha val="10000"/>
                </a:schemeClr>
              </a:outerShdw>
            </a:effectLst>
          </p:spPr>
          <p:txBody>
            <a:bodyPr spcFirstLastPara="1"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lt1"/>
                </a:solidFill>
              </a:endParaRPr>
            </a:p>
          </p:txBody>
        </p:sp>
        <p:sp>
          <p:nvSpPr>
            <p:cNvPr id="45" name="ïṥļîḓè">
              <a:extLst>
                <a:ext uri="{FF2B5EF4-FFF2-40B4-BE49-F238E27FC236}">
                  <a16:creationId xmlns:a16="http://schemas.microsoft.com/office/drawing/2014/main" id="{DD34546D-0498-4545-B307-1CDC0EB58920}"/>
                </a:ext>
              </a:extLst>
            </p:cNvPr>
            <p:cNvSpPr/>
            <p:nvPr/>
          </p:nvSpPr>
          <p:spPr>
            <a:xfrm rot="13690726">
              <a:off x="5793427" y="2105287"/>
              <a:ext cx="2665131" cy="2647427"/>
            </a:xfrm>
            <a:custGeom>
              <a:avLst/>
              <a:gdLst/>
              <a:ahLst/>
              <a:cxnLst/>
              <a:rect l="l" t="t" r="r" b="b"/>
              <a:pathLst>
                <a:path w="3071958" h="3051550" extrusionOk="0">
                  <a:moveTo>
                    <a:pt x="0" y="223427"/>
                  </a:moveTo>
                  <a:lnTo>
                    <a:pt x="5457" y="222835"/>
                  </a:lnTo>
                  <a:lnTo>
                    <a:pt x="5460" y="220334"/>
                  </a:lnTo>
                  <a:lnTo>
                    <a:pt x="28507" y="220334"/>
                  </a:lnTo>
                  <a:lnTo>
                    <a:pt x="2059257" y="0"/>
                  </a:lnTo>
                  <a:lnTo>
                    <a:pt x="2119482" y="935855"/>
                  </a:lnTo>
                  <a:lnTo>
                    <a:pt x="1815594" y="952732"/>
                  </a:lnTo>
                  <a:lnTo>
                    <a:pt x="3071958" y="2076888"/>
                  </a:lnTo>
                  <a:lnTo>
                    <a:pt x="2199859" y="3051550"/>
                  </a:lnTo>
                  <a:lnTo>
                    <a:pt x="972751" y="1953570"/>
                  </a:lnTo>
                  <a:lnTo>
                    <a:pt x="972751" y="2236153"/>
                  </a:lnTo>
                  <a:lnTo>
                    <a:pt x="2769" y="2284871"/>
                  </a:lnTo>
                  <a:lnTo>
                    <a:pt x="5395" y="2703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dist="38100" dir="18900000" sx="101000" sy="101000" algn="bl" rotWithShape="0">
                <a:prstClr val="black">
                  <a:alpha val="10000"/>
                </a:prstClr>
              </a:outerShdw>
            </a:effectLst>
          </p:spPr>
          <p:txBody>
            <a:bodyPr spcFirstLastPara="1"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sz="1400">
                <a:solidFill>
                  <a:schemeClr val="lt1"/>
                </a:solidFill>
              </a:endParaRPr>
            </a:p>
          </p:txBody>
        </p:sp>
        <p:grpSp>
          <p:nvGrpSpPr>
            <p:cNvPr id="46" name="íṡļîḓè">
              <a:extLst>
                <a:ext uri="{FF2B5EF4-FFF2-40B4-BE49-F238E27FC236}">
                  <a16:creationId xmlns:a16="http://schemas.microsoft.com/office/drawing/2014/main" id="{232151C6-28ED-4DDC-BF56-4BF28E242083}"/>
                </a:ext>
              </a:extLst>
            </p:cNvPr>
            <p:cNvGrpSpPr/>
            <p:nvPr/>
          </p:nvGrpSpPr>
          <p:grpSpPr>
            <a:xfrm>
              <a:off x="4668066" y="2563451"/>
              <a:ext cx="705293" cy="705293"/>
              <a:chOff x="4649213" y="2563451"/>
              <a:chExt cx="705293" cy="705293"/>
            </a:xfrm>
          </p:grpSpPr>
          <p:sp>
            <p:nvSpPr>
              <p:cNvPr id="60" name="iSḻíḍê">
                <a:extLst>
                  <a:ext uri="{FF2B5EF4-FFF2-40B4-BE49-F238E27FC236}">
                    <a16:creationId xmlns:a16="http://schemas.microsoft.com/office/drawing/2014/main" id="{2FD4BAD8-ED35-4DC7-9E05-D175E3DF53AF}"/>
                  </a:ext>
                </a:extLst>
              </p:cNvPr>
              <p:cNvSpPr/>
              <p:nvPr/>
            </p:nvSpPr>
            <p:spPr>
              <a:xfrm>
                <a:off x="4649213" y="2563451"/>
                <a:ext cx="705293" cy="705293"/>
              </a:xfrm>
              <a:prstGeom prst="ellipse">
                <a:avLst/>
              </a:prstGeom>
              <a:solidFill>
                <a:schemeClr val="bg1"/>
              </a:solidFill>
              <a:ln w="222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61" name="iṧľîďé">
                <a:extLst>
                  <a:ext uri="{FF2B5EF4-FFF2-40B4-BE49-F238E27FC236}">
                    <a16:creationId xmlns:a16="http://schemas.microsoft.com/office/drawing/2014/main" id="{EBDA3FFA-1957-42EB-BE0E-F4026766D721}"/>
                  </a:ext>
                </a:extLst>
              </p:cNvPr>
              <p:cNvSpPr/>
              <p:nvPr/>
            </p:nvSpPr>
            <p:spPr bwMode="auto">
              <a:xfrm>
                <a:off x="4810282" y="2707209"/>
                <a:ext cx="383153" cy="417776"/>
              </a:xfrm>
              <a:custGeom>
                <a:avLst/>
                <a:gdLst>
                  <a:gd name="T0" fmla="*/ 168 w 208"/>
                  <a:gd name="T1" fmla="*/ 0 h 224"/>
                  <a:gd name="T2" fmla="*/ 168 w 208"/>
                  <a:gd name="T3" fmla="*/ 68 h 224"/>
                  <a:gd name="T4" fmla="*/ 108 w 208"/>
                  <a:gd name="T5" fmla="*/ 68 h 224"/>
                  <a:gd name="T6" fmla="*/ 108 w 208"/>
                  <a:gd name="T7" fmla="*/ 124 h 224"/>
                  <a:gd name="T8" fmla="*/ 192 w 208"/>
                  <a:gd name="T9" fmla="*/ 124 h 224"/>
                  <a:gd name="T10" fmla="*/ 192 w 208"/>
                  <a:gd name="T11" fmla="*/ 184 h 224"/>
                  <a:gd name="T12" fmla="*/ 208 w 208"/>
                  <a:gd name="T13" fmla="*/ 184 h 224"/>
                  <a:gd name="T14" fmla="*/ 208 w 208"/>
                  <a:gd name="T15" fmla="*/ 224 h 224"/>
                  <a:gd name="T16" fmla="*/ 168 w 208"/>
                  <a:gd name="T17" fmla="*/ 224 h 224"/>
                  <a:gd name="T18" fmla="*/ 168 w 208"/>
                  <a:gd name="T19" fmla="*/ 184 h 224"/>
                  <a:gd name="T20" fmla="*/ 184 w 208"/>
                  <a:gd name="T21" fmla="*/ 184 h 224"/>
                  <a:gd name="T22" fmla="*/ 184 w 208"/>
                  <a:gd name="T23" fmla="*/ 132 h 224"/>
                  <a:gd name="T24" fmla="*/ 108 w 208"/>
                  <a:gd name="T25" fmla="*/ 132 h 224"/>
                  <a:gd name="T26" fmla="*/ 108 w 208"/>
                  <a:gd name="T27" fmla="*/ 184 h 224"/>
                  <a:gd name="T28" fmla="*/ 124 w 208"/>
                  <a:gd name="T29" fmla="*/ 184 h 224"/>
                  <a:gd name="T30" fmla="*/ 124 w 208"/>
                  <a:gd name="T31" fmla="*/ 224 h 224"/>
                  <a:gd name="T32" fmla="*/ 84 w 208"/>
                  <a:gd name="T33" fmla="*/ 224 h 224"/>
                  <a:gd name="T34" fmla="*/ 84 w 208"/>
                  <a:gd name="T35" fmla="*/ 184 h 224"/>
                  <a:gd name="T36" fmla="*/ 100 w 208"/>
                  <a:gd name="T37" fmla="*/ 184 h 224"/>
                  <a:gd name="T38" fmla="*/ 100 w 208"/>
                  <a:gd name="T39" fmla="*/ 132 h 224"/>
                  <a:gd name="T40" fmla="*/ 24 w 208"/>
                  <a:gd name="T41" fmla="*/ 132 h 224"/>
                  <a:gd name="T42" fmla="*/ 24 w 208"/>
                  <a:gd name="T43" fmla="*/ 184 h 224"/>
                  <a:gd name="T44" fmla="*/ 40 w 208"/>
                  <a:gd name="T45" fmla="*/ 184 h 224"/>
                  <a:gd name="T46" fmla="*/ 40 w 208"/>
                  <a:gd name="T47" fmla="*/ 224 h 224"/>
                  <a:gd name="T48" fmla="*/ 0 w 208"/>
                  <a:gd name="T49" fmla="*/ 224 h 224"/>
                  <a:gd name="T50" fmla="*/ 0 w 208"/>
                  <a:gd name="T51" fmla="*/ 184 h 224"/>
                  <a:gd name="T52" fmla="*/ 16 w 208"/>
                  <a:gd name="T53" fmla="*/ 184 h 224"/>
                  <a:gd name="T54" fmla="*/ 16 w 208"/>
                  <a:gd name="T55" fmla="*/ 124 h 224"/>
                  <a:gd name="T56" fmla="*/ 100 w 208"/>
                  <a:gd name="T57" fmla="*/ 124 h 224"/>
                  <a:gd name="T58" fmla="*/ 100 w 208"/>
                  <a:gd name="T59" fmla="*/ 68 h 224"/>
                  <a:gd name="T60" fmla="*/ 40 w 208"/>
                  <a:gd name="T61" fmla="*/ 68 h 224"/>
                  <a:gd name="T62" fmla="*/ 40 w 208"/>
                  <a:gd name="T63" fmla="*/ 0 h 224"/>
                  <a:gd name="T64" fmla="*/ 168 w 208"/>
                  <a:gd name="T65" fmla="*/ 0 h 224"/>
                  <a:gd name="T66" fmla="*/ 32 w 208"/>
                  <a:gd name="T67" fmla="*/ 192 h 224"/>
                  <a:gd name="T68" fmla="*/ 8 w 208"/>
                  <a:gd name="T69" fmla="*/ 192 h 224"/>
                  <a:gd name="T70" fmla="*/ 8 w 208"/>
                  <a:gd name="T71" fmla="*/ 216 h 224"/>
                  <a:gd name="T72" fmla="*/ 32 w 208"/>
                  <a:gd name="T73" fmla="*/ 216 h 224"/>
                  <a:gd name="T74" fmla="*/ 32 w 208"/>
                  <a:gd name="T75" fmla="*/ 192 h 224"/>
                  <a:gd name="T76" fmla="*/ 116 w 208"/>
                  <a:gd name="T77" fmla="*/ 192 h 224"/>
                  <a:gd name="T78" fmla="*/ 92 w 208"/>
                  <a:gd name="T79" fmla="*/ 192 h 224"/>
                  <a:gd name="T80" fmla="*/ 92 w 208"/>
                  <a:gd name="T81" fmla="*/ 216 h 224"/>
                  <a:gd name="T82" fmla="*/ 116 w 208"/>
                  <a:gd name="T83" fmla="*/ 216 h 224"/>
                  <a:gd name="T84" fmla="*/ 116 w 208"/>
                  <a:gd name="T85" fmla="*/ 192 h 224"/>
                  <a:gd name="T86" fmla="*/ 200 w 208"/>
                  <a:gd name="T87" fmla="*/ 192 h 224"/>
                  <a:gd name="T88" fmla="*/ 176 w 208"/>
                  <a:gd name="T89" fmla="*/ 192 h 224"/>
                  <a:gd name="T90" fmla="*/ 176 w 208"/>
                  <a:gd name="T91" fmla="*/ 216 h 224"/>
                  <a:gd name="T92" fmla="*/ 200 w 208"/>
                  <a:gd name="T93" fmla="*/ 216 h 224"/>
                  <a:gd name="T94" fmla="*/ 200 w 208"/>
                  <a:gd name="T95" fmla="*/ 192 h 224"/>
                  <a:gd name="T96" fmla="*/ 160 w 208"/>
                  <a:gd name="T97" fmla="*/ 8 h 224"/>
                  <a:gd name="T98" fmla="*/ 48 w 208"/>
                  <a:gd name="T99" fmla="*/ 8 h 224"/>
                  <a:gd name="T100" fmla="*/ 48 w 208"/>
                  <a:gd name="T101" fmla="*/ 60 h 224"/>
                  <a:gd name="T102" fmla="*/ 160 w 208"/>
                  <a:gd name="T103" fmla="*/ 60 h 224"/>
                  <a:gd name="T104" fmla="*/ 160 w 208"/>
                  <a:gd name="T105" fmla="*/ 8 h 224"/>
                  <a:gd name="T106" fmla="*/ 66 w 208"/>
                  <a:gd name="T107" fmla="*/ 36 h 224"/>
                  <a:gd name="T108" fmla="*/ 72 w 208"/>
                  <a:gd name="T109" fmla="*/ 42 h 224"/>
                  <a:gd name="T110" fmla="*/ 66 w 208"/>
                  <a:gd name="T111" fmla="*/ 48 h 224"/>
                  <a:gd name="T112" fmla="*/ 60 w 208"/>
                  <a:gd name="T113" fmla="*/ 42 h 224"/>
                  <a:gd name="T114" fmla="*/ 66 w 208"/>
                  <a:gd name="T115" fmla="*/ 3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8" h="224">
                    <a:moveTo>
                      <a:pt x="168" y="0"/>
                    </a:moveTo>
                    <a:cubicBezTo>
                      <a:pt x="168" y="68"/>
                      <a:pt x="168" y="68"/>
                      <a:pt x="168" y="68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08" y="124"/>
                      <a:pt x="108" y="124"/>
                      <a:pt x="108" y="124"/>
                    </a:cubicBezTo>
                    <a:cubicBezTo>
                      <a:pt x="192" y="124"/>
                      <a:pt x="192" y="124"/>
                      <a:pt x="192" y="124"/>
                    </a:cubicBezTo>
                    <a:cubicBezTo>
                      <a:pt x="192" y="184"/>
                      <a:pt x="192" y="184"/>
                      <a:pt x="192" y="184"/>
                    </a:cubicBezTo>
                    <a:cubicBezTo>
                      <a:pt x="208" y="184"/>
                      <a:pt x="208" y="184"/>
                      <a:pt x="208" y="184"/>
                    </a:cubicBezTo>
                    <a:cubicBezTo>
                      <a:pt x="208" y="224"/>
                      <a:pt x="208" y="224"/>
                      <a:pt x="208" y="224"/>
                    </a:cubicBezTo>
                    <a:cubicBezTo>
                      <a:pt x="168" y="224"/>
                      <a:pt x="168" y="224"/>
                      <a:pt x="168" y="224"/>
                    </a:cubicBezTo>
                    <a:cubicBezTo>
                      <a:pt x="168" y="184"/>
                      <a:pt x="168" y="184"/>
                      <a:pt x="168" y="184"/>
                    </a:cubicBezTo>
                    <a:cubicBezTo>
                      <a:pt x="184" y="184"/>
                      <a:pt x="184" y="184"/>
                      <a:pt x="184" y="184"/>
                    </a:cubicBezTo>
                    <a:cubicBezTo>
                      <a:pt x="184" y="132"/>
                      <a:pt x="184" y="132"/>
                      <a:pt x="184" y="132"/>
                    </a:cubicBezTo>
                    <a:cubicBezTo>
                      <a:pt x="108" y="132"/>
                      <a:pt x="108" y="132"/>
                      <a:pt x="108" y="132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24" y="184"/>
                      <a:pt x="124" y="184"/>
                      <a:pt x="124" y="184"/>
                    </a:cubicBezTo>
                    <a:cubicBezTo>
                      <a:pt x="124" y="224"/>
                      <a:pt x="124" y="224"/>
                      <a:pt x="124" y="224"/>
                    </a:cubicBezTo>
                    <a:cubicBezTo>
                      <a:pt x="84" y="224"/>
                      <a:pt x="84" y="224"/>
                      <a:pt x="84" y="224"/>
                    </a:cubicBezTo>
                    <a:cubicBezTo>
                      <a:pt x="84" y="184"/>
                      <a:pt x="84" y="184"/>
                      <a:pt x="84" y="184"/>
                    </a:cubicBezTo>
                    <a:cubicBezTo>
                      <a:pt x="100" y="184"/>
                      <a:pt x="100" y="184"/>
                      <a:pt x="100" y="184"/>
                    </a:cubicBezTo>
                    <a:cubicBezTo>
                      <a:pt x="100" y="132"/>
                      <a:pt x="100" y="132"/>
                      <a:pt x="100" y="132"/>
                    </a:cubicBezTo>
                    <a:cubicBezTo>
                      <a:pt x="24" y="132"/>
                      <a:pt x="24" y="132"/>
                      <a:pt x="24" y="132"/>
                    </a:cubicBezTo>
                    <a:cubicBezTo>
                      <a:pt x="24" y="184"/>
                      <a:pt x="24" y="184"/>
                      <a:pt x="24" y="184"/>
                    </a:cubicBezTo>
                    <a:cubicBezTo>
                      <a:pt x="40" y="184"/>
                      <a:pt x="40" y="184"/>
                      <a:pt x="40" y="184"/>
                    </a:cubicBezTo>
                    <a:cubicBezTo>
                      <a:pt x="40" y="224"/>
                      <a:pt x="40" y="224"/>
                      <a:pt x="40" y="224"/>
                    </a:cubicBezTo>
                    <a:cubicBezTo>
                      <a:pt x="0" y="224"/>
                      <a:pt x="0" y="224"/>
                      <a:pt x="0" y="22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16" y="184"/>
                      <a:pt x="16" y="184"/>
                      <a:pt x="16" y="184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00" y="124"/>
                      <a:pt x="100" y="124"/>
                      <a:pt x="100" y="124"/>
                    </a:cubicBezTo>
                    <a:cubicBezTo>
                      <a:pt x="100" y="68"/>
                      <a:pt x="100" y="68"/>
                      <a:pt x="100" y="68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40" y="0"/>
                      <a:pt x="40" y="0"/>
                      <a:pt x="40" y="0"/>
                    </a:cubicBezTo>
                    <a:lnTo>
                      <a:pt x="168" y="0"/>
                    </a:lnTo>
                    <a:close/>
                    <a:moveTo>
                      <a:pt x="32" y="192"/>
                    </a:moveTo>
                    <a:cubicBezTo>
                      <a:pt x="8" y="192"/>
                      <a:pt x="8" y="192"/>
                      <a:pt x="8" y="192"/>
                    </a:cubicBezTo>
                    <a:cubicBezTo>
                      <a:pt x="8" y="216"/>
                      <a:pt x="8" y="216"/>
                      <a:pt x="8" y="216"/>
                    </a:cubicBezTo>
                    <a:cubicBezTo>
                      <a:pt x="32" y="216"/>
                      <a:pt x="32" y="216"/>
                      <a:pt x="32" y="216"/>
                    </a:cubicBezTo>
                    <a:lnTo>
                      <a:pt x="32" y="192"/>
                    </a:lnTo>
                    <a:close/>
                    <a:moveTo>
                      <a:pt x="116" y="192"/>
                    </a:moveTo>
                    <a:cubicBezTo>
                      <a:pt x="92" y="192"/>
                      <a:pt x="92" y="192"/>
                      <a:pt x="92" y="192"/>
                    </a:cubicBezTo>
                    <a:cubicBezTo>
                      <a:pt x="92" y="216"/>
                      <a:pt x="92" y="216"/>
                      <a:pt x="92" y="216"/>
                    </a:cubicBezTo>
                    <a:cubicBezTo>
                      <a:pt x="116" y="216"/>
                      <a:pt x="116" y="216"/>
                      <a:pt x="116" y="216"/>
                    </a:cubicBezTo>
                    <a:lnTo>
                      <a:pt x="116" y="192"/>
                    </a:lnTo>
                    <a:close/>
                    <a:moveTo>
                      <a:pt x="200" y="192"/>
                    </a:moveTo>
                    <a:cubicBezTo>
                      <a:pt x="176" y="192"/>
                      <a:pt x="176" y="192"/>
                      <a:pt x="176" y="192"/>
                    </a:cubicBezTo>
                    <a:cubicBezTo>
                      <a:pt x="176" y="216"/>
                      <a:pt x="176" y="216"/>
                      <a:pt x="176" y="216"/>
                    </a:cubicBezTo>
                    <a:cubicBezTo>
                      <a:pt x="200" y="216"/>
                      <a:pt x="200" y="216"/>
                      <a:pt x="200" y="216"/>
                    </a:cubicBezTo>
                    <a:lnTo>
                      <a:pt x="200" y="192"/>
                    </a:lnTo>
                    <a:close/>
                    <a:moveTo>
                      <a:pt x="160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160" y="60"/>
                      <a:pt x="160" y="60"/>
                      <a:pt x="160" y="60"/>
                    </a:cubicBezTo>
                    <a:lnTo>
                      <a:pt x="160" y="8"/>
                    </a:lnTo>
                    <a:close/>
                    <a:moveTo>
                      <a:pt x="66" y="36"/>
                    </a:moveTo>
                    <a:cubicBezTo>
                      <a:pt x="69" y="36"/>
                      <a:pt x="72" y="39"/>
                      <a:pt x="72" y="42"/>
                    </a:cubicBezTo>
                    <a:cubicBezTo>
                      <a:pt x="72" y="45"/>
                      <a:pt x="69" y="48"/>
                      <a:pt x="66" y="48"/>
                    </a:cubicBezTo>
                    <a:cubicBezTo>
                      <a:pt x="63" y="48"/>
                      <a:pt x="60" y="45"/>
                      <a:pt x="60" y="42"/>
                    </a:cubicBezTo>
                    <a:cubicBezTo>
                      <a:pt x="60" y="39"/>
                      <a:pt x="63" y="36"/>
                      <a:pt x="66" y="3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47" name="îşliḑè">
              <a:extLst>
                <a:ext uri="{FF2B5EF4-FFF2-40B4-BE49-F238E27FC236}">
                  <a16:creationId xmlns:a16="http://schemas.microsoft.com/office/drawing/2014/main" id="{D8068F09-75FC-4DFC-BD85-2EAEAEF74082}"/>
                </a:ext>
              </a:extLst>
            </p:cNvPr>
            <p:cNvGrpSpPr/>
            <p:nvPr/>
          </p:nvGrpSpPr>
          <p:grpSpPr>
            <a:xfrm>
              <a:off x="6789097" y="3838337"/>
              <a:ext cx="705293" cy="705293"/>
              <a:chOff x="4649213" y="2563451"/>
              <a:chExt cx="705293" cy="705293"/>
            </a:xfrm>
          </p:grpSpPr>
          <p:sp>
            <p:nvSpPr>
              <p:cNvPr id="58" name="îšļïḑê">
                <a:extLst>
                  <a:ext uri="{FF2B5EF4-FFF2-40B4-BE49-F238E27FC236}">
                    <a16:creationId xmlns:a16="http://schemas.microsoft.com/office/drawing/2014/main" id="{6505CE55-D31A-4065-B191-E3D87F508CAD}"/>
                  </a:ext>
                </a:extLst>
              </p:cNvPr>
              <p:cNvSpPr/>
              <p:nvPr/>
            </p:nvSpPr>
            <p:spPr>
              <a:xfrm>
                <a:off x="4649213" y="2563451"/>
                <a:ext cx="705293" cy="705293"/>
              </a:xfrm>
              <a:prstGeom prst="ellipse">
                <a:avLst/>
              </a:prstGeom>
              <a:solidFill>
                <a:schemeClr val="bg1"/>
              </a:solidFill>
              <a:ln w="222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59" name="íŝľíḋe">
                <a:extLst>
                  <a:ext uri="{FF2B5EF4-FFF2-40B4-BE49-F238E27FC236}">
                    <a16:creationId xmlns:a16="http://schemas.microsoft.com/office/drawing/2014/main" id="{AD9C81ED-CB0F-424F-82FE-42EAE971390F}"/>
                  </a:ext>
                </a:extLst>
              </p:cNvPr>
              <p:cNvSpPr/>
              <p:nvPr/>
            </p:nvSpPr>
            <p:spPr bwMode="auto">
              <a:xfrm>
                <a:off x="4810282" y="2707209"/>
                <a:ext cx="383153" cy="417776"/>
              </a:xfrm>
              <a:custGeom>
                <a:avLst/>
                <a:gdLst>
                  <a:gd name="T0" fmla="*/ 156 w 208"/>
                  <a:gd name="T1" fmla="*/ 0 h 224"/>
                  <a:gd name="T2" fmla="*/ 156 w 208"/>
                  <a:gd name="T3" fmla="*/ 8 h 224"/>
                  <a:gd name="T4" fmla="*/ 144 w 208"/>
                  <a:gd name="T5" fmla="*/ 8 h 224"/>
                  <a:gd name="T6" fmla="*/ 144 w 208"/>
                  <a:gd name="T7" fmla="*/ 59 h 224"/>
                  <a:gd name="T8" fmla="*/ 208 w 208"/>
                  <a:gd name="T9" fmla="*/ 204 h 224"/>
                  <a:gd name="T10" fmla="*/ 201 w 208"/>
                  <a:gd name="T11" fmla="*/ 224 h 224"/>
                  <a:gd name="T12" fmla="*/ 7 w 208"/>
                  <a:gd name="T13" fmla="*/ 224 h 224"/>
                  <a:gd name="T14" fmla="*/ 0 w 208"/>
                  <a:gd name="T15" fmla="*/ 204 h 224"/>
                  <a:gd name="T16" fmla="*/ 64 w 208"/>
                  <a:gd name="T17" fmla="*/ 59 h 224"/>
                  <a:gd name="T18" fmla="*/ 64 w 208"/>
                  <a:gd name="T19" fmla="*/ 8 h 224"/>
                  <a:gd name="T20" fmla="*/ 52 w 208"/>
                  <a:gd name="T21" fmla="*/ 8 h 224"/>
                  <a:gd name="T22" fmla="*/ 52 w 208"/>
                  <a:gd name="T23" fmla="*/ 0 h 224"/>
                  <a:gd name="T24" fmla="*/ 156 w 208"/>
                  <a:gd name="T25" fmla="*/ 0 h 224"/>
                  <a:gd name="T26" fmla="*/ 108 w 208"/>
                  <a:gd name="T27" fmla="*/ 174 h 224"/>
                  <a:gd name="T28" fmla="*/ 106 w 208"/>
                  <a:gd name="T29" fmla="*/ 175 h 224"/>
                  <a:gd name="T30" fmla="*/ 22 w 208"/>
                  <a:gd name="T31" fmla="*/ 174 h 224"/>
                  <a:gd name="T32" fmla="*/ 8 w 208"/>
                  <a:gd name="T33" fmla="*/ 204 h 224"/>
                  <a:gd name="T34" fmla="*/ 13 w 208"/>
                  <a:gd name="T35" fmla="*/ 216 h 224"/>
                  <a:gd name="T36" fmla="*/ 195 w 208"/>
                  <a:gd name="T37" fmla="*/ 216 h 224"/>
                  <a:gd name="T38" fmla="*/ 200 w 208"/>
                  <a:gd name="T39" fmla="*/ 204 h 224"/>
                  <a:gd name="T40" fmla="*/ 185 w 208"/>
                  <a:gd name="T41" fmla="*/ 171 h 224"/>
                  <a:gd name="T42" fmla="*/ 108 w 208"/>
                  <a:gd name="T43" fmla="*/ 174 h 224"/>
                  <a:gd name="T44" fmla="*/ 136 w 208"/>
                  <a:gd name="T45" fmla="*/ 8 h 224"/>
                  <a:gd name="T46" fmla="*/ 72 w 208"/>
                  <a:gd name="T47" fmla="*/ 8 h 224"/>
                  <a:gd name="T48" fmla="*/ 72 w 208"/>
                  <a:gd name="T49" fmla="*/ 61 h 224"/>
                  <a:gd name="T50" fmla="*/ 25 w 208"/>
                  <a:gd name="T51" fmla="*/ 166 h 224"/>
                  <a:gd name="T52" fmla="*/ 101 w 208"/>
                  <a:gd name="T53" fmla="*/ 170 h 224"/>
                  <a:gd name="T54" fmla="*/ 102 w 208"/>
                  <a:gd name="T55" fmla="*/ 169 h 224"/>
                  <a:gd name="T56" fmla="*/ 180 w 208"/>
                  <a:gd name="T57" fmla="*/ 160 h 224"/>
                  <a:gd name="T58" fmla="*/ 136 w 208"/>
                  <a:gd name="T59" fmla="*/ 61 h 224"/>
                  <a:gd name="T60" fmla="*/ 136 w 208"/>
                  <a:gd name="T61" fmla="*/ 8 h 224"/>
                  <a:gd name="T62" fmla="*/ 130 w 208"/>
                  <a:gd name="T63" fmla="*/ 104 h 224"/>
                  <a:gd name="T64" fmla="*/ 148 w 208"/>
                  <a:gd name="T65" fmla="*/ 122 h 224"/>
                  <a:gd name="T66" fmla="*/ 130 w 208"/>
                  <a:gd name="T67" fmla="*/ 140 h 224"/>
                  <a:gd name="T68" fmla="*/ 112 w 208"/>
                  <a:gd name="T69" fmla="*/ 122 h 224"/>
                  <a:gd name="T70" fmla="*/ 130 w 208"/>
                  <a:gd name="T71" fmla="*/ 104 h 224"/>
                  <a:gd name="T72" fmla="*/ 130 w 208"/>
                  <a:gd name="T73" fmla="*/ 112 h 224"/>
                  <a:gd name="T74" fmla="*/ 120 w 208"/>
                  <a:gd name="T75" fmla="*/ 122 h 224"/>
                  <a:gd name="T76" fmla="*/ 130 w 208"/>
                  <a:gd name="T77" fmla="*/ 132 h 224"/>
                  <a:gd name="T78" fmla="*/ 140 w 208"/>
                  <a:gd name="T79" fmla="*/ 122 h 224"/>
                  <a:gd name="T80" fmla="*/ 130 w 208"/>
                  <a:gd name="T81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8" h="224">
                    <a:moveTo>
                      <a:pt x="156" y="0"/>
                    </a:moveTo>
                    <a:cubicBezTo>
                      <a:pt x="156" y="8"/>
                      <a:pt x="156" y="8"/>
                      <a:pt x="156" y="8"/>
                    </a:cubicBezTo>
                    <a:cubicBezTo>
                      <a:pt x="144" y="8"/>
                      <a:pt x="144" y="8"/>
                      <a:pt x="144" y="8"/>
                    </a:cubicBezTo>
                    <a:cubicBezTo>
                      <a:pt x="144" y="59"/>
                      <a:pt x="144" y="59"/>
                      <a:pt x="144" y="59"/>
                    </a:cubicBezTo>
                    <a:cubicBezTo>
                      <a:pt x="208" y="204"/>
                      <a:pt x="208" y="204"/>
                      <a:pt x="208" y="204"/>
                    </a:cubicBezTo>
                    <a:cubicBezTo>
                      <a:pt x="201" y="224"/>
                      <a:pt x="201" y="224"/>
                      <a:pt x="201" y="224"/>
                    </a:cubicBezTo>
                    <a:cubicBezTo>
                      <a:pt x="7" y="224"/>
                      <a:pt x="7" y="224"/>
                      <a:pt x="7" y="224"/>
                    </a:cubicBezTo>
                    <a:cubicBezTo>
                      <a:pt x="0" y="204"/>
                      <a:pt x="0" y="204"/>
                      <a:pt x="0" y="204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2" y="0"/>
                      <a:pt x="52" y="0"/>
                      <a:pt x="52" y="0"/>
                    </a:cubicBezTo>
                    <a:lnTo>
                      <a:pt x="156" y="0"/>
                    </a:lnTo>
                    <a:close/>
                    <a:moveTo>
                      <a:pt x="108" y="174"/>
                    </a:moveTo>
                    <a:cubicBezTo>
                      <a:pt x="106" y="175"/>
                      <a:pt x="106" y="175"/>
                      <a:pt x="106" y="175"/>
                    </a:cubicBezTo>
                    <a:cubicBezTo>
                      <a:pt x="83" y="192"/>
                      <a:pt x="50" y="191"/>
                      <a:pt x="22" y="174"/>
                    </a:cubicBezTo>
                    <a:cubicBezTo>
                      <a:pt x="8" y="204"/>
                      <a:pt x="8" y="204"/>
                      <a:pt x="8" y="204"/>
                    </a:cubicBezTo>
                    <a:cubicBezTo>
                      <a:pt x="13" y="216"/>
                      <a:pt x="13" y="216"/>
                      <a:pt x="13" y="216"/>
                    </a:cubicBezTo>
                    <a:cubicBezTo>
                      <a:pt x="195" y="216"/>
                      <a:pt x="195" y="216"/>
                      <a:pt x="195" y="216"/>
                    </a:cubicBezTo>
                    <a:cubicBezTo>
                      <a:pt x="200" y="204"/>
                      <a:pt x="200" y="204"/>
                      <a:pt x="200" y="204"/>
                    </a:cubicBezTo>
                    <a:cubicBezTo>
                      <a:pt x="185" y="171"/>
                      <a:pt x="185" y="171"/>
                      <a:pt x="185" y="171"/>
                    </a:cubicBezTo>
                    <a:cubicBezTo>
                      <a:pt x="159" y="159"/>
                      <a:pt x="128" y="160"/>
                      <a:pt x="108" y="174"/>
                    </a:cubicBezTo>
                    <a:close/>
                    <a:moveTo>
                      <a:pt x="136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61"/>
                      <a:pt x="72" y="61"/>
                      <a:pt x="72" y="61"/>
                    </a:cubicBezTo>
                    <a:cubicBezTo>
                      <a:pt x="25" y="166"/>
                      <a:pt x="25" y="166"/>
                      <a:pt x="25" y="166"/>
                    </a:cubicBezTo>
                    <a:cubicBezTo>
                      <a:pt x="50" y="182"/>
                      <a:pt x="80" y="183"/>
                      <a:pt x="101" y="170"/>
                    </a:cubicBezTo>
                    <a:cubicBezTo>
                      <a:pt x="102" y="169"/>
                      <a:pt x="102" y="169"/>
                      <a:pt x="102" y="169"/>
                    </a:cubicBezTo>
                    <a:cubicBezTo>
                      <a:pt x="123" y="154"/>
                      <a:pt x="153" y="151"/>
                      <a:pt x="180" y="160"/>
                    </a:cubicBezTo>
                    <a:cubicBezTo>
                      <a:pt x="136" y="61"/>
                      <a:pt x="136" y="61"/>
                      <a:pt x="136" y="61"/>
                    </a:cubicBezTo>
                    <a:lnTo>
                      <a:pt x="136" y="8"/>
                    </a:lnTo>
                    <a:close/>
                    <a:moveTo>
                      <a:pt x="130" y="104"/>
                    </a:moveTo>
                    <a:cubicBezTo>
                      <a:pt x="140" y="104"/>
                      <a:pt x="148" y="112"/>
                      <a:pt x="148" y="122"/>
                    </a:cubicBezTo>
                    <a:cubicBezTo>
                      <a:pt x="148" y="132"/>
                      <a:pt x="140" y="140"/>
                      <a:pt x="130" y="140"/>
                    </a:cubicBezTo>
                    <a:cubicBezTo>
                      <a:pt x="120" y="140"/>
                      <a:pt x="112" y="132"/>
                      <a:pt x="112" y="122"/>
                    </a:cubicBezTo>
                    <a:cubicBezTo>
                      <a:pt x="112" y="112"/>
                      <a:pt x="120" y="104"/>
                      <a:pt x="130" y="104"/>
                    </a:cubicBezTo>
                    <a:close/>
                    <a:moveTo>
                      <a:pt x="130" y="112"/>
                    </a:moveTo>
                    <a:cubicBezTo>
                      <a:pt x="124" y="112"/>
                      <a:pt x="120" y="116"/>
                      <a:pt x="120" y="122"/>
                    </a:cubicBezTo>
                    <a:cubicBezTo>
                      <a:pt x="120" y="128"/>
                      <a:pt x="124" y="132"/>
                      <a:pt x="130" y="132"/>
                    </a:cubicBezTo>
                    <a:cubicBezTo>
                      <a:pt x="136" y="132"/>
                      <a:pt x="140" y="128"/>
                      <a:pt x="140" y="122"/>
                    </a:cubicBezTo>
                    <a:cubicBezTo>
                      <a:pt x="140" y="116"/>
                      <a:pt x="136" y="112"/>
                      <a:pt x="130" y="11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sp>
          <p:nvSpPr>
            <p:cNvPr id="48" name="îṧ1ídè">
              <a:extLst>
                <a:ext uri="{FF2B5EF4-FFF2-40B4-BE49-F238E27FC236}">
                  <a16:creationId xmlns:a16="http://schemas.microsoft.com/office/drawing/2014/main" id="{196A487E-8EC2-459A-8F3A-D6AC9036662A}"/>
                </a:ext>
              </a:extLst>
            </p:cNvPr>
            <p:cNvSpPr/>
            <p:nvPr/>
          </p:nvSpPr>
          <p:spPr bwMode="auto">
            <a:xfrm>
              <a:off x="669925" y="3214098"/>
              <a:ext cx="2875634" cy="713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49" name="ïṧḷîḋè">
              <a:extLst>
                <a:ext uri="{FF2B5EF4-FFF2-40B4-BE49-F238E27FC236}">
                  <a16:creationId xmlns:a16="http://schemas.microsoft.com/office/drawing/2014/main" id="{7B7AD7F9-09DF-415F-B07D-A0338E429C0C}"/>
                </a:ext>
              </a:extLst>
            </p:cNvPr>
            <p:cNvSpPr txBox="1"/>
            <p:nvPr/>
          </p:nvSpPr>
          <p:spPr bwMode="auto">
            <a:xfrm>
              <a:off x="669925" y="2706169"/>
              <a:ext cx="2875634" cy="4876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  <a:endParaRPr lang="zh-CN" altLang="en-US" sz="2000" b="1" dirty="0"/>
            </a:p>
          </p:txBody>
        </p:sp>
        <p:sp>
          <p:nvSpPr>
            <p:cNvPr id="50" name="ïšļíde">
              <a:extLst>
                <a:ext uri="{FF2B5EF4-FFF2-40B4-BE49-F238E27FC236}">
                  <a16:creationId xmlns:a16="http://schemas.microsoft.com/office/drawing/2014/main" id="{28D7D3B7-7180-4C44-95D5-0DB43AC2EF5F}"/>
                </a:ext>
              </a:extLst>
            </p:cNvPr>
            <p:cNvSpPr/>
            <p:nvPr/>
          </p:nvSpPr>
          <p:spPr bwMode="auto">
            <a:xfrm>
              <a:off x="8646441" y="3982095"/>
              <a:ext cx="2875634" cy="713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51" name="išḻïďè">
              <a:extLst>
                <a:ext uri="{FF2B5EF4-FFF2-40B4-BE49-F238E27FC236}">
                  <a16:creationId xmlns:a16="http://schemas.microsoft.com/office/drawing/2014/main" id="{E4124B75-FA4D-4B8D-95D9-6E65B35E6BF2}"/>
                </a:ext>
              </a:extLst>
            </p:cNvPr>
            <p:cNvSpPr txBox="1"/>
            <p:nvPr/>
          </p:nvSpPr>
          <p:spPr bwMode="auto">
            <a:xfrm>
              <a:off x="8646441" y="3474166"/>
              <a:ext cx="2875634" cy="4876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  <a:endParaRPr lang="zh-CN" altLang="en-US" sz="2000" b="1" dirty="0"/>
            </a:p>
          </p:txBody>
        </p:sp>
        <p:sp>
          <p:nvSpPr>
            <p:cNvPr id="52" name="íšḻîde">
              <a:extLst>
                <a:ext uri="{FF2B5EF4-FFF2-40B4-BE49-F238E27FC236}">
                  <a16:creationId xmlns:a16="http://schemas.microsoft.com/office/drawing/2014/main" id="{D5301D40-75F3-4C08-B6CA-EDE269345368}"/>
                </a:ext>
              </a:extLst>
            </p:cNvPr>
            <p:cNvSpPr/>
            <p:nvPr/>
          </p:nvSpPr>
          <p:spPr bwMode="auto">
            <a:xfrm>
              <a:off x="669925" y="3909011"/>
              <a:ext cx="2875634" cy="713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53" name="ïṧḷïḓé">
              <a:extLst>
                <a:ext uri="{FF2B5EF4-FFF2-40B4-BE49-F238E27FC236}">
                  <a16:creationId xmlns:a16="http://schemas.microsoft.com/office/drawing/2014/main" id="{09A81B8C-860B-443F-83F9-1853EF9EBB5F}"/>
                </a:ext>
              </a:extLst>
            </p:cNvPr>
            <p:cNvSpPr/>
            <p:nvPr/>
          </p:nvSpPr>
          <p:spPr bwMode="auto">
            <a:xfrm>
              <a:off x="8646441" y="4677008"/>
              <a:ext cx="2875634" cy="713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54" name="ïŝļiḓe">
              <a:extLst>
                <a:ext uri="{FF2B5EF4-FFF2-40B4-BE49-F238E27FC236}">
                  <a16:creationId xmlns:a16="http://schemas.microsoft.com/office/drawing/2014/main" id="{0EB2CD19-DC20-43A4-AD34-3FE6FD2443AE}"/>
                </a:ext>
              </a:extLst>
            </p:cNvPr>
            <p:cNvSpPr/>
            <p:nvPr/>
          </p:nvSpPr>
          <p:spPr bwMode="auto">
            <a:xfrm>
              <a:off x="669925" y="4603924"/>
              <a:ext cx="2875634" cy="713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55" name="ïşļíďé">
              <a:extLst>
                <a:ext uri="{FF2B5EF4-FFF2-40B4-BE49-F238E27FC236}">
                  <a16:creationId xmlns:a16="http://schemas.microsoft.com/office/drawing/2014/main" id="{DB6C44A7-E8D6-408D-A122-E725AA89FA0C}"/>
                </a:ext>
              </a:extLst>
            </p:cNvPr>
            <p:cNvSpPr/>
            <p:nvPr/>
          </p:nvSpPr>
          <p:spPr bwMode="auto">
            <a:xfrm>
              <a:off x="8646441" y="5371921"/>
              <a:ext cx="2875634" cy="713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56" name="íşļíḋè">
              <a:extLst>
                <a:ext uri="{FF2B5EF4-FFF2-40B4-BE49-F238E27FC236}">
                  <a16:creationId xmlns:a16="http://schemas.microsoft.com/office/drawing/2014/main" id="{CDF0E220-D936-443D-A410-4E5930444FAB}"/>
                </a:ext>
              </a:extLst>
            </p:cNvPr>
            <p:cNvSpPr txBox="1"/>
            <p:nvPr/>
          </p:nvSpPr>
          <p:spPr bwMode="auto">
            <a:xfrm>
              <a:off x="4262793" y="1553269"/>
              <a:ext cx="1515838" cy="50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400" b="1" i="1" dirty="0">
                  <a:solidFill>
                    <a:schemeClr val="accent1"/>
                  </a:solidFill>
                </a:rPr>
                <a:t>75%</a:t>
              </a:r>
              <a:endParaRPr lang="zh-CN" altLang="en-US" sz="2400" b="1" i="1" dirty="0">
                <a:solidFill>
                  <a:schemeClr val="accent1"/>
                </a:solidFill>
              </a:endParaRPr>
            </a:p>
          </p:txBody>
        </p:sp>
        <p:sp>
          <p:nvSpPr>
            <p:cNvPr id="57" name="iŝḻîdè">
              <a:extLst>
                <a:ext uri="{FF2B5EF4-FFF2-40B4-BE49-F238E27FC236}">
                  <a16:creationId xmlns:a16="http://schemas.microsoft.com/office/drawing/2014/main" id="{44EF6026-67CA-49B0-9E65-BB1DA8416FBD}"/>
                </a:ext>
              </a:extLst>
            </p:cNvPr>
            <p:cNvSpPr txBox="1"/>
            <p:nvPr/>
          </p:nvSpPr>
          <p:spPr bwMode="auto">
            <a:xfrm>
              <a:off x="6383824" y="5084959"/>
              <a:ext cx="1515838" cy="50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2400" b="1" i="1" dirty="0">
                  <a:solidFill>
                    <a:schemeClr val="accent2"/>
                  </a:solidFill>
                </a:rPr>
                <a:t>25%</a:t>
              </a:r>
              <a:endParaRPr lang="zh-CN" altLang="en-US" sz="2400" b="1" i="1" dirty="0">
                <a:solidFill>
                  <a:schemeClr val="accent2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774983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C06F324-3BEF-4604-8A61-28EF3BD1F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616AA17-2890-472F-8BAF-B59071839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954FAEB-35E7-4E55-A4B8-9E75263A0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B3189037-58AA-4BB7-96CB-56C0C1B5619B}"/>
              </a:ext>
            </a:extLst>
          </p:cNvPr>
          <p:cNvGrpSpPr/>
          <p:nvPr/>
        </p:nvGrpSpPr>
        <p:grpSpPr>
          <a:xfrm>
            <a:off x="4042064" y="1645084"/>
            <a:ext cx="4095172" cy="3974232"/>
            <a:chOff x="3594593" y="1645084"/>
            <a:chExt cx="4990114" cy="3974232"/>
          </a:xfrm>
        </p:grpSpPr>
        <p:cxnSp>
          <p:nvCxnSpPr>
            <p:cNvPr id="6" name="直接箭头连接符 5">
              <a:extLst>
                <a:ext uri="{FF2B5EF4-FFF2-40B4-BE49-F238E27FC236}">
                  <a16:creationId xmlns:a16="http://schemas.microsoft.com/office/drawing/2014/main" id="{13D097F5-4026-41AE-91F3-AB17C15BAA36}"/>
                </a:ext>
              </a:extLst>
            </p:cNvPr>
            <p:cNvCxnSpPr/>
            <p:nvPr/>
          </p:nvCxnSpPr>
          <p:spPr>
            <a:xfrm>
              <a:off x="6089650" y="1645084"/>
              <a:ext cx="0" cy="3974232"/>
            </a:xfrm>
            <a:prstGeom prst="straightConnector1">
              <a:avLst/>
            </a:prstGeom>
            <a:ln w="6350" cap="rnd">
              <a:solidFill>
                <a:schemeClr val="bg1">
                  <a:lumMod val="65000"/>
                </a:schemeClr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箭头连接符 6">
              <a:extLst>
                <a:ext uri="{FF2B5EF4-FFF2-40B4-BE49-F238E27FC236}">
                  <a16:creationId xmlns:a16="http://schemas.microsoft.com/office/drawing/2014/main" id="{C26F6329-88EE-469B-B410-ED5F3F7F9BBC}"/>
                </a:ext>
              </a:extLst>
            </p:cNvPr>
            <p:cNvCxnSpPr/>
            <p:nvPr/>
          </p:nvCxnSpPr>
          <p:spPr>
            <a:xfrm>
              <a:off x="3594593" y="3632201"/>
              <a:ext cx="4990114" cy="0"/>
            </a:xfrm>
            <a:prstGeom prst="straightConnector1">
              <a:avLst/>
            </a:prstGeom>
            <a:ln w="6350" cap="rnd">
              <a:solidFill>
                <a:schemeClr val="bg1">
                  <a:lumMod val="65000"/>
                </a:schemeClr>
              </a:solidFill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ïsļiḍè">
            <a:extLst>
              <a:ext uri="{FF2B5EF4-FFF2-40B4-BE49-F238E27FC236}">
                <a16:creationId xmlns:a16="http://schemas.microsoft.com/office/drawing/2014/main" id="{60DDEEDE-BD2A-4616-B737-BD6388211B44}"/>
              </a:ext>
            </a:extLst>
          </p:cNvPr>
          <p:cNvSpPr/>
          <p:nvPr/>
        </p:nvSpPr>
        <p:spPr>
          <a:xfrm>
            <a:off x="4443277" y="2001904"/>
            <a:ext cx="1574027" cy="1574027"/>
          </a:xfrm>
          <a:prstGeom prst="roundRect">
            <a:avLst>
              <a:gd name="adj" fmla="val 7141"/>
            </a:avLst>
          </a:prstGeom>
          <a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25000" r="-25000"/>
            </a:stretch>
          </a:blipFill>
          <a:ln w="381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 defTabSz="914377"/>
            <a:endParaRPr lang="zh-CN" altLang="en-US"/>
          </a:p>
        </p:txBody>
      </p:sp>
      <p:sp>
        <p:nvSpPr>
          <p:cNvPr id="9" name="îṣlïdè">
            <a:extLst>
              <a:ext uri="{FF2B5EF4-FFF2-40B4-BE49-F238E27FC236}">
                <a16:creationId xmlns:a16="http://schemas.microsoft.com/office/drawing/2014/main" id="{248B6E1F-D794-43C0-9F50-A6680FBBBD90}"/>
              </a:ext>
            </a:extLst>
          </p:cNvPr>
          <p:cNvSpPr/>
          <p:nvPr/>
        </p:nvSpPr>
        <p:spPr>
          <a:xfrm>
            <a:off x="6161996" y="2001904"/>
            <a:ext cx="1574027" cy="1574027"/>
          </a:xfrm>
          <a:prstGeom prst="roundRect">
            <a:avLst>
              <a:gd name="adj" fmla="val 7141"/>
            </a:avLst>
          </a:prstGeom>
          <a:blipFill>
            <a:blip r:embed="rId4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17844" r="-17844"/>
            </a:stretch>
          </a:blipFill>
          <a:ln w="381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 defTabSz="914377"/>
            <a:endParaRPr lang="zh-CN" altLang="en-US"/>
          </a:p>
        </p:txBody>
      </p:sp>
      <p:sp>
        <p:nvSpPr>
          <p:cNvPr id="10" name="íṩ1iḋé">
            <a:extLst>
              <a:ext uri="{FF2B5EF4-FFF2-40B4-BE49-F238E27FC236}">
                <a16:creationId xmlns:a16="http://schemas.microsoft.com/office/drawing/2014/main" id="{2B95A5F1-770E-4C21-BF2B-EA6238CB3E82}"/>
              </a:ext>
            </a:extLst>
          </p:cNvPr>
          <p:cNvSpPr/>
          <p:nvPr/>
        </p:nvSpPr>
        <p:spPr>
          <a:xfrm>
            <a:off x="4443277" y="3688470"/>
            <a:ext cx="1574027" cy="1574027"/>
          </a:xfrm>
          <a:prstGeom prst="roundRect">
            <a:avLst>
              <a:gd name="adj" fmla="val 7141"/>
            </a:avLst>
          </a:prstGeom>
          <a:blipFill>
            <a:blip r:embed="rId5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 l="-25202" r="-24798"/>
            </a:stretch>
          </a:blipFill>
          <a:ln w="381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 defTabSz="914377"/>
            <a:endParaRPr lang="zh-CN" altLang="en-US"/>
          </a:p>
        </p:txBody>
      </p:sp>
      <p:sp>
        <p:nvSpPr>
          <p:cNvPr id="11" name="ïṧ1îḋè">
            <a:extLst>
              <a:ext uri="{FF2B5EF4-FFF2-40B4-BE49-F238E27FC236}">
                <a16:creationId xmlns:a16="http://schemas.microsoft.com/office/drawing/2014/main" id="{13ED4CC1-9789-4F00-9896-54E7DD1E1BC7}"/>
              </a:ext>
            </a:extLst>
          </p:cNvPr>
          <p:cNvSpPr/>
          <p:nvPr/>
        </p:nvSpPr>
        <p:spPr>
          <a:xfrm>
            <a:off x="6161996" y="3688470"/>
            <a:ext cx="1574027" cy="1574027"/>
          </a:xfrm>
          <a:prstGeom prst="roundRect">
            <a:avLst>
              <a:gd name="adj" fmla="val 7141"/>
            </a:avLst>
          </a:prstGeom>
          <a:blipFill>
            <a:blip r:embed="rId6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 l="-39203" r="-38575"/>
            </a:stretch>
          </a:blipFill>
          <a:ln w="381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 defTabSz="914377"/>
            <a:endParaRPr lang="zh-CN" altLang="en-US"/>
          </a:p>
        </p:txBody>
      </p:sp>
      <p:grpSp>
        <p:nvGrpSpPr>
          <p:cNvPr id="12" name="íṡlîḓe">
            <a:extLst>
              <a:ext uri="{FF2B5EF4-FFF2-40B4-BE49-F238E27FC236}">
                <a16:creationId xmlns:a16="http://schemas.microsoft.com/office/drawing/2014/main" id="{7E12186B-9225-471A-AE91-2446A780F406}"/>
              </a:ext>
            </a:extLst>
          </p:cNvPr>
          <p:cNvGrpSpPr/>
          <p:nvPr/>
        </p:nvGrpSpPr>
        <p:grpSpPr>
          <a:xfrm>
            <a:off x="660400" y="2152385"/>
            <a:ext cx="1570431" cy="1273065"/>
            <a:chOff x="802443" y="2001904"/>
            <a:chExt cx="1864718" cy="1273065"/>
          </a:xfrm>
        </p:grpSpPr>
        <p:sp>
          <p:nvSpPr>
            <p:cNvPr id="34" name="îśľïďè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802443" y="2001904"/>
              <a:ext cx="186471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 b="1" dirty="0"/>
                <a:t>Text here</a:t>
              </a:r>
            </a:p>
          </p:txBody>
        </p:sp>
        <p:sp>
          <p:nvSpPr>
            <p:cNvPr id="35" name="îśľîḍé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802443" y="2443710"/>
              <a:ext cx="1864718" cy="8312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0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……</a:t>
              </a:r>
            </a:p>
          </p:txBody>
        </p:sp>
      </p:grpSp>
      <p:grpSp>
        <p:nvGrpSpPr>
          <p:cNvPr id="13" name="ïşľîḋè">
            <a:extLst>
              <a:ext uri="{FF2B5EF4-FFF2-40B4-BE49-F238E27FC236}">
                <a16:creationId xmlns:a16="http://schemas.microsoft.com/office/drawing/2014/main" id="{9E97F299-889C-4719-8239-49689EEBF16E}"/>
              </a:ext>
            </a:extLst>
          </p:cNvPr>
          <p:cNvGrpSpPr/>
          <p:nvPr/>
        </p:nvGrpSpPr>
        <p:grpSpPr>
          <a:xfrm>
            <a:off x="2442276" y="2152385"/>
            <a:ext cx="1570431" cy="1273065"/>
            <a:chOff x="802443" y="2001904"/>
            <a:chExt cx="1864718" cy="1273065"/>
          </a:xfrm>
        </p:grpSpPr>
        <p:sp>
          <p:nvSpPr>
            <p:cNvPr id="32" name="işľîḍé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802443" y="2001904"/>
              <a:ext cx="186471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 b="1" dirty="0"/>
                <a:t>Text here</a:t>
              </a:r>
            </a:p>
          </p:txBody>
        </p:sp>
        <p:sp>
          <p:nvSpPr>
            <p:cNvPr id="33" name="išḻîḍe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802443" y="2443710"/>
              <a:ext cx="1864718" cy="8312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0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……</a:t>
              </a:r>
            </a:p>
          </p:txBody>
        </p:sp>
      </p:grpSp>
      <p:grpSp>
        <p:nvGrpSpPr>
          <p:cNvPr id="14" name="ï$1ídé">
            <a:extLst>
              <a:ext uri="{FF2B5EF4-FFF2-40B4-BE49-F238E27FC236}">
                <a16:creationId xmlns:a16="http://schemas.microsoft.com/office/drawing/2014/main" id="{6B80D41F-4A4E-4BB1-9C76-07C2DA41EEE9}"/>
              </a:ext>
            </a:extLst>
          </p:cNvPr>
          <p:cNvGrpSpPr/>
          <p:nvPr/>
        </p:nvGrpSpPr>
        <p:grpSpPr>
          <a:xfrm>
            <a:off x="660400" y="3838951"/>
            <a:ext cx="1570431" cy="1273065"/>
            <a:chOff x="802443" y="2001904"/>
            <a:chExt cx="1864718" cy="1273065"/>
          </a:xfrm>
        </p:grpSpPr>
        <p:sp>
          <p:nvSpPr>
            <p:cNvPr id="30" name="íṧľïďê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802443" y="2001904"/>
              <a:ext cx="186471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 b="1" dirty="0"/>
                <a:t>Text here</a:t>
              </a:r>
            </a:p>
          </p:txBody>
        </p:sp>
        <p:sp>
          <p:nvSpPr>
            <p:cNvPr id="31" name="isḻiḍe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802443" y="2443710"/>
              <a:ext cx="1864718" cy="8312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0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……</a:t>
              </a:r>
            </a:p>
          </p:txBody>
        </p:sp>
      </p:grpSp>
      <p:grpSp>
        <p:nvGrpSpPr>
          <p:cNvPr id="15" name="íšḷïďê">
            <a:extLst>
              <a:ext uri="{FF2B5EF4-FFF2-40B4-BE49-F238E27FC236}">
                <a16:creationId xmlns:a16="http://schemas.microsoft.com/office/drawing/2014/main" id="{17164B56-6B63-423C-A96A-E724B628E0A4}"/>
              </a:ext>
            </a:extLst>
          </p:cNvPr>
          <p:cNvGrpSpPr/>
          <p:nvPr/>
        </p:nvGrpSpPr>
        <p:grpSpPr>
          <a:xfrm>
            <a:off x="2442276" y="3838951"/>
            <a:ext cx="1570431" cy="1273065"/>
            <a:chOff x="802443" y="2001904"/>
            <a:chExt cx="1864718" cy="1273065"/>
          </a:xfrm>
        </p:grpSpPr>
        <p:sp>
          <p:nvSpPr>
            <p:cNvPr id="28" name="ïṧḷïḋê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802443" y="2001904"/>
              <a:ext cx="186471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 b="1" dirty="0"/>
                <a:t>Text here</a:t>
              </a:r>
            </a:p>
          </p:txBody>
        </p:sp>
        <p:sp>
          <p:nvSpPr>
            <p:cNvPr id="29" name="ïŝḻídè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802443" y="2443710"/>
              <a:ext cx="1864718" cy="8312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0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……</a:t>
              </a:r>
            </a:p>
          </p:txBody>
        </p:sp>
      </p:grpSp>
      <p:grpSp>
        <p:nvGrpSpPr>
          <p:cNvPr id="16" name="ïś1ïďe">
            <a:extLst>
              <a:ext uri="{FF2B5EF4-FFF2-40B4-BE49-F238E27FC236}">
                <a16:creationId xmlns:a16="http://schemas.microsoft.com/office/drawing/2014/main" id="{1E5FBF1D-B165-4408-B8BC-D80F9C7BD01F}"/>
              </a:ext>
            </a:extLst>
          </p:cNvPr>
          <p:cNvGrpSpPr/>
          <p:nvPr/>
        </p:nvGrpSpPr>
        <p:grpSpPr>
          <a:xfrm>
            <a:off x="8166593" y="2152385"/>
            <a:ext cx="1570431" cy="1273065"/>
            <a:chOff x="802443" y="2001904"/>
            <a:chExt cx="1864718" cy="1273065"/>
          </a:xfrm>
        </p:grpSpPr>
        <p:sp>
          <p:nvSpPr>
            <p:cNvPr id="26" name="i$líḑè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802443" y="2001904"/>
              <a:ext cx="186471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 b="1" dirty="0"/>
                <a:t>Text here</a:t>
              </a:r>
            </a:p>
          </p:txBody>
        </p:sp>
        <p:sp>
          <p:nvSpPr>
            <p:cNvPr id="27" name="íšḻíḑe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802443" y="2443710"/>
              <a:ext cx="1864718" cy="8312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0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……</a:t>
              </a:r>
            </a:p>
          </p:txBody>
        </p:sp>
      </p:grpSp>
      <p:grpSp>
        <p:nvGrpSpPr>
          <p:cNvPr id="17" name="íṡľïďè">
            <a:extLst>
              <a:ext uri="{FF2B5EF4-FFF2-40B4-BE49-F238E27FC236}">
                <a16:creationId xmlns:a16="http://schemas.microsoft.com/office/drawing/2014/main" id="{9B12F57A-CF6B-45C9-8089-DC51FEF94673}"/>
              </a:ext>
            </a:extLst>
          </p:cNvPr>
          <p:cNvGrpSpPr/>
          <p:nvPr/>
        </p:nvGrpSpPr>
        <p:grpSpPr>
          <a:xfrm>
            <a:off x="9948469" y="2152385"/>
            <a:ext cx="1570431" cy="1273065"/>
            <a:chOff x="802443" y="2001904"/>
            <a:chExt cx="1864718" cy="1273065"/>
          </a:xfrm>
        </p:grpSpPr>
        <p:sp>
          <p:nvSpPr>
            <p:cNvPr id="24" name="iṣľíḍè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802443" y="2001904"/>
              <a:ext cx="186471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 b="1" dirty="0"/>
                <a:t>Text here</a:t>
              </a:r>
            </a:p>
          </p:txBody>
        </p:sp>
        <p:sp>
          <p:nvSpPr>
            <p:cNvPr id="25" name="ïšľiḓé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802443" y="2443710"/>
              <a:ext cx="1864718" cy="8312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0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……</a:t>
              </a:r>
            </a:p>
          </p:txBody>
        </p:sp>
      </p:grpSp>
      <p:grpSp>
        <p:nvGrpSpPr>
          <p:cNvPr id="18" name="íṥ1íḋê">
            <a:extLst>
              <a:ext uri="{FF2B5EF4-FFF2-40B4-BE49-F238E27FC236}">
                <a16:creationId xmlns:a16="http://schemas.microsoft.com/office/drawing/2014/main" id="{8276291E-D7D1-40FD-8160-47B68B159BFC}"/>
              </a:ext>
            </a:extLst>
          </p:cNvPr>
          <p:cNvGrpSpPr/>
          <p:nvPr/>
        </p:nvGrpSpPr>
        <p:grpSpPr>
          <a:xfrm>
            <a:off x="8166593" y="3838951"/>
            <a:ext cx="1570431" cy="1273065"/>
            <a:chOff x="802443" y="2001904"/>
            <a:chExt cx="1864718" cy="1273065"/>
          </a:xfrm>
        </p:grpSpPr>
        <p:sp>
          <p:nvSpPr>
            <p:cNvPr id="22" name="i$ļiḓé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802443" y="2001904"/>
              <a:ext cx="186471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 b="1" dirty="0"/>
                <a:t>Text here</a:t>
              </a:r>
            </a:p>
          </p:txBody>
        </p:sp>
        <p:sp>
          <p:nvSpPr>
            <p:cNvPr id="23" name="iṧḷiḓé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802443" y="2443710"/>
              <a:ext cx="1864718" cy="8312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0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……</a:t>
              </a:r>
            </a:p>
          </p:txBody>
        </p:sp>
      </p:grpSp>
      <p:grpSp>
        <p:nvGrpSpPr>
          <p:cNvPr id="19" name="išľiḓé">
            <a:extLst>
              <a:ext uri="{FF2B5EF4-FFF2-40B4-BE49-F238E27FC236}">
                <a16:creationId xmlns:a16="http://schemas.microsoft.com/office/drawing/2014/main" id="{AA2690BB-2A44-420A-AC69-8B5464E77124}"/>
              </a:ext>
            </a:extLst>
          </p:cNvPr>
          <p:cNvGrpSpPr/>
          <p:nvPr/>
        </p:nvGrpSpPr>
        <p:grpSpPr>
          <a:xfrm>
            <a:off x="9948469" y="3838951"/>
            <a:ext cx="1570431" cy="1273065"/>
            <a:chOff x="802443" y="2001904"/>
            <a:chExt cx="1864718" cy="1273065"/>
          </a:xfrm>
        </p:grpSpPr>
        <p:sp>
          <p:nvSpPr>
            <p:cNvPr id="20" name="îŝļîḓé">
              <a:extLst>
                <a:ext uri="{FF2B5EF4-FFF2-40B4-BE49-F238E27FC236}">
                  <a16:creationId xmlns:a16="http://schemas.microsoft.com/office/drawing/2014/main" id="{6CF84D33-9B5E-4BE8-9A19-2F075E0A2811}"/>
                </a:ext>
              </a:extLst>
            </p:cNvPr>
            <p:cNvSpPr txBox="1"/>
            <p:nvPr/>
          </p:nvSpPr>
          <p:spPr bwMode="auto">
            <a:xfrm>
              <a:off x="802443" y="2001904"/>
              <a:ext cx="1864718" cy="441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 b="1" dirty="0"/>
                <a:t>Text here</a:t>
              </a:r>
            </a:p>
          </p:txBody>
        </p:sp>
        <p:sp>
          <p:nvSpPr>
            <p:cNvPr id="21" name="íṥlîďé">
              <a:extLst>
                <a:ext uri="{FF2B5EF4-FFF2-40B4-BE49-F238E27FC236}">
                  <a16:creationId xmlns:a16="http://schemas.microsoft.com/office/drawing/2014/main" id="{FC178AFD-9D9E-4266-BD7D-7B8FA1E65DCA}"/>
                </a:ext>
              </a:extLst>
            </p:cNvPr>
            <p:cNvSpPr/>
            <p:nvPr/>
          </p:nvSpPr>
          <p:spPr bwMode="auto">
            <a:xfrm>
              <a:off x="802443" y="2443710"/>
              <a:ext cx="1864718" cy="8312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40000"/>
                </a:lnSpc>
              </a:pPr>
              <a:endParaRPr lang="en-US" altLang="zh-CN" sz="1000" dirty="0"/>
            </a:p>
            <a:p>
              <a:pPr algn="ctr">
                <a:lnSpc>
                  <a:spcPct val="140000"/>
                </a:lnSpc>
              </a:pPr>
              <a:r>
                <a:rPr lang="en-US" altLang="zh-CN" sz="1000" dirty="0"/>
                <a:t>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816692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E9E2637-18D3-4E93-B410-C1C9A0271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3910CBF-5684-4BFF-A244-FD0C34DBB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FB8621F-6E5C-470A-BCF4-597F8F72FA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5" name="22382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426CE10-CEC1-41A3-B97E-1A9946E2DBA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3099" y="1860658"/>
            <a:ext cx="10845800" cy="3353250"/>
            <a:chOff x="673099" y="1860658"/>
            <a:chExt cx="10845800" cy="3353250"/>
          </a:xfrm>
        </p:grpSpPr>
        <p:grpSp>
          <p:nvGrpSpPr>
            <p:cNvPr id="6" name="í$ļïďe">
              <a:extLst>
                <a:ext uri="{FF2B5EF4-FFF2-40B4-BE49-F238E27FC236}">
                  <a16:creationId xmlns:a16="http://schemas.microsoft.com/office/drawing/2014/main" id="{BC64E64C-7917-4606-9913-C69A44711FB6}"/>
                </a:ext>
              </a:extLst>
            </p:cNvPr>
            <p:cNvGrpSpPr/>
            <p:nvPr/>
          </p:nvGrpSpPr>
          <p:grpSpPr>
            <a:xfrm>
              <a:off x="673099" y="1860658"/>
              <a:ext cx="10845800" cy="972000"/>
              <a:chOff x="673099" y="1860658"/>
              <a:chExt cx="10845800" cy="972000"/>
            </a:xfrm>
          </p:grpSpPr>
          <p:sp>
            <p:nvSpPr>
              <p:cNvPr id="13" name="íS1ïdê">
                <a:extLst>
                  <a:ext uri="{FF2B5EF4-FFF2-40B4-BE49-F238E27FC236}">
                    <a16:creationId xmlns:a16="http://schemas.microsoft.com/office/drawing/2014/main" id="{C97C39F4-0299-4AB7-BD98-3ABA791D9563}"/>
                  </a:ext>
                </a:extLst>
              </p:cNvPr>
              <p:cNvSpPr/>
              <p:nvPr/>
            </p:nvSpPr>
            <p:spPr>
              <a:xfrm>
                <a:off x="2948197" y="1860658"/>
                <a:ext cx="8570702" cy="972000"/>
              </a:xfrm>
              <a:custGeom>
                <a:avLst/>
                <a:gdLst>
                  <a:gd name="connsiteX0" fmla="*/ 243000 w 7899132"/>
                  <a:gd name="connsiteY0" fmla="*/ 0 h 972000"/>
                  <a:gd name="connsiteX1" fmla="*/ 2437071 w 7899132"/>
                  <a:gd name="connsiteY1" fmla="*/ 0 h 972000"/>
                  <a:gd name="connsiteX2" fmla="*/ 7771072 w 7899132"/>
                  <a:gd name="connsiteY2" fmla="*/ 0 h 972000"/>
                  <a:gd name="connsiteX3" fmla="*/ 7899132 w 7899132"/>
                  <a:gd name="connsiteY3" fmla="*/ 0 h 972000"/>
                  <a:gd name="connsiteX4" fmla="*/ 7899132 w 7899132"/>
                  <a:gd name="connsiteY4" fmla="*/ 972000 h 972000"/>
                  <a:gd name="connsiteX5" fmla="*/ 7528072 w 7899132"/>
                  <a:gd name="connsiteY5" fmla="*/ 972000 h 972000"/>
                  <a:gd name="connsiteX6" fmla="*/ 2437071 w 7899132"/>
                  <a:gd name="connsiteY6" fmla="*/ 972000 h 972000"/>
                  <a:gd name="connsiteX7" fmla="*/ 0 w 7899132"/>
                  <a:gd name="connsiteY7" fmla="*/ 972000 h 97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899132" h="972000">
                    <a:moveTo>
                      <a:pt x="243000" y="0"/>
                    </a:moveTo>
                    <a:lnTo>
                      <a:pt x="2437071" y="0"/>
                    </a:lnTo>
                    <a:lnTo>
                      <a:pt x="7771072" y="0"/>
                    </a:lnTo>
                    <a:lnTo>
                      <a:pt x="7899132" y="0"/>
                    </a:lnTo>
                    <a:lnTo>
                      <a:pt x="7899132" y="972000"/>
                    </a:lnTo>
                    <a:lnTo>
                      <a:pt x="7528072" y="972000"/>
                    </a:lnTo>
                    <a:lnTo>
                      <a:pt x="2437071" y="972000"/>
                    </a:lnTo>
                    <a:lnTo>
                      <a:pt x="0" y="972000"/>
                    </a:lnTo>
                    <a:close/>
                  </a:path>
                </a:pathLst>
              </a:cu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indent="457200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Copy paste fonts. Choose the only option to retain text.</a:t>
                </a:r>
              </a:p>
              <a:p>
                <a:pPr indent="457200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… …</a:t>
                </a:r>
              </a:p>
            </p:txBody>
          </p:sp>
          <p:sp>
            <p:nvSpPr>
              <p:cNvPr id="14" name="îşḻíde">
                <a:extLst>
                  <a:ext uri="{FF2B5EF4-FFF2-40B4-BE49-F238E27FC236}">
                    <a16:creationId xmlns:a16="http://schemas.microsoft.com/office/drawing/2014/main" id="{C8D075BE-F663-45DE-BD19-4A1EF8679C08}"/>
                  </a:ext>
                </a:extLst>
              </p:cNvPr>
              <p:cNvSpPr/>
              <p:nvPr/>
            </p:nvSpPr>
            <p:spPr>
              <a:xfrm>
                <a:off x="673099" y="1860658"/>
                <a:ext cx="2316439" cy="972000"/>
              </a:xfrm>
              <a:custGeom>
                <a:avLst/>
                <a:gdLst>
                  <a:gd name="connsiteX0" fmla="*/ 0 w 2316439"/>
                  <a:gd name="connsiteY0" fmla="*/ 0 h 972000"/>
                  <a:gd name="connsiteX1" fmla="*/ 635724 w 2316439"/>
                  <a:gd name="connsiteY1" fmla="*/ 0 h 972000"/>
                  <a:gd name="connsiteX2" fmla="*/ 1923715 w 2316439"/>
                  <a:gd name="connsiteY2" fmla="*/ 0 h 972000"/>
                  <a:gd name="connsiteX3" fmla="*/ 2316439 w 2316439"/>
                  <a:gd name="connsiteY3" fmla="*/ 0 h 972000"/>
                  <a:gd name="connsiteX4" fmla="*/ 2073439 w 2316439"/>
                  <a:gd name="connsiteY4" fmla="*/ 972000 h 972000"/>
                  <a:gd name="connsiteX5" fmla="*/ 1923715 w 2316439"/>
                  <a:gd name="connsiteY5" fmla="*/ 972000 h 972000"/>
                  <a:gd name="connsiteX6" fmla="*/ 392724 w 2316439"/>
                  <a:gd name="connsiteY6" fmla="*/ 972000 h 972000"/>
                  <a:gd name="connsiteX7" fmla="*/ 0 w 2316439"/>
                  <a:gd name="connsiteY7" fmla="*/ 972000 h 97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16439" h="972000">
                    <a:moveTo>
                      <a:pt x="0" y="0"/>
                    </a:moveTo>
                    <a:lnTo>
                      <a:pt x="635724" y="0"/>
                    </a:lnTo>
                    <a:lnTo>
                      <a:pt x="1923715" y="0"/>
                    </a:lnTo>
                    <a:lnTo>
                      <a:pt x="2316439" y="0"/>
                    </a:lnTo>
                    <a:lnTo>
                      <a:pt x="2073439" y="972000"/>
                    </a:lnTo>
                    <a:lnTo>
                      <a:pt x="1923715" y="972000"/>
                    </a:lnTo>
                    <a:lnTo>
                      <a:pt x="392724" y="972000"/>
                    </a:lnTo>
                    <a:lnTo>
                      <a:pt x="0" y="97200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altLang="zh-CN" b="1" dirty="0">
                    <a:solidFill>
                      <a:schemeClr val="tx1"/>
                    </a:solidFill>
                  </a:rPr>
                  <a:t>Text here</a:t>
                </a:r>
                <a:endParaRPr lang="zh-CN" altLang="en-US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" name="íSlíde">
              <a:extLst>
                <a:ext uri="{FF2B5EF4-FFF2-40B4-BE49-F238E27FC236}">
                  <a16:creationId xmlns:a16="http://schemas.microsoft.com/office/drawing/2014/main" id="{6893491D-344A-410A-8E24-C4B0EE78A3E0}"/>
                </a:ext>
              </a:extLst>
            </p:cNvPr>
            <p:cNvGrpSpPr/>
            <p:nvPr/>
          </p:nvGrpSpPr>
          <p:grpSpPr>
            <a:xfrm>
              <a:off x="673099" y="3051283"/>
              <a:ext cx="10845800" cy="972000"/>
              <a:chOff x="673099" y="1860658"/>
              <a:chExt cx="10845800" cy="972000"/>
            </a:xfrm>
          </p:grpSpPr>
          <p:sp>
            <p:nvSpPr>
              <p:cNvPr id="11" name="íṩļíďê">
                <a:extLst>
                  <a:ext uri="{FF2B5EF4-FFF2-40B4-BE49-F238E27FC236}">
                    <a16:creationId xmlns:a16="http://schemas.microsoft.com/office/drawing/2014/main" id="{74B39B7D-8195-4D8A-97D4-6E4FC244F258}"/>
                  </a:ext>
                </a:extLst>
              </p:cNvPr>
              <p:cNvSpPr/>
              <p:nvPr/>
            </p:nvSpPr>
            <p:spPr>
              <a:xfrm>
                <a:off x="2657475" y="1860658"/>
                <a:ext cx="8861424" cy="972000"/>
              </a:xfrm>
              <a:custGeom>
                <a:avLst/>
                <a:gdLst>
                  <a:gd name="connsiteX0" fmla="*/ 243000 w 7899132"/>
                  <a:gd name="connsiteY0" fmla="*/ 0 h 972000"/>
                  <a:gd name="connsiteX1" fmla="*/ 2437071 w 7899132"/>
                  <a:gd name="connsiteY1" fmla="*/ 0 h 972000"/>
                  <a:gd name="connsiteX2" fmla="*/ 7771072 w 7899132"/>
                  <a:gd name="connsiteY2" fmla="*/ 0 h 972000"/>
                  <a:gd name="connsiteX3" fmla="*/ 7899132 w 7899132"/>
                  <a:gd name="connsiteY3" fmla="*/ 0 h 972000"/>
                  <a:gd name="connsiteX4" fmla="*/ 7899132 w 7899132"/>
                  <a:gd name="connsiteY4" fmla="*/ 972000 h 972000"/>
                  <a:gd name="connsiteX5" fmla="*/ 7528072 w 7899132"/>
                  <a:gd name="connsiteY5" fmla="*/ 972000 h 972000"/>
                  <a:gd name="connsiteX6" fmla="*/ 2437071 w 7899132"/>
                  <a:gd name="connsiteY6" fmla="*/ 972000 h 972000"/>
                  <a:gd name="connsiteX7" fmla="*/ 0 w 7899132"/>
                  <a:gd name="connsiteY7" fmla="*/ 972000 h 97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899132" h="972000">
                    <a:moveTo>
                      <a:pt x="243000" y="0"/>
                    </a:moveTo>
                    <a:lnTo>
                      <a:pt x="2437071" y="0"/>
                    </a:lnTo>
                    <a:lnTo>
                      <a:pt x="7771072" y="0"/>
                    </a:lnTo>
                    <a:lnTo>
                      <a:pt x="7899132" y="0"/>
                    </a:lnTo>
                    <a:lnTo>
                      <a:pt x="7899132" y="972000"/>
                    </a:lnTo>
                    <a:lnTo>
                      <a:pt x="7528072" y="972000"/>
                    </a:lnTo>
                    <a:lnTo>
                      <a:pt x="2437071" y="972000"/>
                    </a:lnTo>
                    <a:lnTo>
                      <a:pt x="0" y="972000"/>
                    </a:lnTo>
                    <a:close/>
                  </a:path>
                </a:pathLst>
              </a:cu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indent="457200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Copy paste fonts. Choose the only option to retain text.</a:t>
                </a:r>
              </a:p>
              <a:p>
                <a:pPr indent="457200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… …</a:t>
                </a:r>
              </a:p>
            </p:txBody>
          </p:sp>
          <p:sp>
            <p:nvSpPr>
              <p:cNvPr id="12" name="î$ļíḓè">
                <a:extLst>
                  <a:ext uri="{FF2B5EF4-FFF2-40B4-BE49-F238E27FC236}">
                    <a16:creationId xmlns:a16="http://schemas.microsoft.com/office/drawing/2014/main" id="{42F604A2-26A8-42D9-8631-C748CF2D48A5}"/>
                  </a:ext>
                </a:extLst>
              </p:cNvPr>
              <p:cNvSpPr/>
              <p:nvPr/>
            </p:nvSpPr>
            <p:spPr>
              <a:xfrm>
                <a:off x="673099" y="1860658"/>
                <a:ext cx="2012951" cy="972000"/>
              </a:xfrm>
              <a:custGeom>
                <a:avLst/>
                <a:gdLst>
                  <a:gd name="connsiteX0" fmla="*/ 0 w 2316439"/>
                  <a:gd name="connsiteY0" fmla="*/ 0 h 972000"/>
                  <a:gd name="connsiteX1" fmla="*/ 635724 w 2316439"/>
                  <a:gd name="connsiteY1" fmla="*/ 0 h 972000"/>
                  <a:gd name="connsiteX2" fmla="*/ 1923715 w 2316439"/>
                  <a:gd name="connsiteY2" fmla="*/ 0 h 972000"/>
                  <a:gd name="connsiteX3" fmla="*/ 2316439 w 2316439"/>
                  <a:gd name="connsiteY3" fmla="*/ 0 h 972000"/>
                  <a:gd name="connsiteX4" fmla="*/ 2073439 w 2316439"/>
                  <a:gd name="connsiteY4" fmla="*/ 972000 h 972000"/>
                  <a:gd name="connsiteX5" fmla="*/ 1923715 w 2316439"/>
                  <a:gd name="connsiteY5" fmla="*/ 972000 h 972000"/>
                  <a:gd name="connsiteX6" fmla="*/ 392724 w 2316439"/>
                  <a:gd name="connsiteY6" fmla="*/ 972000 h 972000"/>
                  <a:gd name="connsiteX7" fmla="*/ 0 w 2316439"/>
                  <a:gd name="connsiteY7" fmla="*/ 972000 h 97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16439" h="972000">
                    <a:moveTo>
                      <a:pt x="0" y="0"/>
                    </a:moveTo>
                    <a:lnTo>
                      <a:pt x="635724" y="0"/>
                    </a:lnTo>
                    <a:lnTo>
                      <a:pt x="1923715" y="0"/>
                    </a:lnTo>
                    <a:lnTo>
                      <a:pt x="2316439" y="0"/>
                    </a:lnTo>
                    <a:lnTo>
                      <a:pt x="2073439" y="972000"/>
                    </a:lnTo>
                    <a:lnTo>
                      <a:pt x="1923715" y="972000"/>
                    </a:lnTo>
                    <a:lnTo>
                      <a:pt x="392724" y="972000"/>
                    </a:lnTo>
                    <a:lnTo>
                      <a:pt x="0" y="9720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altLang="zh-CN" b="1" dirty="0">
                    <a:solidFill>
                      <a:schemeClr val="bg1"/>
                    </a:solidFill>
                  </a:rPr>
                  <a:t>Text here</a:t>
                </a:r>
                <a:endParaRPr lang="zh-CN" altLang="en-US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" name="ïś1iḍè">
              <a:extLst>
                <a:ext uri="{FF2B5EF4-FFF2-40B4-BE49-F238E27FC236}">
                  <a16:creationId xmlns:a16="http://schemas.microsoft.com/office/drawing/2014/main" id="{EE91CABB-A764-48F3-9CCD-AD99609B74FD}"/>
                </a:ext>
              </a:extLst>
            </p:cNvPr>
            <p:cNvGrpSpPr/>
            <p:nvPr/>
          </p:nvGrpSpPr>
          <p:grpSpPr>
            <a:xfrm>
              <a:off x="673100" y="4241908"/>
              <a:ext cx="10845799" cy="972000"/>
              <a:chOff x="673100" y="1860658"/>
              <a:chExt cx="10845799" cy="972000"/>
            </a:xfrm>
          </p:grpSpPr>
          <p:sp>
            <p:nvSpPr>
              <p:cNvPr id="9" name="í$liḓe">
                <a:extLst>
                  <a:ext uri="{FF2B5EF4-FFF2-40B4-BE49-F238E27FC236}">
                    <a16:creationId xmlns:a16="http://schemas.microsoft.com/office/drawing/2014/main" id="{87B2C1C9-4226-48FE-9BDF-FBAA865234BF}"/>
                  </a:ext>
                </a:extLst>
              </p:cNvPr>
              <p:cNvSpPr/>
              <p:nvPr/>
            </p:nvSpPr>
            <p:spPr>
              <a:xfrm>
                <a:off x="2343150" y="1860658"/>
                <a:ext cx="9175749" cy="972000"/>
              </a:xfrm>
              <a:custGeom>
                <a:avLst/>
                <a:gdLst>
                  <a:gd name="connsiteX0" fmla="*/ 243000 w 7899132"/>
                  <a:gd name="connsiteY0" fmla="*/ 0 h 972000"/>
                  <a:gd name="connsiteX1" fmla="*/ 2437071 w 7899132"/>
                  <a:gd name="connsiteY1" fmla="*/ 0 h 972000"/>
                  <a:gd name="connsiteX2" fmla="*/ 7771072 w 7899132"/>
                  <a:gd name="connsiteY2" fmla="*/ 0 h 972000"/>
                  <a:gd name="connsiteX3" fmla="*/ 7899132 w 7899132"/>
                  <a:gd name="connsiteY3" fmla="*/ 0 h 972000"/>
                  <a:gd name="connsiteX4" fmla="*/ 7899132 w 7899132"/>
                  <a:gd name="connsiteY4" fmla="*/ 972000 h 972000"/>
                  <a:gd name="connsiteX5" fmla="*/ 7528072 w 7899132"/>
                  <a:gd name="connsiteY5" fmla="*/ 972000 h 972000"/>
                  <a:gd name="connsiteX6" fmla="*/ 2437071 w 7899132"/>
                  <a:gd name="connsiteY6" fmla="*/ 972000 h 972000"/>
                  <a:gd name="connsiteX7" fmla="*/ 0 w 7899132"/>
                  <a:gd name="connsiteY7" fmla="*/ 972000 h 97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899132" h="972000">
                    <a:moveTo>
                      <a:pt x="243000" y="0"/>
                    </a:moveTo>
                    <a:lnTo>
                      <a:pt x="2437071" y="0"/>
                    </a:lnTo>
                    <a:lnTo>
                      <a:pt x="7771072" y="0"/>
                    </a:lnTo>
                    <a:lnTo>
                      <a:pt x="7899132" y="0"/>
                    </a:lnTo>
                    <a:lnTo>
                      <a:pt x="7899132" y="972000"/>
                    </a:lnTo>
                    <a:lnTo>
                      <a:pt x="7528072" y="972000"/>
                    </a:lnTo>
                    <a:lnTo>
                      <a:pt x="2437071" y="972000"/>
                    </a:lnTo>
                    <a:lnTo>
                      <a:pt x="0" y="972000"/>
                    </a:lnTo>
                    <a:close/>
                  </a:path>
                </a:pathLst>
              </a:cu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indent="457200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Copy paste fonts. Choose the only option to retain text.</a:t>
                </a:r>
              </a:p>
              <a:p>
                <a:pPr indent="457200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… …</a:t>
                </a:r>
              </a:p>
            </p:txBody>
          </p:sp>
          <p:sp>
            <p:nvSpPr>
              <p:cNvPr id="10" name="íṡľíde">
                <a:extLst>
                  <a:ext uri="{FF2B5EF4-FFF2-40B4-BE49-F238E27FC236}">
                    <a16:creationId xmlns:a16="http://schemas.microsoft.com/office/drawing/2014/main" id="{72695C49-CDC7-42A0-815A-48481F481A49}"/>
                  </a:ext>
                </a:extLst>
              </p:cNvPr>
              <p:cNvSpPr/>
              <p:nvPr/>
            </p:nvSpPr>
            <p:spPr>
              <a:xfrm>
                <a:off x="673100" y="1860658"/>
                <a:ext cx="1746250" cy="972000"/>
              </a:xfrm>
              <a:custGeom>
                <a:avLst/>
                <a:gdLst>
                  <a:gd name="connsiteX0" fmla="*/ 0 w 2316439"/>
                  <a:gd name="connsiteY0" fmla="*/ 0 h 972000"/>
                  <a:gd name="connsiteX1" fmla="*/ 635724 w 2316439"/>
                  <a:gd name="connsiteY1" fmla="*/ 0 h 972000"/>
                  <a:gd name="connsiteX2" fmla="*/ 1923715 w 2316439"/>
                  <a:gd name="connsiteY2" fmla="*/ 0 h 972000"/>
                  <a:gd name="connsiteX3" fmla="*/ 2316439 w 2316439"/>
                  <a:gd name="connsiteY3" fmla="*/ 0 h 972000"/>
                  <a:gd name="connsiteX4" fmla="*/ 2073439 w 2316439"/>
                  <a:gd name="connsiteY4" fmla="*/ 972000 h 972000"/>
                  <a:gd name="connsiteX5" fmla="*/ 1923715 w 2316439"/>
                  <a:gd name="connsiteY5" fmla="*/ 972000 h 972000"/>
                  <a:gd name="connsiteX6" fmla="*/ 392724 w 2316439"/>
                  <a:gd name="connsiteY6" fmla="*/ 972000 h 972000"/>
                  <a:gd name="connsiteX7" fmla="*/ 0 w 2316439"/>
                  <a:gd name="connsiteY7" fmla="*/ 972000 h 97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16439" h="972000">
                    <a:moveTo>
                      <a:pt x="0" y="0"/>
                    </a:moveTo>
                    <a:lnTo>
                      <a:pt x="635724" y="0"/>
                    </a:lnTo>
                    <a:lnTo>
                      <a:pt x="1923715" y="0"/>
                    </a:lnTo>
                    <a:lnTo>
                      <a:pt x="2316439" y="0"/>
                    </a:lnTo>
                    <a:lnTo>
                      <a:pt x="2073439" y="972000"/>
                    </a:lnTo>
                    <a:lnTo>
                      <a:pt x="1923715" y="972000"/>
                    </a:lnTo>
                    <a:lnTo>
                      <a:pt x="392724" y="972000"/>
                    </a:lnTo>
                    <a:lnTo>
                      <a:pt x="0" y="97200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altLang="zh-CN" b="1" dirty="0">
                    <a:solidFill>
                      <a:schemeClr val="tx1"/>
                    </a:solidFill>
                  </a:rPr>
                  <a:t>Text here</a:t>
                </a:r>
                <a:endParaRPr lang="zh-CN" altLang="en-US" b="1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41822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939AC58-CE42-43A9-8D04-9C84FAA38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41B1323-C64B-4D23-8560-793C2F9F7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CA3ECA7-2892-4733-BC01-FB7E175E1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7" name="ïṥlïḓé">
            <a:extLst>
              <a:ext uri="{FF2B5EF4-FFF2-40B4-BE49-F238E27FC236}">
                <a16:creationId xmlns:a16="http://schemas.microsoft.com/office/drawing/2014/main" id="{AFD29DED-D136-44FC-8F9C-D82440663342}"/>
              </a:ext>
            </a:extLst>
          </p:cNvPr>
          <p:cNvSpPr/>
          <p:nvPr/>
        </p:nvSpPr>
        <p:spPr>
          <a:xfrm rot="16200000">
            <a:off x="5787757" y="-819404"/>
            <a:ext cx="603786" cy="7702876"/>
          </a:xfrm>
          <a:prstGeom prst="rightBracket">
            <a:avLst>
              <a:gd name="adj" fmla="val 125234"/>
            </a:avLst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8" name="ï$ľíďé">
            <a:extLst>
              <a:ext uri="{FF2B5EF4-FFF2-40B4-BE49-F238E27FC236}">
                <a16:creationId xmlns:a16="http://schemas.microsoft.com/office/drawing/2014/main" id="{ACDBB224-3FF2-4F86-902D-B4B213B88C4B}"/>
              </a:ext>
            </a:extLst>
          </p:cNvPr>
          <p:cNvSpPr/>
          <p:nvPr/>
        </p:nvSpPr>
        <p:spPr>
          <a:xfrm rot="16200000">
            <a:off x="5787757" y="1745107"/>
            <a:ext cx="603786" cy="2573854"/>
          </a:xfrm>
          <a:prstGeom prst="rightBracket">
            <a:avLst>
              <a:gd name="adj" fmla="val 125234"/>
            </a:avLst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9" name="íŝlîďé">
            <a:extLst>
              <a:ext uri="{FF2B5EF4-FFF2-40B4-BE49-F238E27FC236}">
                <a16:creationId xmlns:a16="http://schemas.microsoft.com/office/drawing/2014/main" id="{F8FB9DD5-62C8-4EFE-A5C8-A86B6237EFC9}"/>
              </a:ext>
            </a:extLst>
          </p:cNvPr>
          <p:cNvSpPr/>
          <p:nvPr/>
        </p:nvSpPr>
        <p:spPr>
          <a:xfrm>
            <a:off x="4820586" y="1950698"/>
            <a:ext cx="2555309" cy="779443"/>
          </a:xfrm>
          <a:prstGeom prst="roundRect">
            <a:avLst>
              <a:gd name="adj" fmla="val 7439"/>
            </a:avLst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…Text</a:t>
            </a:r>
            <a:endParaRPr lang="id-ID" altLang="zh-CN" sz="2400" b="1" dirty="0">
              <a:solidFill>
                <a:schemeClr val="bg1"/>
              </a:solidFill>
            </a:endParaRPr>
          </a:p>
        </p:txBody>
      </p:sp>
      <p:sp>
        <p:nvSpPr>
          <p:cNvPr id="32" name="iS1ïḋè">
            <a:extLst>
              <a:ext uri="{FF2B5EF4-FFF2-40B4-BE49-F238E27FC236}">
                <a16:creationId xmlns:a16="http://schemas.microsoft.com/office/drawing/2014/main" id="{273A5512-73F3-4D6F-B0CE-7F1DA1502395}"/>
              </a:ext>
            </a:extLst>
          </p:cNvPr>
          <p:cNvSpPr/>
          <p:nvPr/>
        </p:nvSpPr>
        <p:spPr>
          <a:xfrm>
            <a:off x="1891895" y="3333927"/>
            <a:ext cx="692634" cy="692200"/>
          </a:xfrm>
          <a:prstGeom prst="roundRect">
            <a:avLst>
              <a:gd name="adj" fmla="val 10247"/>
            </a:avLst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13765">
              <a:spcBef>
                <a:spcPct val="0"/>
              </a:spcBef>
              <a:defRPr/>
            </a:pP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4" name="ïśḻiḑe">
            <a:extLst>
              <a:ext uri="{FF2B5EF4-FFF2-40B4-BE49-F238E27FC236}">
                <a16:creationId xmlns:a16="http://schemas.microsoft.com/office/drawing/2014/main" id="{A0E26EE8-BD3E-43BE-BBA8-75525EAF8E5A}"/>
              </a:ext>
            </a:extLst>
          </p:cNvPr>
          <p:cNvSpPr/>
          <p:nvPr/>
        </p:nvSpPr>
        <p:spPr bwMode="auto">
          <a:xfrm>
            <a:off x="2049285" y="3474028"/>
            <a:ext cx="377854" cy="411998"/>
          </a:xfrm>
          <a:custGeom>
            <a:avLst/>
            <a:gdLst>
              <a:gd name="T0" fmla="*/ 168 w 208"/>
              <a:gd name="T1" fmla="*/ 0 h 224"/>
              <a:gd name="T2" fmla="*/ 168 w 208"/>
              <a:gd name="T3" fmla="*/ 68 h 224"/>
              <a:gd name="T4" fmla="*/ 108 w 208"/>
              <a:gd name="T5" fmla="*/ 68 h 224"/>
              <a:gd name="T6" fmla="*/ 108 w 208"/>
              <a:gd name="T7" fmla="*/ 124 h 224"/>
              <a:gd name="T8" fmla="*/ 192 w 208"/>
              <a:gd name="T9" fmla="*/ 124 h 224"/>
              <a:gd name="T10" fmla="*/ 192 w 208"/>
              <a:gd name="T11" fmla="*/ 184 h 224"/>
              <a:gd name="T12" fmla="*/ 208 w 208"/>
              <a:gd name="T13" fmla="*/ 184 h 224"/>
              <a:gd name="T14" fmla="*/ 208 w 208"/>
              <a:gd name="T15" fmla="*/ 224 h 224"/>
              <a:gd name="T16" fmla="*/ 168 w 208"/>
              <a:gd name="T17" fmla="*/ 224 h 224"/>
              <a:gd name="T18" fmla="*/ 168 w 208"/>
              <a:gd name="T19" fmla="*/ 184 h 224"/>
              <a:gd name="T20" fmla="*/ 184 w 208"/>
              <a:gd name="T21" fmla="*/ 184 h 224"/>
              <a:gd name="T22" fmla="*/ 184 w 208"/>
              <a:gd name="T23" fmla="*/ 132 h 224"/>
              <a:gd name="T24" fmla="*/ 108 w 208"/>
              <a:gd name="T25" fmla="*/ 132 h 224"/>
              <a:gd name="T26" fmla="*/ 108 w 208"/>
              <a:gd name="T27" fmla="*/ 184 h 224"/>
              <a:gd name="T28" fmla="*/ 124 w 208"/>
              <a:gd name="T29" fmla="*/ 184 h 224"/>
              <a:gd name="T30" fmla="*/ 124 w 208"/>
              <a:gd name="T31" fmla="*/ 224 h 224"/>
              <a:gd name="T32" fmla="*/ 84 w 208"/>
              <a:gd name="T33" fmla="*/ 224 h 224"/>
              <a:gd name="T34" fmla="*/ 84 w 208"/>
              <a:gd name="T35" fmla="*/ 184 h 224"/>
              <a:gd name="T36" fmla="*/ 100 w 208"/>
              <a:gd name="T37" fmla="*/ 184 h 224"/>
              <a:gd name="T38" fmla="*/ 100 w 208"/>
              <a:gd name="T39" fmla="*/ 132 h 224"/>
              <a:gd name="T40" fmla="*/ 24 w 208"/>
              <a:gd name="T41" fmla="*/ 132 h 224"/>
              <a:gd name="T42" fmla="*/ 24 w 208"/>
              <a:gd name="T43" fmla="*/ 184 h 224"/>
              <a:gd name="T44" fmla="*/ 40 w 208"/>
              <a:gd name="T45" fmla="*/ 184 h 224"/>
              <a:gd name="T46" fmla="*/ 40 w 208"/>
              <a:gd name="T47" fmla="*/ 224 h 224"/>
              <a:gd name="T48" fmla="*/ 0 w 208"/>
              <a:gd name="T49" fmla="*/ 224 h 224"/>
              <a:gd name="T50" fmla="*/ 0 w 208"/>
              <a:gd name="T51" fmla="*/ 184 h 224"/>
              <a:gd name="T52" fmla="*/ 16 w 208"/>
              <a:gd name="T53" fmla="*/ 184 h 224"/>
              <a:gd name="T54" fmla="*/ 16 w 208"/>
              <a:gd name="T55" fmla="*/ 124 h 224"/>
              <a:gd name="T56" fmla="*/ 100 w 208"/>
              <a:gd name="T57" fmla="*/ 124 h 224"/>
              <a:gd name="T58" fmla="*/ 100 w 208"/>
              <a:gd name="T59" fmla="*/ 68 h 224"/>
              <a:gd name="T60" fmla="*/ 40 w 208"/>
              <a:gd name="T61" fmla="*/ 68 h 224"/>
              <a:gd name="T62" fmla="*/ 40 w 208"/>
              <a:gd name="T63" fmla="*/ 0 h 224"/>
              <a:gd name="T64" fmla="*/ 168 w 208"/>
              <a:gd name="T65" fmla="*/ 0 h 224"/>
              <a:gd name="T66" fmla="*/ 32 w 208"/>
              <a:gd name="T67" fmla="*/ 192 h 224"/>
              <a:gd name="T68" fmla="*/ 8 w 208"/>
              <a:gd name="T69" fmla="*/ 192 h 224"/>
              <a:gd name="T70" fmla="*/ 8 w 208"/>
              <a:gd name="T71" fmla="*/ 216 h 224"/>
              <a:gd name="T72" fmla="*/ 32 w 208"/>
              <a:gd name="T73" fmla="*/ 216 h 224"/>
              <a:gd name="T74" fmla="*/ 32 w 208"/>
              <a:gd name="T75" fmla="*/ 192 h 224"/>
              <a:gd name="T76" fmla="*/ 116 w 208"/>
              <a:gd name="T77" fmla="*/ 192 h 224"/>
              <a:gd name="T78" fmla="*/ 92 w 208"/>
              <a:gd name="T79" fmla="*/ 192 h 224"/>
              <a:gd name="T80" fmla="*/ 92 w 208"/>
              <a:gd name="T81" fmla="*/ 216 h 224"/>
              <a:gd name="T82" fmla="*/ 116 w 208"/>
              <a:gd name="T83" fmla="*/ 216 h 224"/>
              <a:gd name="T84" fmla="*/ 116 w 208"/>
              <a:gd name="T85" fmla="*/ 192 h 224"/>
              <a:gd name="T86" fmla="*/ 200 w 208"/>
              <a:gd name="T87" fmla="*/ 192 h 224"/>
              <a:gd name="T88" fmla="*/ 176 w 208"/>
              <a:gd name="T89" fmla="*/ 192 h 224"/>
              <a:gd name="T90" fmla="*/ 176 w 208"/>
              <a:gd name="T91" fmla="*/ 216 h 224"/>
              <a:gd name="T92" fmla="*/ 200 w 208"/>
              <a:gd name="T93" fmla="*/ 216 h 224"/>
              <a:gd name="T94" fmla="*/ 200 w 208"/>
              <a:gd name="T95" fmla="*/ 192 h 224"/>
              <a:gd name="T96" fmla="*/ 160 w 208"/>
              <a:gd name="T97" fmla="*/ 8 h 224"/>
              <a:gd name="T98" fmla="*/ 48 w 208"/>
              <a:gd name="T99" fmla="*/ 8 h 224"/>
              <a:gd name="T100" fmla="*/ 48 w 208"/>
              <a:gd name="T101" fmla="*/ 60 h 224"/>
              <a:gd name="T102" fmla="*/ 160 w 208"/>
              <a:gd name="T103" fmla="*/ 60 h 224"/>
              <a:gd name="T104" fmla="*/ 160 w 208"/>
              <a:gd name="T105" fmla="*/ 8 h 224"/>
              <a:gd name="T106" fmla="*/ 66 w 208"/>
              <a:gd name="T107" fmla="*/ 36 h 224"/>
              <a:gd name="T108" fmla="*/ 72 w 208"/>
              <a:gd name="T109" fmla="*/ 42 h 224"/>
              <a:gd name="T110" fmla="*/ 66 w 208"/>
              <a:gd name="T111" fmla="*/ 48 h 224"/>
              <a:gd name="T112" fmla="*/ 60 w 208"/>
              <a:gd name="T113" fmla="*/ 42 h 224"/>
              <a:gd name="T114" fmla="*/ 66 w 208"/>
              <a:gd name="T115" fmla="*/ 3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8" h="224">
                <a:moveTo>
                  <a:pt x="168" y="0"/>
                </a:moveTo>
                <a:cubicBezTo>
                  <a:pt x="168" y="68"/>
                  <a:pt x="168" y="68"/>
                  <a:pt x="168" y="68"/>
                </a:cubicBezTo>
                <a:cubicBezTo>
                  <a:pt x="108" y="68"/>
                  <a:pt x="108" y="68"/>
                  <a:pt x="108" y="68"/>
                </a:cubicBezTo>
                <a:cubicBezTo>
                  <a:pt x="108" y="124"/>
                  <a:pt x="108" y="124"/>
                  <a:pt x="108" y="124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2" y="184"/>
                  <a:pt x="192" y="184"/>
                  <a:pt x="192" y="184"/>
                </a:cubicBezTo>
                <a:cubicBezTo>
                  <a:pt x="208" y="184"/>
                  <a:pt x="208" y="184"/>
                  <a:pt x="208" y="184"/>
                </a:cubicBezTo>
                <a:cubicBezTo>
                  <a:pt x="208" y="224"/>
                  <a:pt x="208" y="224"/>
                  <a:pt x="208" y="224"/>
                </a:cubicBezTo>
                <a:cubicBezTo>
                  <a:pt x="168" y="224"/>
                  <a:pt x="168" y="224"/>
                  <a:pt x="168" y="224"/>
                </a:cubicBezTo>
                <a:cubicBezTo>
                  <a:pt x="168" y="184"/>
                  <a:pt x="168" y="184"/>
                  <a:pt x="168" y="184"/>
                </a:cubicBezTo>
                <a:cubicBezTo>
                  <a:pt x="184" y="184"/>
                  <a:pt x="184" y="184"/>
                  <a:pt x="184" y="184"/>
                </a:cubicBezTo>
                <a:cubicBezTo>
                  <a:pt x="184" y="132"/>
                  <a:pt x="184" y="132"/>
                  <a:pt x="184" y="132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08" y="184"/>
                  <a:pt x="108" y="184"/>
                  <a:pt x="108" y="184"/>
                </a:cubicBezTo>
                <a:cubicBezTo>
                  <a:pt x="124" y="184"/>
                  <a:pt x="124" y="184"/>
                  <a:pt x="124" y="184"/>
                </a:cubicBezTo>
                <a:cubicBezTo>
                  <a:pt x="124" y="224"/>
                  <a:pt x="124" y="224"/>
                  <a:pt x="124" y="224"/>
                </a:cubicBezTo>
                <a:cubicBezTo>
                  <a:pt x="84" y="224"/>
                  <a:pt x="84" y="224"/>
                  <a:pt x="84" y="224"/>
                </a:cubicBezTo>
                <a:cubicBezTo>
                  <a:pt x="84" y="184"/>
                  <a:pt x="84" y="184"/>
                  <a:pt x="84" y="184"/>
                </a:cubicBezTo>
                <a:cubicBezTo>
                  <a:pt x="100" y="184"/>
                  <a:pt x="100" y="184"/>
                  <a:pt x="100" y="184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24" y="132"/>
                  <a:pt x="24" y="132"/>
                  <a:pt x="24" y="132"/>
                </a:cubicBezTo>
                <a:cubicBezTo>
                  <a:pt x="24" y="184"/>
                  <a:pt x="24" y="184"/>
                  <a:pt x="24" y="184"/>
                </a:cubicBezTo>
                <a:cubicBezTo>
                  <a:pt x="40" y="184"/>
                  <a:pt x="40" y="184"/>
                  <a:pt x="40" y="184"/>
                </a:cubicBezTo>
                <a:cubicBezTo>
                  <a:pt x="40" y="224"/>
                  <a:pt x="40" y="224"/>
                  <a:pt x="40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184"/>
                  <a:pt x="0" y="184"/>
                  <a:pt x="0" y="184"/>
                </a:cubicBezTo>
                <a:cubicBezTo>
                  <a:pt x="16" y="184"/>
                  <a:pt x="16" y="184"/>
                  <a:pt x="16" y="184"/>
                </a:cubicBezTo>
                <a:cubicBezTo>
                  <a:pt x="16" y="124"/>
                  <a:pt x="16" y="124"/>
                  <a:pt x="16" y="124"/>
                </a:cubicBezTo>
                <a:cubicBezTo>
                  <a:pt x="100" y="124"/>
                  <a:pt x="100" y="124"/>
                  <a:pt x="100" y="124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0"/>
                  <a:pt x="40" y="0"/>
                  <a:pt x="40" y="0"/>
                </a:cubicBezTo>
                <a:lnTo>
                  <a:pt x="168" y="0"/>
                </a:lnTo>
                <a:close/>
                <a:moveTo>
                  <a:pt x="32" y="192"/>
                </a:moveTo>
                <a:cubicBezTo>
                  <a:pt x="8" y="192"/>
                  <a:pt x="8" y="192"/>
                  <a:pt x="8" y="192"/>
                </a:cubicBezTo>
                <a:cubicBezTo>
                  <a:pt x="8" y="216"/>
                  <a:pt x="8" y="216"/>
                  <a:pt x="8" y="216"/>
                </a:cubicBezTo>
                <a:cubicBezTo>
                  <a:pt x="32" y="216"/>
                  <a:pt x="32" y="216"/>
                  <a:pt x="32" y="216"/>
                </a:cubicBezTo>
                <a:lnTo>
                  <a:pt x="32" y="192"/>
                </a:lnTo>
                <a:close/>
                <a:moveTo>
                  <a:pt x="116" y="192"/>
                </a:moveTo>
                <a:cubicBezTo>
                  <a:pt x="92" y="192"/>
                  <a:pt x="92" y="192"/>
                  <a:pt x="92" y="192"/>
                </a:cubicBezTo>
                <a:cubicBezTo>
                  <a:pt x="92" y="216"/>
                  <a:pt x="92" y="216"/>
                  <a:pt x="92" y="216"/>
                </a:cubicBezTo>
                <a:cubicBezTo>
                  <a:pt x="116" y="216"/>
                  <a:pt x="116" y="216"/>
                  <a:pt x="116" y="216"/>
                </a:cubicBezTo>
                <a:lnTo>
                  <a:pt x="116" y="192"/>
                </a:lnTo>
                <a:close/>
                <a:moveTo>
                  <a:pt x="200" y="192"/>
                </a:moveTo>
                <a:cubicBezTo>
                  <a:pt x="176" y="192"/>
                  <a:pt x="176" y="192"/>
                  <a:pt x="176" y="192"/>
                </a:cubicBezTo>
                <a:cubicBezTo>
                  <a:pt x="176" y="216"/>
                  <a:pt x="176" y="216"/>
                  <a:pt x="176" y="216"/>
                </a:cubicBezTo>
                <a:cubicBezTo>
                  <a:pt x="200" y="216"/>
                  <a:pt x="200" y="216"/>
                  <a:pt x="200" y="216"/>
                </a:cubicBezTo>
                <a:lnTo>
                  <a:pt x="200" y="192"/>
                </a:lnTo>
                <a:close/>
                <a:moveTo>
                  <a:pt x="160" y="8"/>
                </a:moveTo>
                <a:cubicBezTo>
                  <a:pt x="48" y="8"/>
                  <a:pt x="48" y="8"/>
                  <a:pt x="48" y="8"/>
                </a:cubicBezTo>
                <a:cubicBezTo>
                  <a:pt x="48" y="60"/>
                  <a:pt x="48" y="60"/>
                  <a:pt x="48" y="60"/>
                </a:cubicBezTo>
                <a:cubicBezTo>
                  <a:pt x="160" y="60"/>
                  <a:pt x="160" y="60"/>
                  <a:pt x="160" y="60"/>
                </a:cubicBezTo>
                <a:lnTo>
                  <a:pt x="160" y="8"/>
                </a:lnTo>
                <a:close/>
                <a:moveTo>
                  <a:pt x="66" y="36"/>
                </a:moveTo>
                <a:cubicBezTo>
                  <a:pt x="69" y="36"/>
                  <a:pt x="72" y="39"/>
                  <a:pt x="72" y="42"/>
                </a:cubicBezTo>
                <a:cubicBezTo>
                  <a:pt x="72" y="45"/>
                  <a:pt x="69" y="48"/>
                  <a:pt x="66" y="48"/>
                </a:cubicBezTo>
                <a:cubicBezTo>
                  <a:pt x="63" y="48"/>
                  <a:pt x="60" y="45"/>
                  <a:pt x="60" y="42"/>
                </a:cubicBezTo>
                <a:cubicBezTo>
                  <a:pt x="60" y="39"/>
                  <a:pt x="63" y="36"/>
                  <a:pt x="66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0" name="ïŝḷîdè">
            <a:extLst>
              <a:ext uri="{FF2B5EF4-FFF2-40B4-BE49-F238E27FC236}">
                <a16:creationId xmlns:a16="http://schemas.microsoft.com/office/drawing/2014/main" id="{E89DBEC7-6846-4D1C-9FA3-2113AE553E47}"/>
              </a:ext>
            </a:extLst>
          </p:cNvPr>
          <p:cNvSpPr/>
          <p:nvPr/>
        </p:nvSpPr>
        <p:spPr>
          <a:xfrm>
            <a:off x="4459520" y="3333927"/>
            <a:ext cx="692634" cy="692200"/>
          </a:xfrm>
          <a:prstGeom prst="roundRect">
            <a:avLst>
              <a:gd name="adj" fmla="val 10247"/>
            </a:avLst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13765">
              <a:spcBef>
                <a:spcPct val="0"/>
              </a:spcBef>
              <a:defRPr/>
            </a:pP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8" name="ïṥlîḑê">
            <a:extLst>
              <a:ext uri="{FF2B5EF4-FFF2-40B4-BE49-F238E27FC236}">
                <a16:creationId xmlns:a16="http://schemas.microsoft.com/office/drawing/2014/main" id="{1CE3A576-8629-42EA-9134-86ACE247431D}"/>
              </a:ext>
            </a:extLst>
          </p:cNvPr>
          <p:cNvSpPr/>
          <p:nvPr/>
        </p:nvSpPr>
        <p:spPr bwMode="auto">
          <a:xfrm>
            <a:off x="4616910" y="3474028"/>
            <a:ext cx="377854" cy="411998"/>
          </a:xfrm>
          <a:custGeom>
            <a:avLst/>
            <a:gdLst>
              <a:gd name="T0" fmla="*/ 156 w 208"/>
              <a:gd name="T1" fmla="*/ 0 h 224"/>
              <a:gd name="T2" fmla="*/ 156 w 208"/>
              <a:gd name="T3" fmla="*/ 8 h 224"/>
              <a:gd name="T4" fmla="*/ 144 w 208"/>
              <a:gd name="T5" fmla="*/ 8 h 224"/>
              <a:gd name="T6" fmla="*/ 144 w 208"/>
              <a:gd name="T7" fmla="*/ 59 h 224"/>
              <a:gd name="T8" fmla="*/ 208 w 208"/>
              <a:gd name="T9" fmla="*/ 204 h 224"/>
              <a:gd name="T10" fmla="*/ 201 w 208"/>
              <a:gd name="T11" fmla="*/ 224 h 224"/>
              <a:gd name="T12" fmla="*/ 7 w 208"/>
              <a:gd name="T13" fmla="*/ 224 h 224"/>
              <a:gd name="T14" fmla="*/ 0 w 208"/>
              <a:gd name="T15" fmla="*/ 204 h 224"/>
              <a:gd name="T16" fmla="*/ 64 w 208"/>
              <a:gd name="T17" fmla="*/ 59 h 224"/>
              <a:gd name="T18" fmla="*/ 64 w 208"/>
              <a:gd name="T19" fmla="*/ 8 h 224"/>
              <a:gd name="T20" fmla="*/ 52 w 208"/>
              <a:gd name="T21" fmla="*/ 8 h 224"/>
              <a:gd name="T22" fmla="*/ 52 w 208"/>
              <a:gd name="T23" fmla="*/ 0 h 224"/>
              <a:gd name="T24" fmla="*/ 156 w 208"/>
              <a:gd name="T25" fmla="*/ 0 h 224"/>
              <a:gd name="T26" fmla="*/ 108 w 208"/>
              <a:gd name="T27" fmla="*/ 174 h 224"/>
              <a:gd name="T28" fmla="*/ 106 w 208"/>
              <a:gd name="T29" fmla="*/ 175 h 224"/>
              <a:gd name="T30" fmla="*/ 22 w 208"/>
              <a:gd name="T31" fmla="*/ 174 h 224"/>
              <a:gd name="T32" fmla="*/ 8 w 208"/>
              <a:gd name="T33" fmla="*/ 204 h 224"/>
              <a:gd name="T34" fmla="*/ 13 w 208"/>
              <a:gd name="T35" fmla="*/ 216 h 224"/>
              <a:gd name="T36" fmla="*/ 195 w 208"/>
              <a:gd name="T37" fmla="*/ 216 h 224"/>
              <a:gd name="T38" fmla="*/ 200 w 208"/>
              <a:gd name="T39" fmla="*/ 204 h 224"/>
              <a:gd name="T40" fmla="*/ 185 w 208"/>
              <a:gd name="T41" fmla="*/ 171 h 224"/>
              <a:gd name="T42" fmla="*/ 108 w 208"/>
              <a:gd name="T43" fmla="*/ 174 h 224"/>
              <a:gd name="T44" fmla="*/ 136 w 208"/>
              <a:gd name="T45" fmla="*/ 8 h 224"/>
              <a:gd name="T46" fmla="*/ 72 w 208"/>
              <a:gd name="T47" fmla="*/ 8 h 224"/>
              <a:gd name="T48" fmla="*/ 72 w 208"/>
              <a:gd name="T49" fmla="*/ 61 h 224"/>
              <a:gd name="T50" fmla="*/ 25 w 208"/>
              <a:gd name="T51" fmla="*/ 166 h 224"/>
              <a:gd name="T52" fmla="*/ 101 w 208"/>
              <a:gd name="T53" fmla="*/ 170 h 224"/>
              <a:gd name="T54" fmla="*/ 102 w 208"/>
              <a:gd name="T55" fmla="*/ 169 h 224"/>
              <a:gd name="T56" fmla="*/ 180 w 208"/>
              <a:gd name="T57" fmla="*/ 160 h 224"/>
              <a:gd name="T58" fmla="*/ 136 w 208"/>
              <a:gd name="T59" fmla="*/ 61 h 224"/>
              <a:gd name="T60" fmla="*/ 136 w 208"/>
              <a:gd name="T61" fmla="*/ 8 h 224"/>
              <a:gd name="T62" fmla="*/ 130 w 208"/>
              <a:gd name="T63" fmla="*/ 104 h 224"/>
              <a:gd name="T64" fmla="*/ 148 w 208"/>
              <a:gd name="T65" fmla="*/ 122 h 224"/>
              <a:gd name="T66" fmla="*/ 130 w 208"/>
              <a:gd name="T67" fmla="*/ 140 h 224"/>
              <a:gd name="T68" fmla="*/ 112 w 208"/>
              <a:gd name="T69" fmla="*/ 122 h 224"/>
              <a:gd name="T70" fmla="*/ 130 w 208"/>
              <a:gd name="T71" fmla="*/ 104 h 224"/>
              <a:gd name="T72" fmla="*/ 130 w 208"/>
              <a:gd name="T73" fmla="*/ 112 h 224"/>
              <a:gd name="T74" fmla="*/ 120 w 208"/>
              <a:gd name="T75" fmla="*/ 122 h 224"/>
              <a:gd name="T76" fmla="*/ 130 w 208"/>
              <a:gd name="T77" fmla="*/ 132 h 224"/>
              <a:gd name="T78" fmla="*/ 140 w 208"/>
              <a:gd name="T79" fmla="*/ 122 h 224"/>
              <a:gd name="T80" fmla="*/ 130 w 208"/>
              <a:gd name="T81" fmla="*/ 112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8" h="224">
                <a:moveTo>
                  <a:pt x="156" y="0"/>
                </a:moveTo>
                <a:cubicBezTo>
                  <a:pt x="156" y="8"/>
                  <a:pt x="156" y="8"/>
                  <a:pt x="156" y="8"/>
                </a:cubicBezTo>
                <a:cubicBezTo>
                  <a:pt x="144" y="8"/>
                  <a:pt x="144" y="8"/>
                  <a:pt x="144" y="8"/>
                </a:cubicBezTo>
                <a:cubicBezTo>
                  <a:pt x="144" y="59"/>
                  <a:pt x="144" y="59"/>
                  <a:pt x="144" y="59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1" y="224"/>
                  <a:pt x="201" y="224"/>
                  <a:pt x="201" y="224"/>
                </a:cubicBezTo>
                <a:cubicBezTo>
                  <a:pt x="7" y="224"/>
                  <a:pt x="7" y="224"/>
                  <a:pt x="7" y="224"/>
                </a:cubicBezTo>
                <a:cubicBezTo>
                  <a:pt x="0" y="204"/>
                  <a:pt x="0" y="204"/>
                  <a:pt x="0" y="204"/>
                </a:cubicBezTo>
                <a:cubicBezTo>
                  <a:pt x="64" y="59"/>
                  <a:pt x="64" y="59"/>
                  <a:pt x="64" y="59"/>
                </a:cubicBezTo>
                <a:cubicBezTo>
                  <a:pt x="64" y="8"/>
                  <a:pt x="64" y="8"/>
                  <a:pt x="64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2" y="0"/>
                  <a:pt x="52" y="0"/>
                  <a:pt x="52" y="0"/>
                </a:cubicBezTo>
                <a:lnTo>
                  <a:pt x="156" y="0"/>
                </a:lnTo>
                <a:close/>
                <a:moveTo>
                  <a:pt x="108" y="174"/>
                </a:moveTo>
                <a:cubicBezTo>
                  <a:pt x="106" y="175"/>
                  <a:pt x="106" y="175"/>
                  <a:pt x="106" y="175"/>
                </a:cubicBezTo>
                <a:cubicBezTo>
                  <a:pt x="83" y="192"/>
                  <a:pt x="50" y="191"/>
                  <a:pt x="22" y="174"/>
                </a:cubicBezTo>
                <a:cubicBezTo>
                  <a:pt x="8" y="204"/>
                  <a:pt x="8" y="204"/>
                  <a:pt x="8" y="204"/>
                </a:cubicBezTo>
                <a:cubicBezTo>
                  <a:pt x="13" y="216"/>
                  <a:pt x="13" y="216"/>
                  <a:pt x="13" y="216"/>
                </a:cubicBezTo>
                <a:cubicBezTo>
                  <a:pt x="195" y="216"/>
                  <a:pt x="195" y="216"/>
                  <a:pt x="195" y="216"/>
                </a:cubicBezTo>
                <a:cubicBezTo>
                  <a:pt x="200" y="204"/>
                  <a:pt x="200" y="204"/>
                  <a:pt x="200" y="204"/>
                </a:cubicBezTo>
                <a:cubicBezTo>
                  <a:pt x="185" y="171"/>
                  <a:pt x="185" y="171"/>
                  <a:pt x="185" y="171"/>
                </a:cubicBezTo>
                <a:cubicBezTo>
                  <a:pt x="159" y="159"/>
                  <a:pt x="128" y="160"/>
                  <a:pt x="108" y="174"/>
                </a:cubicBezTo>
                <a:close/>
                <a:moveTo>
                  <a:pt x="136" y="8"/>
                </a:moveTo>
                <a:cubicBezTo>
                  <a:pt x="72" y="8"/>
                  <a:pt x="72" y="8"/>
                  <a:pt x="72" y="8"/>
                </a:cubicBezTo>
                <a:cubicBezTo>
                  <a:pt x="72" y="61"/>
                  <a:pt x="72" y="61"/>
                  <a:pt x="72" y="61"/>
                </a:cubicBezTo>
                <a:cubicBezTo>
                  <a:pt x="25" y="166"/>
                  <a:pt x="25" y="166"/>
                  <a:pt x="25" y="166"/>
                </a:cubicBezTo>
                <a:cubicBezTo>
                  <a:pt x="50" y="182"/>
                  <a:pt x="80" y="183"/>
                  <a:pt x="101" y="170"/>
                </a:cubicBezTo>
                <a:cubicBezTo>
                  <a:pt x="102" y="169"/>
                  <a:pt x="102" y="169"/>
                  <a:pt x="102" y="169"/>
                </a:cubicBezTo>
                <a:cubicBezTo>
                  <a:pt x="123" y="154"/>
                  <a:pt x="153" y="151"/>
                  <a:pt x="180" y="160"/>
                </a:cubicBezTo>
                <a:cubicBezTo>
                  <a:pt x="136" y="61"/>
                  <a:pt x="136" y="61"/>
                  <a:pt x="136" y="61"/>
                </a:cubicBezTo>
                <a:lnTo>
                  <a:pt x="136" y="8"/>
                </a:lnTo>
                <a:close/>
                <a:moveTo>
                  <a:pt x="130" y="104"/>
                </a:moveTo>
                <a:cubicBezTo>
                  <a:pt x="140" y="104"/>
                  <a:pt x="148" y="112"/>
                  <a:pt x="148" y="122"/>
                </a:cubicBezTo>
                <a:cubicBezTo>
                  <a:pt x="148" y="132"/>
                  <a:pt x="140" y="140"/>
                  <a:pt x="130" y="140"/>
                </a:cubicBezTo>
                <a:cubicBezTo>
                  <a:pt x="120" y="140"/>
                  <a:pt x="112" y="132"/>
                  <a:pt x="112" y="122"/>
                </a:cubicBezTo>
                <a:cubicBezTo>
                  <a:pt x="112" y="112"/>
                  <a:pt x="120" y="104"/>
                  <a:pt x="130" y="104"/>
                </a:cubicBezTo>
                <a:close/>
                <a:moveTo>
                  <a:pt x="130" y="112"/>
                </a:moveTo>
                <a:cubicBezTo>
                  <a:pt x="124" y="112"/>
                  <a:pt x="120" y="116"/>
                  <a:pt x="120" y="122"/>
                </a:cubicBezTo>
                <a:cubicBezTo>
                  <a:pt x="120" y="128"/>
                  <a:pt x="124" y="132"/>
                  <a:pt x="130" y="132"/>
                </a:cubicBezTo>
                <a:cubicBezTo>
                  <a:pt x="136" y="132"/>
                  <a:pt x="140" y="128"/>
                  <a:pt x="140" y="122"/>
                </a:cubicBezTo>
                <a:cubicBezTo>
                  <a:pt x="140" y="116"/>
                  <a:pt x="136" y="112"/>
                  <a:pt x="130" y="1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8" name="ïṣľíḓé">
            <a:extLst>
              <a:ext uri="{FF2B5EF4-FFF2-40B4-BE49-F238E27FC236}">
                <a16:creationId xmlns:a16="http://schemas.microsoft.com/office/drawing/2014/main" id="{E7FC4ACF-4523-4720-8F9A-EAEFE4BD1A76}"/>
              </a:ext>
            </a:extLst>
          </p:cNvPr>
          <p:cNvSpPr/>
          <p:nvPr/>
        </p:nvSpPr>
        <p:spPr>
          <a:xfrm>
            <a:off x="7027145" y="3333927"/>
            <a:ext cx="692634" cy="692200"/>
          </a:xfrm>
          <a:prstGeom prst="roundRect">
            <a:avLst>
              <a:gd name="adj" fmla="val 10247"/>
            </a:avLst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13765">
              <a:spcBef>
                <a:spcPct val="0"/>
              </a:spcBef>
              <a:defRPr/>
            </a:pP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41" name="i$1îḑè">
            <a:extLst>
              <a:ext uri="{FF2B5EF4-FFF2-40B4-BE49-F238E27FC236}">
                <a16:creationId xmlns:a16="http://schemas.microsoft.com/office/drawing/2014/main" id="{777E1FE9-48F9-4BEA-929C-6BA2F0BC49CC}"/>
              </a:ext>
            </a:extLst>
          </p:cNvPr>
          <p:cNvSpPr/>
          <p:nvPr/>
        </p:nvSpPr>
        <p:spPr bwMode="auto">
          <a:xfrm>
            <a:off x="7169740" y="3474028"/>
            <a:ext cx="407445" cy="411998"/>
          </a:xfrm>
          <a:custGeom>
            <a:avLst/>
            <a:gdLst>
              <a:gd name="T0" fmla="*/ 160 w 224"/>
              <a:gd name="T1" fmla="*/ 0 h 224"/>
              <a:gd name="T2" fmla="*/ 160 w 224"/>
              <a:gd name="T3" fmla="*/ 48 h 224"/>
              <a:gd name="T4" fmla="*/ 224 w 224"/>
              <a:gd name="T5" fmla="*/ 48 h 224"/>
              <a:gd name="T6" fmla="*/ 224 w 224"/>
              <a:gd name="T7" fmla="*/ 176 h 224"/>
              <a:gd name="T8" fmla="*/ 160 w 224"/>
              <a:gd name="T9" fmla="*/ 176 h 224"/>
              <a:gd name="T10" fmla="*/ 160 w 224"/>
              <a:gd name="T11" fmla="*/ 224 h 224"/>
              <a:gd name="T12" fmla="*/ 64 w 224"/>
              <a:gd name="T13" fmla="*/ 224 h 224"/>
              <a:gd name="T14" fmla="*/ 64 w 224"/>
              <a:gd name="T15" fmla="*/ 176 h 224"/>
              <a:gd name="T16" fmla="*/ 0 w 224"/>
              <a:gd name="T17" fmla="*/ 176 h 224"/>
              <a:gd name="T18" fmla="*/ 0 w 224"/>
              <a:gd name="T19" fmla="*/ 76 h 224"/>
              <a:gd name="T20" fmla="*/ 26 w 224"/>
              <a:gd name="T21" fmla="*/ 48 h 224"/>
              <a:gd name="T22" fmla="*/ 64 w 224"/>
              <a:gd name="T23" fmla="*/ 48 h 224"/>
              <a:gd name="T24" fmla="*/ 64 w 224"/>
              <a:gd name="T25" fmla="*/ 0 h 224"/>
              <a:gd name="T26" fmla="*/ 160 w 224"/>
              <a:gd name="T27" fmla="*/ 0 h 224"/>
              <a:gd name="T28" fmla="*/ 152 w 224"/>
              <a:gd name="T29" fmla="*/ 120 h 224"/>
              <a:gd name="T30" fmla="*/ 72 w 224"/>
              <a:gd name="T31" fmla="*/ 120 h 224"/>
              <a:gd name="T32" fmla="*/ 72 w 224"/>
              <a:gd name="T33" fmla="*/ 216 h 224"/>
              <a:gd name="T34" fmla="*/ 152 w 224"/>
              <a:gd name="T35" fmla="*/ 216 h 224"/>
              <a:gd name="T36" fmla="*/ 152 w 224"/>
              <a:gd name="T37" fmla="*/ 120 h 224"/>
              <a:gd name="T38" fmla="*/ 216 w 224"/>
              <a:gd name="T39" fmla="*/ 56 h 224"/>
              <a:gd name="T40" fmla="*/ 30 w 224"/>
              <a:gd name="T41" fmla="*/ 56 h 224"/>
              <a:gd name="T42" fmla="*/ 8 w 224"/>
              <a:gd name="T43" fmla="*/ 80 h 224"/>
              <a:gd name="T44" fmla="*/ 8 w 224"/>
              <a:gd name="T45" fmla="*/ 168 h 224"/>
              <a:gd name="T46" fmla="*/ 64 w 224"/>
              <a:gd name="T47" fmla="*/ 168 h 224"/>
              <a:gd name="T48" fmla="*/ 64 w 224"/>
              <a:gd name="T49" fmla="*/ 112 h 224"/>
              <a:gd name="T50" fmla="*/ 160 w 224"/>
              <a:gd name="T51" fmla="*/ 112 h 224"/>
              <a:gd name="T52" fmla="*/ 160 w 224"/>
              <a:gd name="T53" fmla="*/ 168 h 224"/>
              <a:gd name="T54" fmla="*/ 216 w 224"/>
              <a:gd name="T55" fmla="*/ 168 h 224"/>
              <a:gd name="T56" fmla="*/ 216 w 224"/>
              <a:gd name="T57" fmla="*/ 56 h 224"/>
              <a:gd name="T58" fmla="*/ 194 w 224"/>
              <a:gd name="T59" fmla="*/ 72 h 224"/>
              <a:gd name="T60" fmla="*/ 200 w 224"/>
              <a:gd name="T61" fmla="*/ 78 h 224"/>
              <a:gd name="T62" fmla="*/ 194 w 224"/>
              <a:gd name="T63" fmla="*/ 84 h 224"/>
              <a:gd name="T64" fmla="*/ 188 w 224"/>
              <a:gd name="T65" fmla="*/ 78 h 224"/>
              <a:gd name="T66" fmla="*/ 194 w 224"/>
              <a:gd name="T67" fmla="*/ 72 h 224"/>
              <a:gd name="T68" fmla="*/ 152 w 224"/>
              <a:gd name="T69" fmla="*/ 8 h 224"/>
              <a:gd name="T70" fmla="*/ 72 w 224"/>
              <a:gd name="T71" fmla="*/ 8 h 224"/>
              <a:gd name="T72" fmla="*/ 72 w 224"/>
              <a:gd name="T73" fmla="*/ 48 h 224"/>
              <a:gd name="T74" fmla="*/ 152 w 224"/>
              <a:gd name="T75" fmla="*/ 48 h 224"/>
              <a:gd name="T76" fmla="*/ 152 w 224"/>
              <a:gd name="T77" fmla="*/ 8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24" h="224">
                <a:moveTo>
                  <a:pt x="160" y="0"/>
                </a:moveTo>
                <a:cubicBezTo>
                  <a:pt x="160" y="48"/>
                  <a:pt x="160" y="48"/>
                  <a:pt x="160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6"/>
                  <a:pt x="224" y="176"/>
                  <a:pt x="224" y="176"/>
                </a:cubicBezTo>
                <a:cubicBezTo>
                  <a:pt x="160" y="176"/>
                  <a:pt x="160" y="176"/>
                  <a:pt x="160" y="176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64" y="224"/>
                  <a:pt x="64" y="224"/>
                  <a:pt x="64" y="224"/>
                </a:cubicBezTo>
                <a:cubicBezTo>
                  <a:pt x="64" y="176"/>
                  <a:pt x="64" y="176"/>
                  <a:pt x="64" y="176"/>
                </a:cubicBezTo>
                <a:cubicBezTo>
                  <a:pt x="0" y="176"/>
                  <a:pt x="0" y="176"/>
                  <a:pt x="0" y="176"/>
                </a:cubicBezTo>
                <a:cubicBezTo>
                  <a:pt x="0" y="76"/>
                  <a:pt x="0" y="76"/>
                  <a:pt x="0" y="76"/>
                </a:cubicBezTo>
                <a:cubicBezTo>
                  <a:pt x="26" y="48"/>
                  <a:pt x="26" y="48"/>
                  <a:pt x="26" y="48"/>
                </a:cubicBezTo>
                <a:cubicBezTo>
                  <a:pt x="64" y="48"/>
                  <a:pt x="64" y="48"/>
                  <a:pt x="64" y="48"/>
                </a:cubicBezTo>
                <a:cubicBezTo>
                  <a:pt x="64" y="0"/>
                  <a:pt x="64" y="0"/>
                  <a:pt x="64" y="0"/>
                </a:cubicBezTo>
                <a:lnTo>
                  <a:pt x="160" y="0"/>
                </a:lnTo>
                <a:close/>
                <a:moveTo>
                  <a:pt x="152" y="120"/>
                </a:moveTo>
                <a:cubicBezTo>
                  <a:pt x="72" y="120"/>
                  <a:pt x="72" y="120"/>
                  <a:pt x="72" y="120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152" y="216"/>
                  <a:pt x="152" y="216"/>
                  <a:pt x="152" y="216"/>
                </a:cubicBezTo>
                <a:lnTo>
                  <a:pt x="152" y="120"/>
                </a:lnTo>
                <a:close/>
                <a:moveTo>
                  <a:pt x="216" y="56"/>
                </a:moveTo>
                <a:cubicBezTo>
                  <a:pt x="30" y="56"/>
                  <a:pt x="30" y="56"/>
                  <a:pt x="30" y="56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168"/>
                  <a:pt x="8" y="168"/>
                  <a:pt x="8" y="168"/>
                </a:cubicBezTo>
                <a:cubicBezTo>
                  <a:pt x="64" y="168"/>
                  <a:pt x="64" y="168"/>
                  <a:pt x="64" y="168"/>
                </a:cubicBezTo>
                <a:cubicBezTo>
                  <a:pt x="64" y="112"/>
                  <a:pt x="64" y="112"/>
                  <a:pt x="64" y="112"/>
                </a:cubicBezTo>
                <a:cubicBezTo>
                  <a:pt x="160" y="112"/>
                  <a:pt x="160" y="112"/>
                  <a:pt x="160" y="112"/>
                </a:cubicBezTo>
                <a:cubicBezTo>
                  <a:pt x="160" y="168"/>
                  <a:pt x="160" y="168"/>
                  <a:pt x="160" y="168"/>
                </a:cubicBezTo>
                <a:cubicBezTo>
                  <a:pt x="216" y="168"/>
                  <a:pt x="216" y="168"/>
                  <a:pt x="216" y="168"/>
                </a:cubicBezTo>
                <a:lnTo>
                  <a:pt x="216" y="56"/>
                </a:lnTo>
                <a:close/>
                <a:moveTo>
                  <a:pt x="194" y="72"/>
                </a:moveTo>
                <a:cubicBezTo>
                  <a:pt x="197" y="72"/>
                  <a:pt x="200" y="75"/>
                  <a:pt x="200" y="78"/>
                </a:cubicBezTo>
                <a:cubicBezTo>
                  <a:pt x="200" y="81"/>
                  <a:pt x="197" y="84"/>
                  <a:pt x="194" y="84"/>
                </a:cubicBezTo>
                <a:cubicBezTo>
                  <a:pt x="191" y="84"/>
                  <a:pt x="188" y="81"/>
                  <a:pt x="188" y="78"/>
                </a:cubicBezTo>
                <a:cubicBezTo>
                  <a:pt x="188" y="75"/>
                  <a:pt x="191" y="72"/>
                  <a:pt x="194" y="72"/>
                </a:cubicBezTo>
                <a:close/>
                <a:moveTo>
                  <a:pt x="152" y="8"/>
                </a:moveTo>
                <a:cubicBezTo>
                  <a:pt x="72" y="8"/>
                  <a:pt x="72" y="8"/>
                  <a:pt x="72" y="8"/>
                </a:cubicBezTo>
                <a:cubicBezTo>
                  <a:pt x="72" y="48"/>
                  <a:pt x="72" y="48"/>
                  <a:pt x="72" y="48"/>
                </a:cubicBezTo>
                <a:cubicBezTo>
                  <a:pt x="152" y="48"/>
                  <a:pt x="152" y="48"/>
                  <a:pt x="152" y="48"/>
                </a:cubicBezTo>
                <a:lnTo>
                  <a:pt x="152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6" name="ïšlîďé">
            <a:extLst>
              <a:ext uri="{FF2B5EF4-FFF2-40B4-BE49-F238E27FC236}">
                <a16:creationId xmlns:a16="http://schemas.microsoft.com/office/drawing/2014/main" id="{00BA832F-E9A8-4380-9CE2-9AA6D314439F}"/>
              </a:ext>
            </a:extLst>
          </p:cNvPr>
          <p:cNvSpPr/>
          <p:nvPr/>
        </p:nvSpPr>
        <p:spPr>
          <a:xfrm>
            <a:off x="9594771" y="3333927"/>
            <a:ext cx="692634" cy="692200"/>
          </a:xfrm>
          <a:prstGeom prst="roundRect">
            <a:avLst>
              <a:gd name="adj" fmla="val 10247"/>
            </a:avLst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 defTabSz="913765">
              <a:spcBef>
                <a:spcPct val="0"/>
              </a:spcBef>
            </a:pP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43" name="ïṧḷíḍe">
            <a:extLst>
              <a:ext uri="{FF2B5EF4-FFF2-40B4-BE49-F238E27FC236}">
                <a16:creationId xmlns:a16="http://schemas.microsoft.com/office/drawing/2014/main" id="{11A52528-F043-4509-85B1-FEB33178BB21}"/>
              </a:ext>
            </a:extLst>
          </p:cNvPr>
          <p:cNvSpPr/>
          <p:nvPr/>
        </p:nvSpPr>
        <p:spPr bwMode="auto">
          <a:xfrm>
            <a:off x="9735090" y="3508073"/>
            <a:ext cx="411998" cy="343908"/>
          </a:xfrm>
          <a:custGeom>
            <a:avLst/>
            <a:gdLst>
              <a:gd name="T0" fmla="*/ 224 w 224"/>
              <a:gd name="T1" fmla="*/ 0 h 184"/>
              <a:gd name="T2" fmla="*/ 224 w 224"/>
              <a:gd name="T3" fmla="*/ 156 h 184"/>
              <a:gd name="T4" fmla="*/ 86 w 224"/>
              <a:gd name="T5" fmla="*/ 156 h 184"/>
              <a:gd name="T6" fmla="*/ 48 w 224"/>
              <a:gd name="T7" fmla="*/ 184 h 184"/>
              <a:gd name="T8" fmla="*/ 48 w 224"/>
              <a:gd name="T9" fmla="*/ 156 h 184"/>
              <a:gd name="T10" fmla="*/ 0 w 224"/>
              <a:gd name="T11" fmla="*/ 156 h 184"/>
              <a:gd name="T12" fmla="*/ 0 w 224"/>
              <a:gd name="T13" fmla="*/ 0 h 184"/>
              <a:gd name="T14" fmla="*/ 224 w 224"/>
              <a:gd name="T15" fmla="*/ 0 h 184"/>
              <a:gd name="T16" fmla="*/ 216 w 224"/>
              <a:gd name="T17" fmla="*/ 8 h 184"/>
              <a:gd name="T18" fmla="*/ 8 w 224"/>
              <a:gd name="T19" fmla="*/ 8 h 184"/>
              <a:gd name="T20" fmla="*/ 8 w 224"/>
              <a:gd name="T21" fmla="*/ 148 h 184"/>
              <a:gd name="T22" fmla="*/ 56 w 224"/>
              <a:gd name="T23" fmla="*/ 148 h 184"/>
              <a:gd name="T24" fmla="*/ 56 w 224"/>
              <a:gd name="T25" fmla="*/ 168 h 184"/>
              <a:gd name="T26" fmla="*/ 83 w 224"/>
              <a:gd name="T27" fmla="*/ 148 h 184"/>
              <a:gd name="T28" fmla="*/ 216 w 224"/>
              <a:gd name="T29" fmla="*/ 148 h 184"/>
              <a:gd name="T30" fmla="*/ 216 w 224"/>
              <a:gd name="T31" fmla="*/ 8 h 184"/>
              <a:gd name="T32" fmla="*/ 56 w 224"/>
              <a:gd name="T33" fmla="*/ 60 h 184"/>
              <a:gd name="T34" fmla="*/ 74 w 224"/>
              <a:gd name="T35" fmla="*/ 78 h 184"/>
              <a:gd name="T36" fmla="*/ 56 w 224"/>
              <a:gd name="T37" fmla="*/ 96 h 184"/>
              <a:gd name="T38" fmla="*/ 38 w 224"/>
              <a:gd name="T39" fmla="*/ 78 h 184"/>
              <a:gd name="T40" fmla="*/ 56 w 224"/>
              <a:gd name="T41" fmla="*/ 60 h 184"/>
              <a:gd name="T42" fmla="*/ 112 w 224"/>
              <a:gd name="T43" fmla="*/ 60 h 184"/>
              <a:gd name="T44" fmla="*/ 130 w 224"/>
              <a:gd name="T45" fmla="*/ 78 h 184"/>
              <a:gd name="T46" fmla="*/ 112 w 224"/>
              <a:gd name="T47" fmla="*/ 96 h 184"/>
              <a:gd name="T48" fmla="*/ 94 w 224"/>
              <a:gd name="T49" fmla="*/ 78 h 184"/>
              <a:gd name="T50" fmla="*/ 112 w 224"/>
              <a:gd name="T51" fmla="*/ 60 h 184"/>
              <a:gd name="T52" fmla="*/ 168 w 224"/>
              <a:gd name="T53" fmla="*/ 60 h 184"/>
              <a:gd name="T54" fmla="*/ 186 w 224"/>
              <a:gd name="T55" fmla="*/ 78 h 184"/>
              <a:gd name="T56" fmla="*/ 168 w 224"/>
              <a:gd name="T57" fmla="*/ 96 h 184"/>
              <a:gd name="T58" fmla="*/ 150 w 224"/>
              <a:gd name="T59" fmla="*/ 78 h 184"/>
              <a:gd name="T60" fmla="*/ 168 w 224"/>
              <a:gd name="T61" fmla="*/ 60 h 184"/>
              <a:gd name="T62" fmla="*/ 56 w 224"/>
              <a:gd name="T63" fmla="*/ 68 h 184"/>
              <a:gd name="T64" fmla="*/ 46 w 224"/>
              <a:gd name="T65" fmla="*/ 78 h 184"/>
              <a:gd name="T66" fmla="*/ 56 w 224"/>
              <a:gd name="T67" fmla="*/ 88 h 184"/>
              <a:gd name="T68" fmla="*/ 66 w 224"/>
              <a:gd name="T69" fmla="*/ 78 h 184"/>
              <a:gd name="T70" fmla="*/ 56 w 224"/>
              <a:gd name="T71" fmla="*/ 68 h 184"/>
              <a:gd name="T72" fmla="*/ 112 w 224"/>
              <a:gd name="T73" fmla="*/ 68 h 184"/>
              <a:gd name="T74" fmla="*/ 102 w 224"/>
              <a:gd name="T75" fmla="*/ 78 h 184"/>
              <a:gd name="T76" fmla="*/ 112 w 224"/>
              <a:gd name="T77" fmla="*/ 88 h 184"/>
              <a:gd name="T78" fmla="*/ 122 w 224"/>
              <a:gd name="T79" fmla="*/ 78 h 184"/>
              <a:gd name="T80" fmla="*/ 112 w 224"/>
              <a:gd name="T81" fmla="*/ 68 h 184"/>
              <a:gd name="T82" fmla="*/ 168 w 224"/>
              <a:gd name="T83" fmla="*/ 68 h 184"/>
              <a:gd name="T84" fmla="*/ 158 w 224"/>
              <a:gd name="T85" fmla="*/ 78 h 184"/>
              <a:gd name="T86" fmla="*/ 168 w 224"/>
              <a:gd name="T87" fmla="*/ 88 h 184"/>
              <a:gd name="T88" fmla="*/ 178 w 224"/>
              <a:gd name="T89" fmla="*/ 78 h 184"/>
              <a:gd name="T90" fmla="*/ 168 w 224"/>
              <a:gd name="T91" fmla="*/ 68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4" h="184">
                <a:moveTo>
                  <a:pt x="224" y="0"/>
                </a:moveTo>
                <a:cubicBezTo>
                  <a:pt x="224" y="156"/>
                  <a:pt x="224" y="156"/>
                  <a:pt x="224" y="156"/>
                </a:cubicBezTo>
                <a:cubicBezTo>
                  <a:pt x="86" y="156"/>
                  <a:pt x="86" y="156"/>
                  <a:pt x="86" y="156"/>
                </a:cubicBezTo>
                <a:cubicBezTo>
                  <a:pt x="48" y="184"/>
                  <a:pt x="48" y="184"/>
                  <a:pt x="48" y="184"/>
                </a:cubicBezTo>
                <a:cubicBezTo>
                  <a:pt x="48" y="156"/>
                  <a:pt x="48" y="156"/>
                  <a:pt x="48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216" y="8"/>
                </a:moveTo>
                <a:cubicBezTo>
                  <a:pt x="8" y="8"/>
                  <a:pt x="8" y="8"/>
                  <a:pt x="8" y="8"/>
                </a:cubicBezTo>
                <a:cubicBezTo>
                  <a:pt x="8" y="148"/>
                  <a:pt x="8" y="148"/>
                  <a:pt x="8" y="148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68"/>
                  <a:pt x="56" y="168"/>
                  <a:pt x="56" y="168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216" y="148"/>
                  <a:pt x="216" y="148"/>
                  <a:pt x="216" y="148"/>
                </a:cubicBezTo>
                <a:lnTo>
                  <a:pt x="216" y="8"/>
                </a:lnTo>
                <a:close/>
                <a:moveTo>
                  <a:pt x="56" y="60"/>
                </a:moveTo>
                <a:cubicBezTo>
                  <a:pt x="66" y="60"/>
                  <a:pt x="74" y="68"/>
                  <a:pt x="74" y="78"/>
                </a:cubicBezTo>
                <a:cubicBezTo>
                  <a:pt x="74" y="88"/>
                  <a:pt x="66" y="96"/>
                  <a:pt x="56" y="96"/>
                </a:cubicBezTo>
                <a:cubicBezTo>
                  <a:pt x="46" y="96"/>
                  <a:pt x="38" y="88"/>
                  <a:pt x="38" y="78"/>
                </a:cubicBezTo>
                <a:cubicBezTo>
                  <a:pt x="38" y="68"/>
                  <a:pt x="46" y="60"/>
                  <a:pt x="56" y="60"/>
                </a:cubicBezTo>
                <a:close/>
                <a:moveTo>
                  <a:pt x="112" y="60"/>
                </a:moveTo>
                <a:cubicBezTo>
                  <a:pt x="122" y="60"/>
                  <a:pt x="130" y="68"/>
                  <a:pt x="130" y="78"/>
                </a:cubicBezTo>
                <a:cubicBezTo>
                  <a:pt x="130" y="88"/>
                  <a:pt x="122" y="96"/>
                  <a:pt x="112" y="96"/>
                </a:cubicBezTo>
                <a:cubicBezTo>
                  <a:pt x="102" y="96"/>
                  <a:pt x="94" y="88"/>
                  <a:pt x="94" y="78"/>
                </a:cubicBezTo>
                <a:cubicBezTo>
                  <a:pt x="94" y="68"/>
                  <a:pt x="102" y="60"/>
                  <a:pt x="112" y="60"/>
                </a:cubicBezTo>
                <a:close/>
                <a:moveTo>
                  <a:pt x="168" y="60"/>
                </a:moveTo>
                <a:cubicBezTo>
                  <a:pt x="178" y="60"/>
                  <a:pt x="186" y="68"/>
                  <a:pt x="186" y="78"/>
                </a:cubicBezTo>
                <a:cubicBezTo>
                  <a:pt x="186" y="88"/>
                  <a:pt x="178" y="96"/>
                  <a:pt x="168" y="96"/>
                </a:cubicBezTo>
                <a:cubicBezTo>
                  <a:pt x="158" y="96"/>
                  <a:pt x="150" y="88"/>
                  <a:pt x="150" y="78"/>
                </a:cubicBezTo>
                <a:cubicBezTo>
                  <a:pt x="150" y="68"/>
                  <a:pt x="158" y="60"/>
                  <a:pt x="168" y="60"/>
                </a:cubicBezTo>
                <a:close/>
                <a:moveTo>
                  <a:pt x="56" y="68"/>
                </a:moveTo>
                <a:cubicBezTo>
                  <a:pt x="50" y="68"/>
                  <a:pt x="46" y="72"/>
                  <a:pt x="46" y="78"/>
                </a:cubicBezTo>
                <a:cubicBezTo>
                  <a:pt x="46" y="84"/>
                  <a:pt x="50" y="88"/>
                  <a:pt x="56" y="88"/>
                </a:cubicBezTo>
                <a:cubicBezTo>
                  <a:pt x="62" y="88"/>
                  <a:pt x="66" y="84"/>
                  <a:pt x="66" y="78"/>
                </a:cubicBezTo>
                <a:cubicBezTo>
                  <a:pt x="66" y="72"/>
                  <a:pt x="62" y="68"/>
                  <a:pt x="56" y="68"/>
                </a:cubicBezTo>
                <a:close/>
                <a:moveTo>
                  <a:pt x="112" y="68"/>
                </a:moveTo>
                <a:cubicBezTo>
                  <a:pt x="106" y="68"/>
                  <a:pt x="102" y="72"/>
                  <a:pt x="102" y="78"/>
                </a:cubicBezTo>
                <a:cubicBezTo>
                  <a:pt x="102" y="84"/>
                  <a:pt x="106" y="88"/>
                  <a:pt x="112" y="88"/>
                </a:cubicBezTo>
                <a:cubicBezTo>
                  <a:pt x="118" y="88"/>
                  <a:pt x="122" y="84"/>
                  <a:pt x="122" y="78"/>
                </a:cubicBezTo>
                <a:cubicBezTo>
                  <a:pt x="122" y="72"/>
                  <a:pt x="118" y="68"/>
                  <a:pt x="112" y="68"/>
                </a:cubicBezTo>
                <a:close/>
                <a:moveTo>
                  <a:pt x="168" y="68"/>
                </a:moveTo>
                <a:cubicBezTo>
                  <a:pt x="162" y="68"/>
                  <a:pt x="158" y="72"/>
                  <a:pt x="158" y="78"/>
                </a:cubicBezTo>
                <a:cubicBezTo>
                  <a:pt x="158" y="84"/>
                  <a:pt x="162" y="88"/>
                  <a:pt x="168" y="88"/>
                </a:cubicBezTo>
                <a:cubicBezTo>
                  <a:pt x="174" y="88"/>
                  <a:pt x="178" y="84"/>
                  <a:pt x="178" y="78"/>
                </a:cubicBezTo>
                <a:cubicBezTo>
                  <a:pt x="178" y="72"/>
                  <a:pt x="174" y="68"/>
                  <a:pt x="168" y="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4" name="ïšļîḓè">
            <a:extLst>
              <a:ext uri="{FF2B5EF4-FFF2-40B4-BE49-F238E27FC236}">
                <a16:creationId xmlns:a16="http://schemas.microsoft.com/office/drawing/2014/main" id="{557B5AD3-0B26-43E6-8F59-D15C033424A7}"/>
              </a:ext>
            </a:extLst>
          </p:cNvPr>
          <p:cNvSpPr/>
          <p:nvPr/>
        </p:nvSpPr>
        <p:spPr>
          <a:xfrm>
            <a:off x="1356885" y="4194327"/>
            <a:ext cx="1762654" cy="406613"/>
          </a:xfrm>
          <a:prstGeom prst="rect">
            <a:avLst/>
          </a:prstGeom>
          <a:noFill/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Text here</a:t>
            </a:r>
            <a:endParaRPr lang="id-ID" altLang="zh-CN" sz="1400" b="1" dirty="0">
              <a:solidFill>
                <a:schemeClr val="tx1"/>
              </a:solidFill>
            </a:endParaRPr>
          </a:p>
        </p:txBody>
      </p:sp>
      <p:sp>
        <p:nvSpPr>
          <p:cNvPr id="25" name="íṣľidé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1356885" y="4600942"/>
            <a:ext cx="1762654" cy="554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000" dirty="0"/>
              <a:t>Supporting te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000" dirty="0"/>
              <a:t>……</a:t>
            </a:r>
          </a:p>
        </p:txBody>
      </p:sp>
      <p:sp>
        <p:nvSpPr>
          <p:cNvPr id="22" name="iṥļiďè">
            <a:extLst>
              <a:ext uri="{FF2B5EF4-FFF2-40B4-BE49-F238E27FC236}">
                <a16:creationId xmlns:a16="http://schemas.microsoft.com/office/drawing/2014/main" id="{4DEBA52B-3ACE-4DBB-9BBA-ADA3E5BB40F6}"/>
              </a:ext>
            </a:extLst>
          </p:cNvPr>
          <p:cNvSpPr/>
          <p:nvPr/>
        </p:nvSpPr>
        <p:spPr>
          <a:xfrm>
            <a:off x="3924510" y="4194327"/>
            <a:ext cx="1762654" cy="406613"/>
          </a:xfrm>
          <a:prstGeom prst="rect">
            <a:avLst/>
          </a:prstGeom>
          <a:noFill/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Text here</a:t>
            </a:r>
            <a:endParaRPr lang="id-ID" altLang="zh-CN" sz="1400" b="1" dirty="0">
              <a:solidFill>
                <a:schemeClr val="tx1"/>
              </a:solidFill>
            </a:endParaRPr>
          </a:p>
        </p:txBody>
      </p:sp>
      <p:sp>
        <p:nvSpPr>
          <p:cNvPr id="23" name="iṡ1îḑè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3924510" y="4600942"/>
            <a:ext cx="1762654" cy="554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000" dirty="0"/>
              <a:t>Supporting te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000" dirty="0"/>
              <a:t>……</a:t>
            </a:r>
          </a:p>
        </p:txBody>
      </p:sp>
      <p:sp>
        <p:nvSpPr>
          <p:cNvPr id="20" name="i$ļïḓê">
            <a:extLst>
              <a:ext uri="{FF2B5EF4-FFF2-40B4-BE49-F238E27FC236}">
                <a16:creationId xmlns:a16="http://schemas.microsoft.com/office/drawing/2014/main" id="{DE0D7BA3-FB1D-4ABB-9837-B814300EF688}"/>
              </a:ext>
            </a:extLst>
          </p:cNvPr>
          <p:cNvSpPr/>
          <p:nvPr/>
        </p:nvSpPr>
        <p:spPr>
          <a:xfrm>
            <a:off x="6492135" y="4194327"/>
            <a:ext cx="1762654" cy="406613"/>
          </a:xfrm>
          <a:prstGeom prst="rect">
            <a:avLst/>
          </a:prstGeom>
          <a:noFill/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Text here</a:t>
            </a:r>
            <a:endParaRPr lang="id-ID" altLang="zh-CN" sz="1400" b="1" dirty="0">
              <a:solidFill>
                <a:schemeClr val="tx1"/>
              </a:solidFill>
            </a:endParaRPr>
          </a:p>
        </p:txBody>
      </p:sp>
      <p:sp>
        <p:nvSpPr>
          <p:cNvPr id="21" name="íṥ1iḑê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6492135" y="4600942"/>
            <a:ext cx="1762654" cy="554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000" dirty="0"/>
              <a:t>Supporting te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000" dirty="0"/>
              <a:t>……</a:t>
            </a:r>
          </a:p>
        </p:txBody>
      </p:sp>
      <p:sp>
        <p:nvSpPr>
          <p:cNvPr id="18" name="iṩľîdê">
            <a:extLst>
              <a:ext uri="{FF2B5EF4-FFF2-40B4-BE49-F238E27FC236}">
                <a16:creationId xmlns:a16="http://schemas.microsoft.com/office/drawing/2014/main" id="{FC6257A5-3777-445C-BA0E-36099C2040FE}"/>
              </a:ext>
            </a:extLst>
          </p:cNvPr>
          <p:cNvSpPr/>
          <p:nvPr/>
        </p:nvSpPr>
        <p:spPr>
          <a:xfrm>
            <a:off x="9059761" y="4194327"/>
            <a:ext cx="1762654" cy="406613"/>
          </a:xfrm>
          <a:prstGeom prst="rect">
            <a:avLst/>
          </a:prstGeom>
          <a:noFill/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Text here</a:t>
            </a:r>
            <a:endParaRPr lang="id-ID" altLang="zh-CN" sz="1400" b="1" dirty="0">
              <a:solidFill>
                <a:schemeClr val="tx1"/>
              </a:solidFill>
            </a:endParaRPr>
          </a:p>
        </p:txBody>
      </p:sp>
      <p:sp>
        <p:nvSpPr>
          <p:cNvPr id="19" name="ïšḷîḑè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9059761" y="4600942"/>
            <a:ext cx="1762654" cy="554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000" dirty="0"/>
              <a:t>Supporting te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000" dirty="0"/>
              <a:t>……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024287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5A56F34-943B-4203-B6C6-2FF6C3A5B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B63A2D2-E6C5-4CE4-A15B-9264951B8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3FFCBCB-07DC-4797-82F6-3E2F323BD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163" name="ïṧḻiḑè">
            <a:extLst>
              <a:ext uri="{FF2B5EF4-FFF2-40B4-BE49-F238E27FC236}">
                <a16:creationId xmlns:a16="http://schemas.microsoft.com/office/drawing/2014/main" id="{3C76AC84-EFCE-4C41-B777-4966B4A400E7}"/>
              </a:ext>
            </a:extLst>
          </p:cNvPr>
          <p:cNvSpPr/>
          <p:nvPr/>
        </p:nvSpPr>
        <p:spPr bwMode="auto">
          <a:xfrm>
            <a:off x="7754305" y="40988"/>
            <a:ext cx="3874308" cy="3063671"/>
          </a:xfrm>
          <a:custGeom>
            <a:avLst/>
            <a:gdLst>
              <a:gd name="T0" fmla="*/ 996 w 1711"/>
              <a:gd name="T1" fmla="*/ 0 h 1353"/>
              <a:gd name="T2" fmla="*/ 1085 w 1711"/>
              <a:gd name="T3" fmla="*/ 83 h 1353"/>
              <a:gd name="T4" fmla="*/ 1128 w 1711"/>
              <a:gd name="T5" fmla="*/ 137 h 1353"/>
              <a:gd name="T6" fmla="*/ 1204 w 1711"/>
              <a:gd name="T7" fmla="*/ 138 h 1353"/>
              <a:gd name="T8" fmla="*/ 1249 w 1711"/>
              <a:gd name="T9" fmla="*/ 194 h 1353"/>
              <a:gd name="T10" fmla="*/ 1404 w 1711"/>
              <a:gd name="T11" fmla="*/ 201 h 1353"/>
              <a:gd name="T12" fmla="*/ 1478 w 1711"/>
              <a:gd name="T13" fmla="*/ 244 h 1353"/>
              <a:gd name="T14" fmla="*/ 1558 w 1711"/>
              <a:gd name="T15" fmla="*/ 251 h 1353"/>
              <a:gd name="T16" fmla="*/ 1681 w 1711"/>
              <a:gd name="T17" fmla="*/ 305 h 1353"/>
              <a:gd name="T18" fmla="*/ 1667 w 1711"/>
              <a:gd name="T19" fmla="*/ 338 h 1353"/>
              <a:gd name="T20" fmla="*/ 1502 w 1711"/>
              <a:gd name="T21" fmla="*/ 432 h 1353"/>
              <a:gd name="T22" fmla="*/ 1433 w 1711"/>
              <a:gd name="T23" fmla="*/ 480 h 1353"/>
              <a:gd name="T24" fmla="*/ 1274 w 1711"/>
              <a:gd name="T25" fmla="*/ 503 h 1353"/>
              <a:gd name="T26" fmla="*/ 1199 w 1711"/>
              <a:gd name="T27" fmla="*/ 700 h 1353"/>
              <a:gd name="T28" fmla="*/ 1176 w 1711"/>
              <a:gd name="T29" fmla="*/ 696 h 1353"/>
              <a:gd name="T30" fmla="*/ 1139 w 1711"/>
              <a:gd name="T31" fmla="*/ 749 h 1353"/>
              <a:gd name="T32" fmla="*/ 1019 w 1711"/>
              <a:gd name="T33" fmla="*/ 895 h 1353"/>
              <a:gd name="T34" fmla="*/ 978 w 1711"/>
              <a:gd name="T35" fmla="*/ 940 h 1353"/>
              <a:gd name="T36" fmla="*/ 975 w 1711"/>
              <a:gd name="T37" fmla="*/ 1014 h 1353"/>
              <a:gd name="T38" fmla="*/ 923 w 1711"/>
              <a:gd name="T39" fmla="*/ 917 h 1353"/>
              <a:gd name="T40" fmla="*/ 808 w 1711"/>
              <a:gd name="T41" fmla="*/ 941 h 1353"/>
              <a:gd name="T42" fmla="*/ 694 w 1711"/>
              <a:gd name="T43" fmla="*/ 835 h 1353"/>
              <a:gd name="T44" fmla="*/ 567 w 1711"/>
              <a:gd name="T45" fmla="*/ 827 h 1353"/>
              <a:gd name="T46" fmla="*/ 634 w 1711"/>
              <a:gd name="T47" fmla="*/ 857 h 1353"/>
              <a:gd name="T48" fmla="*/ 487 w 1711"/>
              <a:gd name="T49" fmla="*/ 900 h 1353"/>
              <a:gd name="T50" fmla="*/ 472 w 1711"/>
              <a:gd name="T51" fmla="*/ 924 h 1353"/>
              <a:gd name="T52" fmla="*/ 530 w 1711"/>
              <a:gd name="T53" fmla="*/ 1028 h 1353"/>
              <a:gd name="T54" fmla="*/ 431 w 1711"/>
              <a:gd name="T55" fmla="*/ 1224 h 1353"/>
              <a:gd name="T56" fmla="*/ 299 w 1711"/>
              <a:gd name="T57" fmla="*/ 1353 h 1353"/>
              <a:gd name="T58" fmla="*/ 216 w 1711"/>
              <a:gd name="T59" fmla="*/ 1056 h 1353"/>
              <a:gd name="T60" fmla="*/ 118 w 1711"/>
              <a:gd name="T61" fmla="*/ 1009 h 1353"/>
              <a:gd name="T62" fmla="*/ 6 w 1711"/>
              <a:gd name="T63" fmla="*/ 862 h 1353"/>
              <a:gd name="T64" fmla="*/ 167 w 1711"/>
              <a:gd name="T65" fmla="*/ 721 h 1353"/>
              <a:gd name="T66" fmla="*/ 316 w 1711"/>
              <a:gd name="T67" fmla="*/ 757 h 1353"/>
              <a:gd name="T68" fmla="*/ 416 w 1711"/>
              <a:gd name="T69" fmla="*/ 733 h 1353"/>
              <a:gd name="T70" fmla="*/ 349 w 1711"/>
              <a:gd name="T71" fmla="*/ 711 h 1353"/>
              <a:gd name="T72" fmla="*/ 247 w 1711"/>
              <a:gd name="T73" fmla="*/ 635 h 1353"/>
              <a:gd name="T74" fmla="*/ 249 w 1711"/>
              <a:gd name="T75" fmla="*/ 709 h 1353"/>
              <a:gd name="T76" fmla="*/ 150 w 1711"/>
              <a:gd name="T77" fmla="*/ 689 h 1353"/>
              <a:gd name="T78" fmla="*/ 131 w 1711"/>
              <a:gd name="T79" fmla="*/ 653 h 1353"/>
              <a:gd name="T80" fmla="*/ 129 w 1711"/>
              <a:gd name="T81" fmla="*/ 576 h 1353"/>
              <a:gd name="T82" fmla="*/ 209 w 1711"/>
              <a:gd name="T83" fmla="*/ 484 h 1353"/>
              <a:gd name="T84" fmla="*/ 265 w 1711"/>
              <a:gd name="T85" fmla="*/ 504 h 1353"/>
              <a:gd name="T86" fmla="*/ 345 w 1711"/>
              <a:gd name="T87" fmla="*/ 455 h 1353"/>
              <a:gd name="T88" fmla="*/ 318 w 1711"/>
              <a:gd name="T89" fmla="*/ 411 h 1353"/>
              <a:gd name="T90" fmla="*/ 287 w 1711"/>
              <a:gd name="T91" fmla="*/ 385 h 1353"/>
              <a:gd name="T92" fmla="*/ 279 w 1711"/>
              <a:gd name="T93" fmla="*/ 486 h 1353"/>
              <a:gd name="T94" fmla="*/ 185 w 1711"/>
              <a:gd name="T95" fmla="*/ 409 h 1353"/>
              <a:gd name="T96" fmla="*/ 474 w 1711"/>
              <a:gd name="T97" fmla="*/ 274 h 1353"/>
              <a:gd name="T98" fmla="*/ 502 w 1711"/>
              <a:gd name="T99" fmla="*/ 260 h 1353"/>
              <a:gd name="T100" fmla="*/ 637 w 1711"/>
              <a:gd name="T101" fmla="*/ 213 h 1353"/>
              <a:gd name="T102" fmla="*/ 745 w 1711"/>
              <a:gd name="T103" fmla="*/ 159 h 1353"/>
              <a:gd name="T104" fmla="*/ 757 w 1711"/>
              <a:gd name="T105" fmla="*/ 268 h 1353"/>
              <a:gd name="T106" fmla="*/ 825 w 1711"/>
              <a:gd name="T107" fmla="*/ 201 h 1353"/>
              <a:gd name="T108" fmla="*/ 854 w 1711"/>
              <a:gd name="T109" fmla="*/ 112 h 1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11" h="1353">
                <a:moveTo>
                  <a:pt x="854" y="112"/>
                </a:moveTo>
                <a:lnTo>
                  <a:pt x="882" y="76"/>
                </a:lnTo>
                <a:lnTo>
                  <a:pt x="912" y="61"/>
                </a:lnTo>
                <a:lnTo>
                  <a:pt x="960" y="50"/>
                </a:lnTo>
                <a:lnTo>
                  <a:pt x="996" y="0"/>
                </a:lnTo>
                <a:lnTo>
                  <a:pt x="1021" y="10"/>
                </a:lnTo>
                <a:lnTo>
                  <a:pt x="1022" y="42"/>
                </a:lnTo>
                <a:lnTo>
                  <a:pt x="1049" y="33"/>
                </a:lnTo>
                <a:lnTo>
                  <a:pt x="1080" y="51"/>
                </a:lnTo>
                <a:lnTo>
                  <a:pt x="1085" y="83"/>
                </a:lnTo>
                <a:lnTo>
                  <a:pt x="1022" y="149"/>
                </a:lnTo>
                <a:lnTo>
                  <a:pt x="1076" y="122"/>
                </a:lnTo>
                <a:lnTo>
                  <a:pt x="1083" y="142"/>
                </a:lnTo>
                <a:lnTo>
                  <a:pt x="1101" y="131"/>
                </a:lnTo>
                <a:lnTo>
                  <a:pt x="1128" y="137"/>
                </a:lnTo>
                <a:lnTo>
                  <a:pt x="1125" y="146"/>
                </a:lnTo>
                <a:lnTo>
                  <a:pt x="1164" y="147"/>
                </a:lnTo>
                <a:lnTo>
                  <a:pt x="1164" y="130"/>
                </a:lnTo>
                <a:lnTo>
                  <a:pt x="1191" y="140"/>
                </a:lnTo>
                <a:lnTo>
                  <a:pt x="1204" y="138"/>
                </a:lnTo>
                <a:lnTo>
                  <a:pt x="1217" y="169"/>
                </a:lnTo>
                <a:lnTo>
                  <a:pt x="1209" y="182"/>
                </a:lnTo>
                <a:lnTo>
                  <a:pt x="1228" y="207"/>
                </a:lnTo>
                <a:lnTo>
                  <a:pt x="1242" y="179"/>
                </a:lnTo>
                <a:lnTo>
                  <a:pt x="1249" y="194"/>
                </a:lnTo>
                <a:lnTo>
                  <a:pt x="1298" y="192"/>
                </a:lnTo>
                <a:lnTo>
                  <a:pt x="1312" y="156"/>
                </a:lnTo>
                <a:lnTo>
                  <a:pt x="1380" y="173"/>
                </a:lnTo>
                <a:lnTo>
                  <a:pt x="1386" y="189"/>
                </a:lnTo>
                <a:lnTo>
                  <a:pt x="1404" y="201"/>
                </a:lnTo>
                <a:lnTo>
                  <a:pt x="1407" y="210"/>
                </a:lnTo>
                <a:lnTo>
                  <a:pt x="1458" y="206"/>
                </a:lnTo>
                <a:lnTo>
                  <a:pt x="1468" y="225"/>
                </a:lnTo>
                <a:lnTo>
                  <a:pt x="1465" y="234"/>
                </a:lnTo>
                <a:lnTo>
                  <a:pt x="1478" y="244"/>
                </a:lnTo>
                <a:lnTo>
                  <a:pt x="1487" y="236"/>
                </a:lnTo>
                <a:lnTo>
                  <a:pt x="1523" y="241"/>
                </a:lnTo>
                <a:lnTo>
                  <a:pt x="1532" y="235"/>
                </a:lnTo>
                <a:lnTo>
                  <a:pt x="1544" y="254"/>
                </a:lnTo>
                <a:lnTo>
                  <a:pt x="1558" y="251"/>
                </a:lnTo>
                <a:lnTo>
                  <a:pt x="1554" y="230"/>
                </a:lnTo>
                <a:lnTo>
                  <a:pt x="1569" y="234"/>
                </a:lnTo>
                <a:lnTo>
                  <a:pt x="1601" y="234"/>
                </a:lnTo>
                <a:lnTo>
                  <a:pt x="1676" y="288"/>
                </a:lnTo>
                <a:lnTo>
                  <a:pt x="1681" y="305"/>
                </a:lnTo>
                <a:lnTo>
                  <a:pt x="1690" y="297"/>
                </a:lnTo>
                <a:lnTo>
                  <a:pt x="1711" y="314"/>
                </a:lnTo>
                <a:lnTo>
                  <a:pt x="1699" y="334"/>
                </a:lnTo>
                <a:lnTo>
                  <a:pt x="1691" y="353"/>
                </a:lnTo>
                <a:lnTo>
                  <a:pt x="1667" y="338"/>
                </a:lnTo>
                <a:lnTo>
                  <a:pt x="1634" y="337"/>
                </a:lnTo>
                <a:lnTo>
                  <a:pt x="1629" y="375"/>
                </a:lnTo>
                <a:lnTo>
                  <a:pt x="1625" y="389"/>
                </a:lnTo>
                <a:lnTo>
                  <a:pt x="1553" y="429"/>
                </a:lnTo>
                <a:lnTo>
                  <a:pt x="1502" y="432"/>
                </a:lnTo>
                <a:lnTo>
                  <a:pt x="1494" y="463"/>
                </a:lnTo>
                <a:lnTo>
                  <a:pt x="1496" y="488"/>
                </a:lnTo>
                <a:lnTo>
                  <a:pt x="1441" y="561"/>
                </a:lnTo>
                <a:lnTo>
                  <a:pt x="1428" y="533"/>
                </a:lnTo>
                <a:lnTo>
                  <a:pt x="1433" y="480"/>
                </a:lnTo>
                <a:lnTo>
                  <a:pt x="1493" y="403"/>
                </a:lnTo>
                <a:lnTo>
                  <a:pt x="1466" y="413"/>
                </a:lnTo>
                <a:lnTo>
                  <a:pt x="1426" y="443"/>
                </a:lnTo>
                <a:lnTo>
                  <a:pt x="1321" y="444"/>
                </a:lnTo>
                <a:lnTo>
                  <a:pt x="1274" y="503"/>
                </a:lnTo>
                <a:lnTo>
                  <a:pt x="1305" y="523"/>
                </a:lnTo>
                <a:lnTo>
                  <a:pt x="1298" y="602"/>
                </a:lnTo>
                <a:lnTo>
                  <a:pt x="1253" y="660"/>
                </a:lnTo>
                <a:lnTo>
                  <a:pt x="1230" y="663"/>
                </a:lnTo>
                <a:lnTo>
                  <a:pt x="1199" y="700"/>
                </a:lnTo>
                <a:lnTo>
                  <a:pt x="1223" y="725"/>
                </a:lnTo>
                <a:lnTo>
                  <a:pt x="1194" y="758"/>
                </a:lnTo>
                <a:lnTo>
                  <a:pt x="1189" y="744"/>
                </a:lnTo>
                <a:lnTo>
                  <a:pt x="1187" y="725"/>
                </a:lnTo>
                <a:lnTo>
                  <a:pt x="1176" y="696"/>
                </a:lnTo>
                <a:lnTo>
                  <a:pt x="1148" y="705"/>
                </a:lnTo>
                <a:lnTo>
                  <a:pt x="1147" y="682"/>
                </a:lnTo>
                <a:lnTo>
                  <a:pt x="1121" y="711"/>
                </a:lnTo>
                <a:lnTo>
                  <a:pt x="1144" y="728"/>
                </a:lnTo>
                <a:lnTo>
                  <a:pt x="1139" y="749"/>
                </a:lnTo>
                <a:lnTo>
                  <a:pt x="1153" y="782"/>
                </a:lnTo>
                <a:lnTo>
                  <a:pt x="1140" y="816"/>
                </a:lnTo>
                <a:lnTo>
                  <a:pt x="1091" y="862"/>
                </a:lnTo>
                <a:lnTo>
                  <a:pt x="1038" y="876"/>
                </a:lnTo>
                <a:lnTo>
                  <a:pt x="1019" y="895"/>
                </a:lnTo>
                <a:lnTo>
                  <a:pt x="1047" y="931"/>
                </a:lnTo>
                <a:lnTo>
                  <a:pt x="1047" y="957"/>
                </a:lnTo>
                <a:lnTo>
                  <a:pt x="1014" y="980"/>
                </a:lnTo>
                <a:lnTo>
                  <a:pt x="1001" y="960"/>
                </a:lnTo>
                <a:lnTo>
                  <a:pt x="978" y="940"/>
                </a:lnTo>
                <a:lnTo>
                  <a:pt x="965" y="966"/>
                </a:lnTo>
                <a:lnTo>
                  <a:pt x="984" y="993"/>
                </a:lnTo>
                <a:lnTo>
                  <a:pt x="1001" y="1016"/>
                </a:lnTo>
                <a:lnTo>
                  <a:pt x="1008" y="1040"/>
                </a:lnTo>
                <a:lnTo>
                  <a:pt x="975" y="1014"/>
                </a:lnTo>
                <a:lnTo>
                  <a:pt x="973" y="995"/>
                </a:lnTo>
                <a:lnTo>
                  <a:pt x="958" y="983"/>
                </a:lnTo>
                <a:lnTo>
                  <a:pt x="953" y="913"/>
                </a:lnTo>
                <a:lnTo>
                  <a:pt x="932" y="919"/>
                </a:lnTo>
                <a:lnTo>
                  <a:pt x="923" y="917"/>
                </a:lnTo>
                <a:lnTo>
                  <a:pt x="920" y="893"/>
                </a:lnTo>
                <a:lnTo>
                  <a:pt x="903" y="863"/>
                </a:lnTo>
                <a:lnTo>
                  <a:pt x="870" y="881"/>
                </a:lnTo>
                <a:lnTo>
                  <a:pt x="816" y="915"/>
                </a:lnTo>
                <a:lnTo>
                  <a:pt x="808" y="941"/>
                </a:lnTo>
                <a:lnTo>
                  <a:pt x="786" y="984"/>
                </a:lnTo>
                <a:lnTo>
                  <a:pt x="773" y="965"/>
                </a:lnTo>
                <a:lnTo>
                  <a:pt x="745" y="879"/>
                </a:lnTo>
                <a:lnTo>
                  <a:pt x="726" y="875"/>
                </a:lnTo>
                <a:lnTo>
                  <a:pt x="694" y="835"/>
                </a:lnTo>
                <a:lnTo>
                  <a:pt x="619" y="832"/>
                </a:lnTo>
                <a:lnTo>
                  <a:pt x="614" y="820"/>
                </a:lnTo>
                <a:lnTo>
                  <a:pt x="547" y="791"/>
                </a:lnTo>
                <a:lnTo>
                  <a:pt x="547" y="811"/>
                </a:lnTo>
                <a:lnTo>
                  <a:pt x="567" y="827"/>
                </a:lnTo>
                <a:lnTo>
                  <a:pt x="568" y="841"/>
                </a:lnTo>
                <a:lnTo>
                  <a:pt x="594" y="844"/>
                </a:lnTo>
                <a:lnTo>
                  <a:pt x="606" y="832"/>
                </a:lnTo>
                <a:lnTo>
                  <a:pt x="610" y="839"/>
                </a:lnTo>
                <a:lnTo>
                  <a:pt x="634" y="857"/>
                </a:lnTo>
                <a:lnTo>
                  <a:pt x="628" y="879"/>
                </a:lnTo>
                <a:lnTo>
                  <a:pt x="577" y="915"/>
                </a:lnTo>
                <a:lnTo>
                  <a:pt x="515" y="946"/>
                </a:lnTo>
                <a:lnTo>
                  <a:pt x="497" y="926"/>
                </a:lnTo>
                <a:lnTo>
                  <a:pt x="487" y="900"/>
                </a:lnTo>
                <a:lnTo>
                  <a:pt x="455" y="846"/>
                </a:lnTo>
                <a:lnTo>
                  <a:pt x="434" y="810"/>
                </a:lnTo>
                <a:lnTo>
                  <a:pt x="425" y="824"/>
                </a:lnTo>
                <a:lnTo>
                  <a:pt x="452" y="872"/>
                </a:lnTo>
                <a:lnTo>
                  <a:pt x="472" y="924"/>
                </a:lnTo>
                <a:lnTo>
                  <a:pt x="495" y="941"/>
                </a:lnTo>
                <a:lnTo>
                  <a:pt x="512" y="965"/>
                </a:lnTo>
                <a:lnTo>
                  <a:pt x="551" y="956"/>
                </a:lnTo>
                <a:lnTo>
                  <a:pt x="566" y="966"/>
                </a:lnTo>
                <a:lnTo>
                  <a:pt x="530" y="1028"/>
                </a:lnTo>
                <a:lnTo>
                  <a:pt x="467" y="1103"/>
                </a:lnTo>
                <a:lnTo>
                  <a:pt x="480" y="1138"/>
                </a:lnTo>
                <a:lnTo>
                  <a:pt x="481" y="1173"/>
                </a:lnTo>
                <a:lnTo>
                  <a:pt x="453" y="1199"/>
                </a:lnTo>
                <a:lnTo>
                  <a:pt x="431" y="1224"/>
                </a:lnTo>
                <a:lnTo>
                  <a:pt x="436" y="1253"/>
                </a:lnTo>
                <a:lnTo>
                  <a:pt x="415" y="1275"/>
                </a:lnTo>
                <a:lnTo>
                  <a:pt x="403" y="1303"/>
                </a:lnTo>
                <a:lnTo>
                  <a:pt x="356" y="1351"/>
                </a:lnTo>
                <a:lnTo>
                  <a:pt x="299" y="1353"/>
                </a:lnTo>
                <a:lnTo>
                  <a:pt x="273" y="1293"/>
                </a:lnTo>
                <a:lnTo>
                  <a:pt x="263" y="1242"/>
                </a:lnTo>
                <a:lnTo>
                  <a:pt x="240" y="1202"/>
                </a:lnTo>
                <a:lnTo>
                  <a:pt x="252" y="1120"/>
                </a:lnTo>
                <a:lnTo>
                  <a:pt x="216" y="1056"/>
                </a:lnTo>
                <a:lnTo>
                  <a:pt x="223" y="1018"/>
                </a:lnTo>
                <a:lnTo>
                  <a:pt x="189" y="1012"/>
                </a:lnTo>
                <a:lnTo>
                  <a:pt x="179" y="999"/>
                </a:lnTo>
                <a:lnTo>
                  <a:pt x="136" y="1016"/>
                </a:lnTo>
                <a:lnTo>
                  <a:pt x="118" y="1009"/>
                </a:lnTo>
                <a:lnTo>
                  <a:pt x="81" y="1016"/>
                </a:lnTo>
                <a:lnTo>
                  <a:pt x="37" y="989"/>
                </a:lnTo>
                <a:lnTo>
                  <a:pt x="0" y="928"/>
                </a:lnTo>
                <a:lnTo>
                  <a:pt x="8" y="887"/>
                </a:lnTo>
                <a:lnTo>
                  <a:pt x="6" y="862"/>
                </a:lnTo>
                <a:lnTo>
                  <a:pt x="61" y="795"/>
                </a:lnTo>
                <a:lnTo>
                  <a:pt x="89" y="752"/>
                </a:lnTo>
                <a:lnTo>
                  <a:pt x="96" y="735"/>
                </a:lnTo>
                <a:lnTo>
                  <a:pt x="126" y="742"/>
                </a:lnTo>
                <a:lnTo>
                  <a:pt x="167" y="721"/>
                </a:lnTo>
                <a:lnTo>
                  <a:pt x="230" y="724"/>
                </a:lnTo>
                <a:lnTo>
                  <a:pt x="235" y="745"/>
                </a:lnTo>
                <a:lnTo>
                  <a:pt x="269" y="769"/>
                </a:lnTo>
                <a:lnTo>
                  <a:pt x="299" y="788"/>
                </a:lnTo>
                <a:lnTo>
                  <a:pt x="316" y="757"/>
                </a:lnTo>
                <a:lnTo>
                  <a:pt x="351" y="777"/>
                </a:lnTo>
                <a:lnTo>
                  <a:pt x="392" y="780"/>
                </a:lnTo>
                <a:lnTo>
                  <a:pt x="429" y="775"/>
                </a:lnTo>
                <a:lnTo>
                  <a:pt x="440" y="731"/>
                </a:lnTo>
                <a:lnTo>
                  <a:pt x="416" y="733"/>
                </a:lnTo>
                <a:lnTo>
                  <a:pt x="386" y="730"/>
                </a:lnTo>
                <a:lnTo>
                  <a:pt x="368" y="706"/>
                </a:lnTo>
                <a:lnTo>
                  <a:pt x="354" y="689"/>
                </a:lnTo>
                <a:lnTo>
                  <a:pt x="339" y="688"/>
                </a:lnTo>
                <a:lnTo>
                  <a:pt x="349" y="711"/>
                </a:lnTo>
                <a:lnTo>
                  <a:pt x="329" y="728"/>
                </a:lnTo>
                <a:lnTo>
                  <a:pt x="310" y="697"/>
                </a:lnTo>
                <a:lnTo>
                  <a:pt x="304" y="663"/>
                </a:lnTo>
                <a:lnTo>
                  <a:pt x="256" y="627"/>
                </a:lnTo>
                <a:lnTo>
                  <a:pt x="247" y="635"/>
                </a:lnTo>
                <a:lnTo>
                  <a:pt x="285" y="678"/>
                </a:lnTo>
                <a:lnTo>
                  <a:pt x="296" y="692"/>
                </a:lnTo>
                <a:lnTo>
                  <a:pt x="285" y="700"/>
                </a:lnTo>
                <a:lnTo>
                  <a:pt x="269" y="731"/>
                </a:lnTo>
                <a:lnTo>
                  <a:pt x="249" y="709"/>
                </a:lnTo>
                <a:lnTo>
                  <a:pt x="268" y="688"/>
                </a:lnTo>
                <a:lnTo>
                  <a:pt x="227" y="646"/>
                </a:lnTo>
                <a:lnTo>
                  <a:pt x="195" y="656"/>
                </a:lnTo>
                <a:lnTo>
                  <a:pt x="178" y="651"/>
                </a:lnTo>
                <a:lnTo>
                  <a:pt x="150" y="689"/>
                </a:lnTo>
                <a:lnTo>
                  <a:pt x="134" y="716"/>
                </a:lnTo>
                <a:lnTo>
                  <a:pt x="90" y="721"/>
                </a:lnTo>
                <a:lnTo>
                  <a:pt x="74" y="714"/>
                </a:lnTo>
                <a:lnTo>
                  <a:pt x="71" y="654"/>
                </a:lnTo>
                <a:lnTo>
                  <a:pt x="131" y="653"/>
                </a:lnTo>
                <a:lnTo>
                  <a:pt x="129" y="617"/>
                </a:lnTo>
                <a:lnTo>
                  <a:pt x="105" y="598"/>
                </a:lnTo>
                <a:lnTo>
                  <a:pt x="117" y="588"/>
                </a:lnTo>
                <a:lnTo>
                  <a:pt x="132" y="590"/>
                </a:lnTo>
                <a:lnTo>
                  <a:pt x="129" y="576"/>
                </a:lnTo>
                <a:lnTo>
                  <a:pt x="157" y="570"/>
                </a:lnTo>
                <a:lnTo>
                  <a:pt x="179" y="547"/>
                </a:lnTo>
                <a:lnTo>
                  <a:pt x="186" y="530"/>
                </a:lnTo>
                <a:lnTo>
                  <a:pt x="214" y="522"/>
                </a:lnTo>
                <a:lnTo>
                  <a:pt x="209" y="484"/>
                </a:lnTo>
                <a:lnTo>
                  <a:pt x="230" y="463"/>
                </a:lnTo>
                <a:lnTo>
                  <a:pt x="233" y="485"/>
                </a:lnTo>
                <a:lnTo>
                  <a:pt x="222" y="503"/>
                </a:lnTo>
                <a:lnTo>
                  <a:pt x="232" y="519"/>
                </a:lnTo>
                <a:lnTo>
                  <a:pt x="265" y="504"/>
                </a:lnTo>
                <a:lnTo>
                  <a:pt x="269" y="512"/>
                </a:lnTo>
                <a:lnTo>
                  <a:pt x="298" y="507"/>
                </a:lnTo>
                <a:lnTo>
                  <a:pt x="326" y="461"/>
                </a:lnTo>
                <a:lnTo>
                  <a:pt x="337" y="474"/>
                </a:lnTo>
                <a:lnTo>
                  <a:pt x="345" y="455"/>
                </a:lnTo>
                <a:lnTo>
                  <a:pt x="332" y="443"/>
                </a:lnTo>
                <a:lnTo>
                  <a:pt x="377" y="433"/>
                </a:lnTo>
                <a:lnTo>
                  <a:pt x="379" y="417"/>
                </a:lnTo>
                <a:lnTo>
                  <a:pt x="336" y="427"/>
                </a:lnTo>
                <a:lnTo>
                  <a:pt x="318" y="411"/>
                </a:lnTo>
                <a:lnTo>
                  <a:pt x="317" y="381"/>
                </a:lnTo>
                <a:lnTo>
                  <a:pt x="353" y="329"/>
                </a:lnTo>
                <a:lnTo>
                  <a:pt x="326" y="325"/>
                </a:lnTo>
                <a:lnTo>
                  <a:pt x="318" y="342"/>
                </a:lnTo>
                <a:lnTo>
                  <a:pt x="287" y="385"/>
                </a:lnTo>
                <a:lnTo>
                  <a:pt x="277" y="405"/>
                </a:lnTo>
                <a:lnTo>
                  <a:pt x="297" y="423"/>
                </a:lnTo>
                <a:lnTo>
                  <a:pt x="294" y="442"/>
                </a:lnTo>
                <a:lnTo>
                  <a:pt x="279" y="450"/>
                </a:lnTo>
                <a:lnTo>
                  <a:pt x="279" y="486"/>
                </a:lnTo>
                <a:lnTo>
                  <a:pt x="250" y="495"/>
                </a:lnTo>
                <a:lnTo>
                  <a:pt x="241" y="470"/>
                </a:lnTo>
                <a:lnTo>
                  <a:pt x="232" y="441"/>
                </a:lnTo>
                <a:lnTo>
                  <a:pt x="198" y="458"/>
                </a:lnTo>
                <a:lnTo>
                  <a:pt x="185" y="409"/>
                </a:lnTo>
                <a:lnTo>
                  <a:pt x="225" y="359"/>
                </a:lnTo>
                <a:lnTo>
                  <a:pt x="289" y="226"/>
                </a:lnTo>
                <a:lnTo>
                  <a:pt x="401" y="210"/>
                </a:lnTo>
                <a:lnTo>
                  <a:pt x="410" y="238"/>
                </a:lnTo>
                <a:lnTo>
                  <a:pt x="474" y="274"/>
                </a:lnTo>
                <a:lnTo>
                  <a:pt x="485" y="302"/>
                </a:lnTo>
                <a:lnTo>
                  <a:pt x="436" y="316"/>
                </a:lnTo>
                <a:lnTo>
                  <a:pt x="433" y="347"/>
                </a:lnTo>
                <a:lnTo>
                  <a:pt x="505" y="312"/>
                </a:lnTo>
                <a:lnTo>
                  <a:pt x="502" y="260"/>
                </a:lnTo>
                <a:lnTo>
                  <a:pt x="528" y="272"/>
                </a:lnTo>
                <a:lnTo>
                  <a:pt x="538" y="295"/>
                </a:lnTo>
                <a:lnTo>
                  <a:pt x="590" y="264"/>
                </a:lnTo>
                <a:lnTo>
                  <a:pt x="632" y="235"/>
                </a:lnTo>
                <a:lnTo>
                  <a:pt x="637" y="213"/>
                </a:lnTo>
                <a:lnTo>
                  <a:pt x="667" y="238"/>
                </a:lnTo>
                <a:lnTo>
                  <a:pt x="710" y="254"/>
                </a:lnTo>
                <a:lnTo>
                  <a:pt x="694" y="211"/>
                </a:lnTo>
                <a:lnTo>
                  <a:pt x="713" y="163"/>
                </a:lnTo>
                <a:lnTo>
                  <a:pt x="745" y="159"/>
                </a:lnTo>
                <a:lnTo>
                  <a:pt x="736" y="202"/>
                </a:lnTo>
                <a:lnTo>
                  <a:pt x="743" y="253"/>
                </a:lnTo>
                <a:lnTo>
                  <a:pt x="714" y="316"/>
                </a:lnTo>
                <a:lnTo>
                  <a:pt x="724" y="321"/>
                </a:lnTo>
                <a:lnTo>
                  <a:pt x="757" y="268"/>
                </a:lnTo>
                <a:lnTo>
                  <a:pt x="746" y="220"/>
                </a:lnTo>
                <a:lnTo>
                  <a:pt x="764" y="171"/>
                </a:lnTo>
                <a:lnTo>
                  <a:pt x="781" y="173"/>
                </a:lnTo>
                <a:lnTo>
                  <a:pt x="802" y="178"/>
                </a:lnTo>
                <a:lnTo>
                  <a:pt x="825" y="201"/>
                </a:lnTo>
                <a:lnTo>
                  <a:pt x="836" y="189"/>
                </a:lnTo>
                <a:lnTo>
                  <a:pt x="813" y="168"/>
                </a:lnTo>
                <a:lnTo>
                  <a:pt x="809" y="136"/>
                </a:lnTo>
                <a:lnTo>
                  <a:pt x="860" y="126"/>
                </a:lnTo>
                <a:lnTo>
                  <a:pt x="854" y="1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4" name="îSḷiḍé">
            <a:extLst>
              <a:ext uri="{FF2B5EF4-FFF2-40B4-BE49-F238E27FC236}">
                <a16:creationId xmlns:a16="http://schemas.microsoft.com/office/drawing/2014/main" id="{9A9C7AB5-2497-407F-B8FA-7A454E29EAF1}"/>
              </a:ext>
            </a:extLst>
          </p:cNvPr>
          <p:cNvSpPr/>
          <p:nvPr/>
        </p:nvSpPr>
        <p:spPr bwMode="auto">
          <a:xfrm>
            <a:off x="9060837" y="102126"/>
            <a:ext cx="307952" cy="430227"/>
          </a:xfrm>
          <a:custGeom>
            <a:avLst/>
            <a:gdLst>
              <a:gd name="T0" fmla="*/ 23 w 136"/>
              <a:gd name="T1" fmla="*/ 190 h 190"/>
              <a:gd name="T2" fmla="*/ 7 w 136"/>
              <a:gd name="T3" fmla="*/ 174 h 190"/>
              <a:gd name="T4" fmla="*/ 0 w 136"/>
              <a:gd name="T5" fmla="*/ 131 h 190"/>
              <a:gd name="T6" fmla="*/ 67 w 136"/>
              <a:gd name="T7" fmla="*/ 28 h 190"/>
              <a:gd name="T8" fmla="*/ 133 w 136"/>
              <a:gd name="T9" fmla="*/ 0 h 190"/>
              <a:gd name="T10" fmla="*/ 136 w 136"/>
              <a:gd name="T11" fmla="*/ 15 h 190"/>
              <a:gd name="T12" fmla="*/ 84 w 136"/>
              <a:gd name="T13" fmla="*/ 51 h 190"/>
              <a:gd name="T14" fmla="*/ 31 w 136"/>
              <a:gd name="T15" fmla="*/ 146 h 190"/>
              <a:gd name="T16" fmla="*/ 36 w 136"/>
              <a:gd name="T17" fmla="*/ 185 h 190"/>
              <a:gd name="T18" fmla="*/ 23 w 136"/>
              <a:gd name="T19" fmla="*/ 190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6" h="190">
                <a:moveTo>
                  <a:pt x="23" y="190"/>
                </a:moveTo>
                <a:lnTo>
                  <a:pt x="7" y="174"/>
                </a:lnTo>
                <a:lnTo>
                  <a:pt x="0" y="131"/>
                </a:lnTo>
                <a:lnTo>
                  <a:pt x="67" y="28"/>
                </a:lnTo>
                <a:lnTo>
                  <a:pt x="133" y="0"/>
                </a:lnTo>
                <a:lnTo>
                  <a:pt x="136" y="15"/>
                </a:lnTo>
                <a:lnTo>
                  <a:pt x="84" y="51"/>
                </a:lnTo>
                <a:lnTo>
                  <a:pt x="31" y="146"/>
                </a:lnTo>
                <a:lnTo>
                  <a:pt x="36" y="185"/>
                </a:lnTo>
                <a:lnTo>
                  <a:pt x="23" y="1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5" name="îS1ïdé">
            <a:extLst>
              <a:ext uri="{FF2B5EF4-FFF2-40B4-BE49-F238E27FC236}">
                <a16:creationId xmlns:a16="http://schemas.microsoft.com/office/drawing/2014/main" id="{55B44407-9BBF-4A50-AE3A-75E10AB7A8B0}"/>
              </a:ext>
            </a:extLst>
          </p:cNvPr>
          <p:cNvSpPr/>
          <p:nvPr/>
        </p:nvSpPr>
        <p:spPr bwMode="auto">
          <a:xfrm>
            <a:off x="8603438" y="1444887"/>
            <a:ext cx="276251" cy="138126"/>
          </a:xfrm>
          <a:custGeom>
            <a:avLst/>
            <a:gdLst>
              <a:gd name="T0" fmla="*/ 122 w 122"/>
              <a:gd name="T1" fmla="*/ 53 h 61"/>
              <a:gd name="T2" fmla="*/ 102 w 122"/>
              <a:gd name="T3" fmla="*/ 35 h 61"/>
              <a:gd name="T4" fmla="*/ 70 w 122"/>
              <a:gd name="T5" fmla="*/ 14 h 61"/>
              <a:gd name="T6" fmla="*/ 45 w 122"/>
              <a:gd name="T7" fmla="*/ 20 h 61"/>
              <a:gd name="T8" fmla="*/ 47 w 122"/>
              <a:gd name="T9" fmla="*/ 2 h 61"/>
              <a:gd name="T10" fmla="*/ 20 w 122"/>
              <a:gd name="T11" fmla="*/ 0 h 61"/>
              <a:gd name="T12" fmla="*/ 0 w 122"/>
              <a:gd name="T13" fmla="*/ 49 h 61"/>
              <a:gd name="T14" fmla="*/ 26 w 122"/>
              <a:gd name="T15" fmla="*/ 59 h 61"/>
              <a:gd name="T16" fmla="*/ 64 w 122"/>
              <a:gd name="T17" fmla="*/ 52 h 61"/>
              <a:gd name="T18" fmla="*/ 84 w 122"/>
              <a:gd name="T19" fmla="*/ 61 h 61"/>
              <a:gd name="T20" fmla="*/ 122 w 122"/>
              <a:gd name="T21" fmla="*/ 53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2" h="61">
                <a:moveTo>
                  <a:pt x="122" y="53"/>
                </a:moveTo>
                <a:lnTo>
                  <a:pt x="102" y="35"/>
                </a:lnTo>
                <a:lnTo>
                  <a:pt x="70" y="14"/>
                </a:lnTo>
                <a:lnTo>
                  <a:pt x="45" y="20"/>
                </a:lnTo>
                <a:lnTo>
                  <a:pt x="47" y="2"/>
                </a:lnTo>
                <a:lnTo>
                  <a:pt x="20" y="0"/>
                </a:lnTo>
                <a:lnTo>
                  <a:pt x="0" y="49"/>
                </a:lnTo>
                <a:lnTo>
                  <a:pt x="26" y="59"/>
                </a:lnTo>
                <a:lnTo>
                  <a:pt x="64" y="52"/>
                </a:lnTo>
                <a:lnTo>
                  <a:pt x="84" y="61"/>
                </a:lnTo>
                <a:lnTo>
                  <a:pt x="122" y="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66" name="îś1ïḑè">
            <a:extLst>
              <a:ext uri="{FF2B5EF4-FFF2-40B4-BE49-F238E27FC236}">
                <a16:creationId xmlns:a16="http://schemas.microsoft.com/office/drawing/2014/main" id="{D8053591-C932-4BF0-BBC7-B65C72A64CA8}"/>
              </a:ext>
            </a:extLst>
          </p:cNvPr>
          <p:cNvSpPr/>
          <p:nvPr/>
        </p:nvSpPr>
        <p:spPr bwMode="auto">
          <a:xfrm>
            <a:off x="8954412" y="1417715"/>
            <a:ext cx="149447" cy="260401"/>
          </a:xfrm>
          <a:custGeom>
            <a:avLst/>
            <a:gdLst>
              <a:gd name="T0" fmla="*/ 55 w 66"/>
              <a:gd name="T1" fmla="*/ 115 h 115"/>
              <a:gd name="T2" fmla="*/ 61 w 66"/>
              <a:gd name="T3" fmla="*/ 93 h 115"/>
              <a:gd name="T4" fmla="*/ 36 w 66"/>
              <a:gd name="T5" fmla="*/ 38 h 115"/>
              <a:gd name="T6" fmla="*/ 66 w 66"/>
              <a:gd name="T7" fmla="*/ 22 h 115"/>
              <a:gd name="T8" fmla="*/ 50 w 66"/>
              <a:gd name="T9" fmla="*/ 0 h 115"/>
              <a:gd name="T10" fmla="*/ 14 w 66"/>
              <a:gd name="T11" fmla="*/ 8 h 115"/>
              <a:gd name="T12" fmla="*/ 0 w 66"/>
              <a:gd name="T13" fmla="*/ 31 h 115"/>
              <a:gd name="T14" fmla="*/ 24 w 66"/>
              <a:gd name="T15" fmla="*/ 80 h 115"/>
              <a:gd name="T16" fmla="*/ 21 w 66"/>
              <a:gd name="T17" fmla="*/ 107 h 115"/>
              <a:gd name="T18" fmla="*/ 55 w 66"/>
              <a:gd name="T19" fmla="*/ 115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6" h="115">
                <a:moveTo>
                  <a:pt x="55" y="115"/>
                </a:moveTo>
                <a:lnTo>
                  <a:pt x="61" y="93"/>
                </a:lnTo>
                <a:lnTo>
                  <a:pt x="36" y="38"/>
                </a:lnTo>
                <a:lnTo>
                  <a:pt x="66" y="22"/>
                </a:lnTo>
                <a:lnTo>
                  <a:pt x="50" y="0"/>
                </a:lnTo>
                <a:lnTo>
                  <a:pt x="14" y="8"/>
                </a:lnTo>
                <a:lnTo>
                  <a:pt x="0" y="31"/>
                </a:lnTo>
                <a:lnTo>
                  <a:pt x="24" y="80"/>
                </a:lnTo>
                <a:lnTo>
                  <a:pt x="21" y="107"/>
                </a:lnTo>
                <a:lnTo>
                  <a:pt x="55" y="11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70000" lnSpcReduction="20000"/>
          </a:bodyPr>
          <a:lstStyle/>
          <a:p>
            <a:pPr algn="ctr"/>
            <a:endParaRPr/>
          </a:p>
        </p:txBody>
      </p:sp>
      <p:sp>
        <p:nvSpPr>
          <p:cNvPr id="167" name="işḻídê">
            <a:extLst>
              <a:ext uri="{FF2B5EF4-FFF2-40B4-BE49-F238E27FC236}">
                <a16:creationId xmlns:a16="http://schemas.microsoft.com/office/drawing/2014/main" id="{4C02170E-36B0-4FAA-ACF6-90C4282CC594}"/>
              </a:ext>
            </a:extLst>
          </p:cNvPr>
          <p:cNvSpPr/>
          <p:nvPr/>
        </p:nvSpPr>
        <p:spPr bwMode="auto">
          <a:xfrm>
            <a:off x="10729665" y="1220716"/>
            <a:ext cx="63402" cy="230964"/>
          </a:xfrm>
          <a:custGeom>
            <a:avLst/>
            <a:gdLst>
              <a:gd name="T0" fmla="*/ 13 w 28"/>
              <a:gd name="T1" fmla="*/ 0 h 102"/>
              <a:gd name="T2" fmla="*/ 17 w 28"/>
              <a:gd name="T3" fmla="*/ 15 h 102"/>
              <a:gd name="T4" fmla="*/ 18 w 28"/>
              <a:gd name="T5" fmla="*/ 43 h 102"/>
              <a:gd name="T6" fmla="*/ 28 w 28"/>
              <a:gd name="T7" fmla="*/ 63 h 102"/>
              <a:gd name="T8" fmla="*/ 14 w 28"/>
              <a:gd name="T9" fmla="*/ 63 h 102"/>
              <a:gd name="T10" fmla="*/ 15 w 28"/>
              <a:gd name="T11" fmla="*/ 82 h 102"/>
              <a:gd name="T12" fmla="*/ 20 w 28"/>
              <a:gd name="T13" fmla="*/ 100 h 102"/>
              <a:gd name="T14" fmla="*/ 10 w 28"/>
              <a:gd name="T15" fmla="*/ 94 h 102"/>
              <a:gd name="T16" fmla="*/ 0 w 28"/>
              <a:gd name="T17" fmla="*/ 102 h 102"/>
              <a:gd name="T18" fmla="*/ 7 w 28"/>
              <a:gd name="T19" fmla="*/ 36 h 102"/>
              <a:gd name="T20" fmla="*/ 4 w 28"/>
              <a:gd name="T21" fmla="*/ 10 h 102"/>
              <a:gd name="T22" fmla="*/ 13 w 28"/>
              <a:gd name="T23" fmla="*/ 0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8" h="102">
                <a:moveTo>
                  <a:pt x="13" y="0"/>
                </a:moveTo>
                <a:lnTo>
                  <a:pt x="17" y="15"/>
                </a:lnTo>
                <a:lnTo>
                  <a:pt x="18" y="43"/>
                </a:lnTo>
                <a:lnTo>
                  <a:pt x="28" y="63"/>
                </a:lnTo>
                <a:lnTo>
                  <a:pt x="14" y="63"/>
                </a:lnTo>
                <a:lnTo>
                  <a:pt x="15" y="82"/>
                </a:lnTo>
                <a:lnTo>
                  <a:pt x="20" y="100"/>
                </a:lnTo>
                <a:lnTo>
                  <a:pt x="10" y="94"/>
                </a:lnTo>
                <a:lnTo>
                  <a:pt x="0" y="102"/>
                </a:lnTo>
                <a:lnTo>
                  <a:pt x="7" y="36"/>
                </a:lnTo>
                <a:lnTo>
                  <a:pt x="4" y="10"/>
                </a:lnTo>
                <a:lnTo>
                  <a:pt x="1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/>
          </a:p>
        </p:txBody>
      </p:sp>
      <p:sp>
        <p:nvSpPr>
          <p:cNvPr id="168" name="íṡļiḍê">
            <a:extLst>
              <a:ext uri="{FF2B5EF4-FFF2-40B4-BE49-F238E27FC236}">
                <a16:creationId xmlns:a16="http://schemas.microsoft.com/office/drawing/2014/main" id="{760482A0-CF49-41A4-945E-D5EE1C11B2D9}"/>
              </a:ext>
            </a:extLst>
          </p:cNvPr>
          <p:cNvSpPr/>
          <p:nvPr/>
        </p:nvSpPr>
        <p:spPr bwMode="auto">
          <a:xfrm>
            <a:off x="10700228" y="1469795"/>
            <a:ext cx="104160" cy="97367"/>
          </a:xfrm>
          <a:custGeom>
            <a:avLst/>
            <a:gdLst>
              <a:gd name="T0" fmla="*/ 14 w 46"/>
              <a:gd name="T1" fmla="*/ 0 h 43"/>
              <a:gd name="T2" fmla="*/ 32 w 46"/>
              <a:gd name="T3" fmla="*/ 10 h 43"/>
              <a:gd name="T4" fmla="*/ 46 w 46"/>
              <a:gd name="T5" fmla="*/ 12 h 43"/>
              <a:gd name="T6" fmla="*/ 46 w 46"/>
              <a:gd name="T7" fmla="*/ 31 h 43"/>
              <a:gd name="T8" fmla="*/ 31 w 46"/>
              <a:gd name="T9" fmla="*/ 36 h 43"/>
              <a:gd name="T10" fmla="*/ 12 w 46"/>
              <a:gd name="T11" fmla="*/ 34 h 43"/>
              <a:gd name="T12" fmla="*/ 11 w 46"/>
              <a:gd name="T13" fmla="*/ 43 h 43"/>
              <a:gd name="T14" fmla="*/ 0 w 46"/>
              <a:gd name="T15" fmla="*/ 32 h 43"/>
              <a:gd name="T16" fmla="*/ 11 w 46"/>
              <a:gd name="T17" fmla="*/ 19 h 43"/>
              <a:gd name="T18" fmla="*/ 14 w 46"/>
              <a:gd name="T19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6" h="43">
                <a:moveTo>
                  <a:pt x="14" y="0"/>
                </a:moveTo>
                <a:lnTo>
                  <a:pt x="32" y="10"/>
                </a:lnTo>
                <a:lnTo>
                  <a:pt x="46" y="12"/>
                </a:lnTo>
                <a:lnTo>
                  <a:pt x="46" y="31"/>
                </a:lnTo>
                <a:lnTo>
                  <a:pt x="31" y="36"/>
                </a:lnTo>
                <a:lnTo>
                  <a:pt x="12" y="34"/>
                </a:lnTo>
                <a:lnTo>
                  <a:pt x="11" y="43"/>
                </a:lnTo>
                <a:lnTo>
                  <a:pt x="0" y="32"/>
                </a:lnTo>
                <a:lnTo>
                  <a:pt x="11" y="19"/>
                </a:lnTo>
                <a:lnTo>
                  <a:pt x="1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69" name="íṡļîḋe">
            <a:extLst>
              <a:ext uri="{FF2B5EF4-FFF2-40B4-BE49-F238E27FC236}">
                <a16:creationId xmlns:a16="http://schemas.microsoft.com/office/drawing/2014/main" id="{2548B481-7464-4046-89ED-9AF034396BED}"/>
              </a:ext>
            </a:extLst>
          </p:cNvPr>
          <p:cNvSpPr/>
          <p:nvPr/>
        </p:nvSpPr>
        <p:spPr bwMode="auto">
          <a:xfrm>
            <a:off x="10510023" y="1752839"/>
            <a:ext cx="43023" cy="70195"/>
          </a:xfrm>
          <a:custGeom>
            <a:avLst/>
            <a:gdLst>
              <a:gd name="T0" fmla="*/ 7 w 19"/>
              <a:gd name="T1" fmla="*/ 31 h 31"/>
              <a:gd name="T2" fmla="*/ 19 w 19"/>
              <a:gd name="T3" fmla="*/ 12 h 31"/>
              <a:gd name="T4" fmla="*/ 17 w 19"/>
              <a:gd name="T5" fmla="*/ 0 h 31"/>
              <a:gd name="T6" fmla="*/ 6 w 19"/>
              <a:gd name="T7" fmla="*/ 0 h 31"/>
              <a:gd name="T8" fmla="*/ 0 w 19"/>
              <a:gd name="T9" fmla="*/ 5 h 31"/>
              <a:gd name="T10" fmla="*/ 1 w 19"/>
              <a:gd name="T11" fmla="*/ 11 h 31"/>
              <a:gd name="T12" fmla="*/ 7 w 19"/>
              <a:gd name="T13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" h="31">
                <a:moveTo>
                  <a:pt x="7" y="31"/>
                </a:moveTo>
                <a:lnTo>
                  <a:pt x="19" y="12"/>
                </a:lnTo>
                <a:lnTo>
                  <a:pt x="17" y="0"/>
                </a:lnTo>
                <a:lnTo>
                  <a:pt x="6" y="0"/>
                </a:lnTo>
                <a:lnTo>
                  <a:pt x="0" y="5"/>
                </a:lnTo>
                <a:lnTo>
                  <a:pt x="1" y="11"/>
                </a:lnTo>
                <a:lnTo>
                  <a:pt x="7" y="3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0" name="ïŝľiḑè">
            <a:extLst>
              <a:ext uri="{FF2B5EF4-FFF2-40B4-BE49-F238E27FC236}">
                <a16:creationId xmlns:a16="http://schemas.microsoft.com/office/drawing/2014/main" id="{01E71914-CAAF-40FA-82B2-A39CF8F7FAE2}"/>
              </a:ext>
            </a:extLst>
          </p:cNvPr>
          <p:cNvSpPr/>
          <p:nvPr/>
        </p:nvSpPr>
        <p:spPr bwMode="auto">
          <a:xfrm>
            <a:off x="10534931" y="1571691"/>
            <a:ext cx="201527" cy="203792"/>
          </a:xfrm>
          <a:custGeom>
            <a:avLst/>
            <a:gdLst>
              <a:gd name="T0" fmla="*/ 75 w 89"/>
              <a:gd name="T1" fmla="*/ 0 h 90"/>
              <a:gd name="T2" fmla="*/ 89 w 89"/>
              <a:gd name="T3" fmla="*/ 11 h 90"/>
              <a:gd name="T4" fmla="*/ 86 w 89"/>
              <a:gd name="T5" fmla="*/ 33 h 90"/>
              <a:gd name="T6" fmla="*/ 80 w 89"/>
              <a:gd name="T7" fmla="*/ 53 h 90"/>
              <a:gd name="T8" fmla="*/ 68 w 89"/>
              <a:gd name="T9" fmla="*/ 68 h 90"/>
              <a:gd name="T10" fmla="*/ 47 w 89"/>
              <a:gd name="T11" fmla="*/ 69 h 90"/>
              <a:gd name="T12" fmla="*/ 42 w 89"/>
              <a:gd name="T13" fmla="*/ 82 h 90"/>
              <a:gd name="T14" fmla="*/ 15 w 89"/>
              <a:gd name="T15" fmla="*/ 90 h 90"/>
              <a:gd name="T16" fmla="*/ 15 w 89"/>
              <a:gd name="T17" fmla="*/ 77 h 90"/>
              <a:gd name="T18" fmla="*/ 0 w 89"/>
              <a:gd name="T19" fmla="*/ 73 h 90"/>
              <a:gd name="T20" fmla="*/ 18 w 89"/>
              <a:gd name="T21" fmla="*/ 58 h 90"/>
              <a:gd name="T22" fmla="*/ 39 w 89"/>
              <a:gd name="T23" fmla="*/ 63 h 90"/>
              <a:gd name="T24" fmla="*/ 44 w 89"/>
              <a:gd name="T25" fmla="*/ 45 h 90"/>
              <a:gd name="T26" fmla="*/ 53 w 89"/>
              <a:gd name="T27" fmla="*/ 43 h 90"/>
              <a:gd name="T28" fmla="*/ 71 w 89"/>
              <a:gd name="T29" fmla="*/ 30 h 90"/>
              <a:gd name="T30" fmla="*/ 73 w 89"/>
              <a:gd name="T31" fmla="*/ 13 h 90"/>
              <a:gd name="T32" fmla="*/ 75 w 89"/>
              <a:gd name="T33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89" h="90">
                <a:moveTo>
                  <a:pt x="75" y="0"/>
                </a:moveTo>
                <a:lnTo>
                  <a:pt x="89" y="11"/>
                </a:lnTo>
                <a:lnTo>
                  <a:pt x="86" y="33"/>
                </a:lnTo>
                <a:lnTo>
                  <a:pt x="80" y="53"/>
                </a:lnTo>
                <a:lnTo>
                  <a:pt x="68" y="68"/>
                </a:lnTo>
                <a:lnTo>
                  <a:pt x="47" y="69"/>
                </a:lnTo>
                <a:lnTo>
                  <a:pt x="42" y="82"/>
                </a:lnTo>
                <a:lnTo>
                  <a:pt x="15" y="90"/>
                </a:lnTo>
                <a:lnTo>
                  <a:pt x="15" y="77"/>
                </a:lnTo>
                <a:lnTo>
                  <a:pt x="0" y="73"/>
                </a:lnTo>
                <a:lnTo>
                  <a:pt x="18" y="58"/>
                </a:lnTo>
                <a:lnTo>
                  <a:pt x="39" y="63"/>
                </a:lnTo>
                <a:lnTo>
                  <a:pt x="44" y="45"/>
                </a:lnTo>
                <a:lnTo>
                  <a:pt x="53" y="43"/>
                </a:lnTo>
                <a:lnTo>
                  <a:pt x="71" y="30"/>
                </a:lnTo>
                <a:lnTo>
                  <a:pt x="73" y="13"/>
                </a:lnTo>
                <a:lnTo>
                  <a:pt x="7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47500" lnSpcReduction="20000"/>
          </a:bodyPr>
          <a:lstStyle/>
          <a:p>
            <a:pPr algn="ctr"/>
            <a:endParaRPr/>
          </a:p>
        </p:txBody>
      </p:sp>
      <p:sp>
        <p:nvSpPr>
          <p:cNvPr id="171" name="îṡḷiďê">
            <a:extLst>
              <a:ext uri="{FF2B5EF4-FFF2-40B4-BE49-F238E27FC236}">
                <a16:creationId xmlns:a16="http://schemas.microsoft.com/office/drawing/2014/main" id="{585941F3-0959-46C1-991F-852D0109FD61}"/>
              </a:ext>
            </a:extLst>
          </p:cNvPr>
          <p:cNvSpPr/>
          <p:nvPr/>
        </p:nvSpPr>
        <p:spPr bwMode="auto">
          <a:xfrm>
            <a:off x="10322081" y="1918137"/>
            <a:ext cx="43023" cy="74724"/>
          </a:xfrm>
          <a:custGeom>
            <a:avLst/>
            <a:gdLst>
              <a:gd name="T0" fmla="*/ 15 w 19"/>
              <a:gd name="T1" fmla="*/ 0 h 33"/>
              <a:gd name="T2" fmla="*/ 5 w 19"/>
              <a:gd name="T3" fmla="*/ 14 h 33"/>
              <a:gd name="T4" fmla="*/ 0 w 19"/>
              <a:gd name="T5" fmla="*/ 33 h 33"/>
              <a:gd name="T6" fmla="*/ 13 w 19"/>
              <a:gd name="T7" fmla="*/ 29 h 33"/>
              <a:gd name="T8" fmla="*/ 19 w 19"/>
              <a:gd name="T9" fmla="*/ 17 h 33"/>
              <a:gd name="T10" fmla="*/ 15 w 19"/>
              <a:gd name="T11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" h="33">
                <a:moveTo>
                  <a:pt x="15" y="0"/>
                </a:moveTo>
                <a:lnTo>
                  <a:pt x="5" y="14"/>
                </a:lnTo>
                <a:lnTo>
                  <a:pt x="0" y="33"/>
                </a:lnTo>
                <a:lnTo>
                  <a:pt x="13" y="29"/>
                </a:lnTo>
                <a:lnTo>
                  <a:pt x="19" y="17"/>
                </a:lnTo>
                <a:lnTo>
                  <a:pt x="1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2" name="îS1îdé">
            <a:extLst>
              <a:ext uri="{FF2B5EF4-FFF2-40B4-BE49-F238E27FC236}">
                <a16:creationId xmlns:a16="http://schemas.microsoft.com/office/drawing/2014/main" id="{28AE0E35-E12E-4E41-901B-0DD03643CC18}"/>
              </a:ext>
            </a:extLst>
          </p:cNvPr>
          <p:cNvSpPr/>
          <p:nvPr/>
        </p:nvSpPr>
        <p:spPr bwMode="auto">
          <a:xfrm>
            <a:off x="10116025" y="2038148"/>
            <a:ext cx="43023" cy="31701"/>
          </a:xfrm>
          <a:custGeom>
            <a:avLst/>
            <a:gdLst>
              <a:gd name="T0" fmla="*/ 19 w 19"/>
              <a:gd name="T1" fmla="*/ 0 h 14"/>
              <a:gd name="T2" fmla="*/ 0 w 19"/>
              <a:gd name="T3" fmla="*/ 0 h 14"/>
              <a:gd name="T4" fmla="*/ 1 w 19"/>
              <a:gd name="T5" fmla="*/ 14 h 14"/>
              <a:gd name="T6" fmla="*/ 19 w 19"/>
              <a:gd name="T7" fmla="*/ 14 h 14"/>
              <a:gd name="T8" fmla="*/ 19 w 19"/>
              <a:gd name="T9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" h="14">
                <a:moveTo>
                  <a:pt x="19" y="0"/>
                </a:moveTo>
                <a:lnTo>
                  <a:pt x="0" y="0"/>
                </a:lnTo>
                <a:lnTo>
                  <a:pt x="1" y="14"/>
                </a:lnTo>
                <a:lnTo>
                  <a:pt x="19" y="14"/>
                </a:lnTo>
                <a:lnTo>
                  <a:pt x="19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3" name="íṡ1ïḓê">
            <a:extLst>
              <a:ext uri="{FF2B5EF4-FFF2-40B4-BE49-F238E27FC236}">
                <a16:creationId xmlns:a16="http://schemas.microsoft.com/office/drawing/2014/main" id="{605E8799-F450-460D-BBAE-35AB36EF43E4}"/>
              </a:ext>
            </a:extLst>
          </p:cNvPr>
          <p:cNvSpPr/>
          <p:nvPr/>
        </p:nvSpPr>
        <p:spPr bwMode="auto">
          <a:xfrm>
            <a:off x="10328874" y="2056263"/>
            <a:ext cx="47551" cy="124539"/>
          </a:xfrm>
          <a:custGeom>
            <a:avLst/>
            <a:gdLst>
              <a:gd name="T0" fmla="*/ 17 w 21"/>
              <a:gd name="T1" fmla="*/ 0 h 55"/>
              <a:gd name="T2" fmla="*/ 6 w 21"/>
              <a:gd name="T3" fmla="*/ 5 h 55"/>
              <a:gd name="T4" fmla="*/ 0 w 21"/>
              <a:gd name="T5" fmla="*/ 23 h 55"/>
              <a:gd name="T6" fmla="*/ 8 w 21"/>
              <a:gd name="T7" fmla="*/ 55 h 55"/>
              <a:gd name="T8" fmla="*/ 17 w 21"/>
              <a:gd name="T9" fmla="*/ 44 h 55"/>
              <a:gd name="T10" fmla="*/ 17 w 21"/>
              <a:gd name="T11" fmla="*/ 27 h 55"/>
              <a:gd name="T12" fmla="*/ 21 w 21"/>
              <a:gd name="T13" fmla="*/ 19 h 55"/>
              <a:gd name="T14" fmla="*/ 17 w 21"/>
              <a:gd name="T15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55">
                <a:moveTo>
                  <a:pt x="17" y="0"/>
                </a:moveTo>
                <a:lnTo>
                  <a:pt x="6" y="5"/>
                </a:lnTo>
                <a:lnTo>
                  <a:pt x="0" y="23"/>
                </a:lnTo>
                <a:lnTo>
                  <a:pt x="8" y="55"/>
                </a:lnTo>
                <a:lnTo>
                  <a:pt x="17" y="44"/>
                </a:lnTo>
                <a:lnTo>
                  <a:pt x="17" y="27"/>
                </a:lnTo>
                <a:lnTo>
                  <a:pt x="21" y="19"/>
                </a:lnTo>
                <a:lnTo>
                  <a:pt x="1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4" name="iṡļiḍé">
            <a:extLst>
              <a:ext uri="{FF2B5EF4-FFF2-40B4-BE49-F238E27FC236}">
                <a16:creationId xmlns:a16="http://schemas.microsoft.com/office/drawing/2014/main" id="{05149519-53B3-4470-907B-54FFBD561CDB}"/>
              </a:ext>
            </a:extLst>
          </p:cNvPr>
          <p:cNvSpPr/>
          <p:nvPr/>
        </p:nvSpPr>
        <p:spPr bwMode="auto">
          <a:xfrm>
            <a:off x="10378690" y="2164952"/>
            <a:ext cx="31701" cy="31701"/>
          </a:xfrm>
          <a:custGeom>
            <a:avLst/>
            <a:gdLst>
              <a:gd name="T0" fmla="*/ 8 w 14"/>
              <a:gd name="T1" fmla="*/ 0 h 14"/>
              <a:gd name="T2" fmla="*/ 14 w 14"/>
              <a:gd name="T3" fmla="*/ 9 h 14"/>
              <a:gd name="T4" fmla="*/ 4 w 14"/>
              <a:gd name="T5" fmla="*/ 14 h 14"/>
              <a:gd name="T6" fmla="*/ 0 w 14"/>
              <a:gd name="T7" fmla="*/ 4 h 14"/>
              <a:gd name="T8" fmla="*/ 8 w 14"/>
              <a:gd name="T9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14">
                <a:moveTo>
                  <a:pt x="8" y="0"/>
                </a:moveTo>
                <a:lnTo>
                  <a:pt x="14" y="9"/>
                </a:lnTo>
                <a:lnTo>
                  <a:pt x="4" y="14"/>
                </a:lnTo>
                <a:lnTo>
                  <a:pt x="0" y="4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5" name="ïş1idê">
            <a:extLst>
              <a:ext uri="{FF2B5EF4-FFF2-40B4-BE49-F238E27FC236}">
                <a16:creationId xmlns:a16="http://schemas.microsoft.com/office/drawing/2014/main" id="{14D789B7-C2D5-4875-8CC3-B4A46A03DD91}"/>
              </a:ext>
            </a:extLst>
          </p:cNvPr>
          <p:cNvSpPr/>
          <p:nvPr/>
        </p:nvSpPr>
        <p:spPr bwMode="auto">
          <a:xfrm>
            <a:off x="10362840" y="2196653"/>
            <a:ext cx="24908" cy="29437"/>
          </a:xfrm>
          <a:custGeom>
            <a:avLst/>
            <a:gdLst>
              <a:gd name="T0" fmla="*/ 0 w 11"/>
              <a:gd name="T1" fmla="*/ 0 h 13"/>
              <a:gd name="T2" fmla="*/ 11 w 11"/>
              <a:gd name="T3" fmla="*/ 4 h 13"/>
              <a:gd name="T4" fmla="*/ 1 w 11"/>
              <a:gd name="T5" fmla="*/ 13 h 13"/>
              <a:gd name="T6" fmla="*/ 0 w 11"/>
              <a:gd name="T7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1" h="13">
                <a:moveTo>
                  <a:pt x="0" y="0"/>
                </a:moveTo>
                <a:lnTo>
                  <a:pt x="11" y="4"/>
                </a:lnTo>
                <a:lnTo>
                  <a:pt x="1" y="1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6" name="ïSľîḓé">
            <a:extLst>
              <a:ext uri="{FF2B5EF4-FFF2-40B4-BE49-F238E27FC236}">
                <a16:creationId xmlns:a16="http://schemas.microsoft.com/office/drawing/2014/main" id="{5E86F441-8E7B-4C3A-BA1C-079E195C5C83}"/>
              </a:ext>
            </a:extLst>
          </p:cNvPr>
          <p:cNvSpPr/>
          <p:nvPr/>
        </p:nvSpPr>
        <p:spPr bwMode="auto">
          <a:xfrm>
            <a:off x="10365104" y="2219296"/>
            <a:ext cx="56609" cy="43023"/>
          </a:xfrm>
          <a:custGeom>
            <a:avLst/>
            <a:gdLst>
              <a:gd name="T0" fmla="*/ 3 w 20"/>
              <a:gd name="T1" fmla="*/ 7 h 15"/>
              <a:gd name="T2" fmla="*/ 10 w 20"/>
              <a:gd name="T3" fmla="*/ 0 h 15"/>
              <a:gd name="T4" fmla="*/ 20 w 20"/>
              <a:gd name="T5" fmla="*/ 4 h 15"/>
              <a:gd name="T6" fmla="*/ 12 w 20"/>
              <a:gd name="T7" fmla="*/ 14 h 15"/>
              <a:gd name="T8" fmla="*/ 0 w 20"/>
              <a:gd name="T9" fmla="*/ 15 h 15"/>
              <a:gd name="T10" fmla="*/ 3 w 20"/>
              <a:gd name="T11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" h="15">
                <a:moveTo>
                  <a:pt x="3" y="7"/>
                </a:moveTo>
                <a:cubicBezTo>
                  <a:pt x="10" y="0"/>
                  <a:pt x="10" y="0"/>
                  <a:pt x="10" y="0"/>
                </a:cubicBezTo>
                <a:cubicBezTo>
                  <a:pt x="20" y="4"/>
                  <a:pt x="20" y="4"/>
                  <a:pt x="20" y="4"/>
                </a:cubicBezTo>
                <a:cubicBezTo>
                  <a:pt x="20" y="4"/>
                  <a:pt x="15" y="15"/>
                  <a:pt x="12" y="14"/>
                </a:cubicBezTo>
                <a:cubicBezTo>
                  <a:pt x="9" y="13"/>
                  <a:pt x="0" y="15"/>
                  <a:pt x="0" y="15"/>
                </a:cubicBezTo>
                <a:lnTo>
                  <a:pt x="3" y="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7" name="iśľîḓè">
            <a:extLst>
              <a:ext uri="{FF2B5EF4-FFF2-40B4-BE49-F238E27FC236}">
                <a16:creationId xmlns:a16="http://schemas.microsoft.com/office/drawing/2014/main" id="{73A3F47B-A5B8-4897-A729-BF4C04C331E4}"/>
              </a:ext>
            </a:extLst>
          </p:cNvPr>
          <p:cNvSpPr/>
          <p:nvPr/>
        </p:nvSpPr>
        <p:spPr bwMode="auto">
          <a:xfrm>
            <a:off x="10362840" y="2239676"/>
            <a:ext cx="88310" cy="72459"/>
          </a:xfrm>
          <a:custGeom>
            <a:avLst/>
            <a:gdLst>
              <a:gd name="T0" fmla="*/ 35 w 39"/>
              <a:gd name="T1" fmla="*/ 0 h 32"/>
              <a:gd name="T2" fmla="*/ 39 w 39"/>
              <a:gd name="T3" fmla="*/ 18 h 32"/>
              <a:gd name="T4" fmla="*/ 33 w 39"/>
              <a:gd name="T5" fmla="*/ 29 h 32"/>
              <a:gd name="T6" fmla="*/ 25 w 39"/>
              <a:gd name="T7" fmla="*/ 32 h 32"/>
              <a:gd name="T8" fmla="*/ 19 w 39"/>
              <a:gd name="T9" fmla="*/ 18 h 32"/>
              <a:gd name="T10" fmla="*/ 0 w 39"/>
              <a:gd name="T11" fmla="*/ 24 h 32"/>
              <a:gd name="T12" fmla="*/ 7 w 39"/>
              <a:gd name="T13" fmla="*/ 17 h 32"/>
              <a:gd name="T14" fmla="*/ 26 w 39"/>
              <a:gd name="T15" fmla="*/ 13 h 32"/>
              <a:gd name="T16" fmla="*/ 35 w 39"/>
              <a:gd name="T17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" h="32">
                <a:moveTo>
                  <a:pt x="35" y="0"/>
                </a:moveTo>
                <a:lnTo>
                  <a:pt x="39" y="18"/>
                </a:lnTo>
                <a:lnTo>
                  <a:pt x="33" y="29"/>
                </a:lnTo>
                <a:lnTo>
                  <a:pt x="25" y="32"/>
                </a:lnTo>
                <a:lnTo>
                  <a:pt x="19" y="18"/>
                </a:lnTo>
                <a:lnTo>
                  <a:pt x="0" y="24"/>
                </a:lnTo>
                <a:lnTo>
                  <a:pt x="7" y="17"/>
                </a:lnTo>
                <a:lnTo>
                  <a:pt x="26" y="13"/>
                </a:lnTo>
                <a:lnTo>
                  <a:pt x="3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8" name="ïšliḋê">
            <a:extLst>
              <a:ext uri="{FF2B5EF4-FFF2-40B4-BE49-F238E27FC236}">
                <a16:creationId xmlns:a16="http://schemas.microsoft.com/office/drawing/2014/main" id="{88307479-1011-4630-A22D-7FD71C256497}"/>
              </a:ext>
            </a:extLst>
          </p:cNvPr>
          <p:cNvSpPr/>
          <p:nvPr/>
        </p:nvSpPr>
        <p:spPr bwMode="auto">
          <a:xfrm>
            <a:off x="10276794" y="2205710"/>
            <a:ext cx="45287" cy="63402"/>
          </a:xfrm>
          <a:custGeom>
            <a:avLst/>
            <a:gdLst>
              <a:gd name="T0" fmla="*/ 18 w 20"/>
              <a:gd name="T1" fmla="*/ 0 h 28"/>
              <a:gd name="T2" fmla="*/ 14 w 20"/>
              <a:gd name="T3" fmla="*/ 14 h 28"/>
              <a:gd name="T4" fmla="*/ 0 w 20"/>
              <a:gd name="T5" fmla="*/ 25 h 28"/>
              <a:gd name="T6" fmla="*/ 9 w 20"/>
              <a:gd name="T7" fmla="*/ 28 h 28"/>
              <a:gd name="T8" fmla="*/ 20 w 20"/>
              <a:gd name="T9" fmla="*/ 9 h 28"/>
              <a:gd name="T10" fmla="*/ 18 w 20"/>
              <a:gd name="T11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" h="28">
                <a:moveTo>
                  <a:pt x="18" y="0"/>
                </a:moveTo>
                <a:lnTo>
                  <a:pt x="14" y="14"/>
                </a:lnTo>
                <a:lnTo>
                  <a:pt x="0" y="25"/>
                </a:lnTo>
                <a:lnTo>
                  <a:pt x="9" y="28"/>
                </a:lnTo>
                <a:lnTo>
                  <a:pt x="20" y="9"/>
                </a:lnTo>
                <a:lnTo>
                  <a:pt x="1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9" name="ïšḻíďe">
            <a:extLst>
              <a:ext uri="{FF2B5EF4-FFF2-40B4-BE49-F238E27FC236}">
                <a16:creationId xmlns:a16="http://schemas.microsoft.com/office/drawing/2014/main" id="{C897B3AE-CEBE-42E9-9D7D-886D016C20E5}"/>
              </a:ext>
            </a:extLst>
          </p:cNvPr>
          <p:cNvSpPr/>
          <p:nvPr/>
        </p:nvSpPr>
        <p:spPr bwMode="auto">
          <a:xfrm>
            <a:off x="9864682" y="2305342"/>
            <a:ext cx="203792" cy="221907"/>
          </a:xfrm>
          <a:custGeom>
            <a:avLst/>
            <a:gdLst>
              <a:gd name="T0" fmla="*/ 0 w 90"/>
              <a:gd name="T1" fmla="*/ 0 h 98"/>
              <a:gd name="T2" fmla="*/ 17 w 90"/>
              <a:gd name="T3" fmla="*/ 6 h 98"/>
              <a:gd name="T4" fmla="*/ 30 w 90"/>
              <a:gd name="T5" fmla="*/ 18 h 98"/>
              <a:gd name="T6" fmla="*/ 71 w 90"/>
              <a:gd name="T7" fmla="*/ 50 h 98"/>
              <a:gd name="T8" fmla="*/ 90 w 90"/>
              <a:gd name="T9" fmla="*/ 86 h 98"/>
              <a:gd name="T10" fmla="*/ 82 w 90"/>
              <a:gd name="T11" fmla="*/ 98 h 98"/>
              <a:gd name="T12" fmla="*/ 37 w 90"/>
              <a:gd name="T13" fmla="*/ 51 h 98"/>
              <a:gd name="T14" fmla="*/ 21 w 90"/>
              <a:gd name="T15" fmla="*/ 32 h 98"/>
              <a:gd name="T16" fmla="*/ 0 w 90"/>
              <a:gd name="T17" fmla="*/ 0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0" h="98">
                <a:moveTo>
                  <a:pt x="0" y="0"/>
                </a:moveTo>
                <a:lnTo>
                  <a:pt x="17" y="6"/>
                </a:lnTo>
                <a:lnTo>
                  <a:pt x="30" y="18"/>
                </a:lnTo>
                <a:lnTo>
                  <a:pt x="71" y="50"/>
                </a:lnTo>
                <a:lnTo>
                  <a:pt x="90" y="86"/>
                </a:lnTo>
                <a:lnTo>
                  <a:pt x="82" y="98"/>
                </a:lnTo>
                <a:lnTo>
                  <a:pt x="37" y="51"/>
                </a:lnTo>
                <a:lnTo>
                  <a:pt x="21" y="3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55000" lnSpcReduction="20000"/>
          </a:bodyPr>
          <a:lstStyle/>
          <a:p>
            <a:pPr algn="ctr"/>
            <a:endParaRPr/>
          </a:p>
        </p:txBody>
      </p:sp>
      <p:sp>
        <p:nvSpPr>
          <p:cNvPr id="180" name="îś1ide">
            <a:extLst>
              <a:ext uri="{FF2B5EF4-FFF2-40B4-BE49-F238E27FC236}">
                <a16:creationId xmlns:a16="http://schemas.microsoft.com/office/drawing/2014/main" id="{2F1F1A29-B8A6-4F41-940C-207A4E4ACC68}"/>
              </a:ext>
            </a:extLst>
          </p:cNvPr>
          <p:cNvSpPr/>
          <p:nvPr/>
        </p:nvSpPr>
        <p:spPr bwMode="auto">
          <a:xfrm>
            <a:off x="10120554" y="2289491"/>
            <a:ext cx="196999" cy="206056"/>
          </a:xfrm>
          <a:custGeom>
            <a:avLst/>
            <a:gdLst>
              <a:gd name="T0" fmla="*/ 61 w 87"/>
              <a:gd name="T1" fmla="*/ 72 h 91"/>
              <a:gd name="T2" fmla="*/ 83 w 87"/>
              <a:gd name="T3" fmla="*/ 51 h 91"/>
              <a:gd name="T4" fmla="*/ 75 w 87"/>
              <a:gd name="T5" fmla="*/ 42 h 91"/>
              <a:gd name="T6" fmla="*/ 70 w 87"/>
              <a:gd name="T7" fmla="*/ 29 h 91"/>
              <a:gd name="T8" fmla="*/ 80 w 87"/>
              <a:gd name="T9" fmla="*/ 21 h 91"/>
              <a:gd name="T10" fmla="*/ 87 w 87"/>
              <a:gd name="T11" fmla="*/ 15 h 91"/>
              <a:gd name="T12" fmla="*/ 73 w 87"/>
              <a:gd name="T13" fmla="*/ 9 h 91"/>
              <a:gd name="T14" fmla="*/ 65 w 87"/>
              <a:gd name="T15" fmla="*/ 0 h 91"/>
              <a:gd name="T16" fmla="*/ 50 w 87"/>
              <a:gd name="T17" fmla="*/ 18 h 91"/>
              <a:gd name="T18" fmla="*/ 18 w 87"/>
              <a:gd name="T19" fmla="*/ 44 h 91"/>
              <a:gd name="T20" fmla="*/ 5 w 87"/>
              <a:gd name="T21" fmla="*/ 42 h 91"/>
              <a:gd name="T22" fmla="*/ 0 w 87"/>
              <a:gd name="T23" fmla="*/ 53 h 91"/>
              <a:gd name="T24" fmla="*/ 5 w 87"/>
              <a:gd name="T25" fmla="*/ 72 h 91"/>
              <a:gd name="T26" fmla="*/ 12 w 87"/>
              <a:gd name="T27" fmla="*/ 82 h 91"/>
              <a:gd name="T28" fmla="*/ 40 w 87"/>
              <a:gd name="T29" fmla="*/ 85 h 91"/>
              <a:gd name="T30" fmla="*/ 61 w 87"/>
              <a:gd name="T31" fmla="*/ 91 h 91"/>
              <a:gd name="T32" fmla="*/ 61 w 87"/>
              <a:gd name="T33" fmla="*/ 72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87" h="91">
                <a:moveTo>
                  <a:pt x="61" y="72"/>
                </a:moveTo>
                <a:lnTo>
                  <a:pt x="83" y="51"/>
                </a:lnTo>
                <a:lnTo>
                  <a:pt x="75" y="42"/>
                </a:lnTo>
                <a:lnTo>
                  <a:pt x="70" y="29"/>
                </a:lnTo>
                <a:lnTo>
                  <a:pt x="80" y="21"/>
                </a:lnTo>
                <a:lnTo>
                  <a:pt x="87" y="15"/>
                </a:lnTo>
                <a:lnTo>
                  <a:pt x="73" y="9"/>
                </a:lnTo>
                <a:lnTo>
                  <a:pt x="65" y="0"/>
                </a:lnTo>
                <a:lnTo>
                  <a:pt x="50" y="18"/>
                </a:lnTo>
                <a:lnTo>
                  <a:pt x="18" y="44"/>
                </a:lnTo>
                <a:lnTo>
                  <a:pt x="5" y="42"/>
                </a:lnTo>
                <a:lnTo>
                  <a:pt x="0" y="53"/>
                </a:lnTo>
                <a:lnTo>
                  <a:pt x="5" y="72"/>
                </a:lnTo>
                <a:lnTo>
                  <a:pt x="12" y="82"/>
                </a:lnTo>
                <a:lnTo>
                  <a:pt x="40" y="85"/>
                </a:lnTo>
                <a:lnTo>
                  <a:pt x="61" y="91"/>
                </a:lnTo>
                <a:lnTo>
                  <a:pt x="61" y="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47500" lnSpcReduction="20000"/>
          </a:bodyPr>
          <a:lstStyle/>
          <a:p>
            <a:pPr algn="ctr"/>
            <a:endParaRPr/>
          </a:p>
        </p:txBody>
      </p:sp>
      <p:sp>
        <p:nvSpPr>
          <p:cNvPr id="181" name="ïṩḻiḑe">
            <a:extLst>
              <a:ext uri="{FF2B5EF4-FFF2-40B4-BE49-F238E27FC236}">
                <a16:creationId xmlns:a16="http://schemas.microsoft.com/office/drawing/2014/main" id="{FE438AFA-BE74-4DEB-8442-6FCC63462396}"/>
              </a:ext>
            </a:extLst>
          </p:cNvPr>
          <p:cNvSpPr/>
          <p:nvPr/>
        </p:nvSpPr>
        <p:spPr bwMode="auto">
          <a:xfrm>
            <a:off x="10310760" y="2386858"/>
            <a:ext cx="115482" cy="140390"/>
          </a:xfrm>
          <a:custGeom>
            <a:avLst/>
            <a:gdLst>
              <a:gd name="T0" fmla="*/ 39 w 40"/>
              <a:gd name="T1" fmla="*/ 0 h 49"/>
              <a:gd name="T2" fmla="*/ 32 w 40"/>
              <a:gd name="T3" fmla="*/ 6 h 49"/>
              <a:gd name="T4" fmla="*/ 10 w 40"/>
              <a:gd name="T5" fmla="*/ 6 h 49"/>
              <a:gd name="T6" fmla="*/ 2 w 40"/>
              <a:gd name="T7" fmla="*/ 20 h 49"/>
              <a:gd name="T8" fmla="*/ 0 w 40"/>
              <a:gd name="T9" fmla="*/ 38 h 49"/>
              <a:gd name="T10" fmla="*/ 0 w 40"/>
              <a:gd name="T11" fmla="*/ 49 h 49"/>
              <a:gd name="T12" fmla="*/ 9 w 40"/>
              <a:gd name="T13" fmla="*/ 48 h 49"/>
              <a:gd name="T14" fmla="*/ 9 w 40"/>
              <a:gd name="T15" fmla="*/ 32 h 49"/>
              <a:gd name="T16" fmla="*/ 17 w 40"/>
              <a:gd name="T17" fmla="*/ 43 h 49"/>
              <a:gd name="T18" fmla="*/ 24 w 40"/>
              <a:gd name="T19" fmla="*/ 42 h 49"/>
              <a:gd name="T20" fmla="*/ 17 w 40"/>
              <a:gd name="T21" fmla="*/ 24 h 49"/>
              <a:gd name="T22" fmla="*/ 29 w 40"/>
              <a:gd name="T23" fmla="*/ 15 h 49"/>
              <a:gd name="T24" fmla="*/ 22 w 40"/>
              <a:gd name="T25" fmla="*/ 13 h 49"/>
              <a:gd name="T26" fmla="*/ 13 w 40"/>
              <a:gd name="T27" fmla="*/ 21 h 49"/>
              <a:gd name="T28" fmla="*/ 14 w 40"/>
              <a:gd name="T29" fmla="*/ 12 h 49"/>
              <a:gd name="T30" fmla="*/ 38 w 40"/>
              <a:gd name="T31" fmla="*/ 11 h 49"/>
              <a:gd name="T32" fmla="*/ 39 w 40"/>
              <a:gd name="T33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0" h="49">
                <a:moveTo>
                  <a:pt x="39" y="0"/>
                </a:moveTo>
                <a:cubicBezTo>
                  <a:pt x="32" y="6"/>
                  <a:pt x="32" y="6"/>
                  <a:pt x="32" y="6"/>
                </a:cubicBezTo>
                <a:cubicBezTo>
                  <a:pt x="10" y="6"/>
                  <a:pt x="10" y="6"/>
                  <a:pt x="10" y="6"/>
                </a:cubicBezTo>
                <a:cubicBezTo>
                  <a:pt x="2" y="20"/>
                  <a:pt x="2" y="20"/>
                  <a:pt x="2" y="20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49"/>
                  <a:pt x="0" y="49"/>
                  <a:pt x="0" y="49"/>
                </a:cubicBezTo>
                <a:cubicBezTo>
                  <a:pt x="9" y="48"/>
                  <a:pt x="9" y="48"/>
                  <a:pt x="9" y="48"/>
                </a:cubicBezTo>
                <a:cubicBezTo>
                  <a:pt x="9" y="32"/>
                  <a:pt x="9" y="32"/>
                  <a:pt x="9" y="32"/>
                </a:cubicBezTo>
                <a:cubicBezTo>
                  <a:pt x="17" y="43"/>
                  <a:pt x="17" y="43"/>
                  <a:pt x="17" y="43"/>
                </a:cubicBezTo>
                <a:cubicBezTo>
                  <a:pt x="24" y="42"/>
                  <a:pt x="24" y="42"/>
                  <a:pt x="24" y="42"/>
                </a:cubicBezTo>
                <a:cubicBezTo>
                  <a:pt x="17" y="24"/>
                  <a:pt x="17" y="24"/>
                  <a:pt x="17" y="24"/>
                </a:cubicBezTo>
                <a:cubicBezTo>
                  <a:pt x="29" y="15"/>
                  <a:pt x="29" y="15"/>
                  <a:pt x="29" y="15"/>
                </a:cubicBezTo>
                <a:cubicBezTo>
                  <a:pt x="22" y="13"/>
                  <a:pt x="22" y="13"/>
                  <a:pt x="22" y="13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12"/>
                  <a:pt x="14" y="12"/>
                  <a:pt x="14" y="12"/>
                </a:cubicBezTo>
                <a:cubicBezTo>
                  <a:pt x="14" y="12"/>
                  <a:pt x="35" y="9"/>
                  <a:pt x="38" y="11"/>
                </a:cubicBezTo>
                <a:cubicBezTo>
                  <a:pt x="40" y="12"/>
                  <a:pt x="39" y="0"/>
                  <a:pt x="3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82" name="iṧļíḓè">
            <a:extLst>
              <a:ext uri="{FF2B5EF4-FFF2-40B4-BE49-F238E27FC236}">
                <a16:creationId xmlns:a16="http://schemas.microsoft.com/office/drawing/2014/main" id="{ABDD0B14-CFA1-48F5-BB8C-4043378CC0FF}"/>
              </a:ext>
            </a:extLst>
          </p:cNvPr>
          <p:cNvSpPr/>
          <p:nvPr/>
        </p:nvSpPr>
        <p:spPr bwMode="auto">
          <a:xfrm>
            <a:off x="10054888" y="2531777"/>
            <a:ext cx="183413" cy="54344"/>
          </a:xfrm>
          <a:custGeom>
            <a:avLst/>
            <a:gdLst>
              <a:gd name="T0" fmla="*/ 0 w 81"/>
              <a:gd name="T1" fmla="*/ 7 h 24"/>
              <a:gd name="T2" fmla="*/ 8 w 81"/>
              <a:gd name="T3" fmla="*/ 0 h 24"/>
              <a:gd name="T4" fmla="*/ 24 w 81"/>
              <a:gd name="T5" fmla="*/ 2 h 24"/>
              <a:gd name="T6" fmla="*/ 34 w 81"/>
              <a:gd name="T7" fmla="*/ 7 h 24"/>
              <a:gd name="T8" fmla="*/ 46 w 81"/>
              <a:gd name="T9" fmla="*/ 3 h 24"/>
              <a:gd name="T10" fmla="*/ 57 w 81"/>
              <a:gd name="T11" fmla="*/ 11 h 24"/>
              <a:gd name="T12" fmla="*/ 75 w 81"/>
              <a:gd name="T13" fmla="*/ 15 h 24"/>
              <a:gd name="T14" fmla="*/ 81 w 81"/>
              <a:gd name="T15" fmla="*/ 24 h 24"/>
              <a:gd name="T16" fmla="*/ 69 w 81"/>
              <a:gd name="T17" fmla="*/ 21 h 24"/>
              <a:gd name="T18" fmla="*/ 44 w 81"/>
              <a:gd name="T19" fmla="*/ 19 h 24"/>
              <a:gd name="T20" fmla="*/ 33 w 81"/>
              <a:gd name="T21" fmla="*/ 19 h 24"/>
              <a:gd name="T22" fmla="*/ 9 w 81"/>
              <a:gd name="T23" fmla="*/ 11 h 24"/>
              <a:gd name="T24" fmla="*/ 0 w 81"/>
              <a:gd name="T25" fmla="*/ 7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1" h="24">
                <a:moveTo>
                  <a:pt x="0" y="7"/>
                </a:moveTo>
                <a:lnTo>
                  <a:pt x="8" y="0"/>
                </a:lnTo>
                <a:lnTo>
                  <a:pt x="24" y="2"/>
                </a:lnTo>
                <a:lnTo>
                  <a:pt x="34" y="7"/>
                </a:lnTo>
                <a:lnTo>
                  <a:pt x="46" y="3"/>
                </a:lnTo>
                <a:lnTo>
                  <a:pt x="57" y="11"/>
                </a:lnTo>
                <a:lnTo>
                  <a:pt x="75" y="15"/>
                </a:lnTo>
                <a:lnTo>
                  <a:pt x="81" y="24"/>
                </a:lnTo>
                <a:lnTo>
                  <a:pt x="69" y="21"/>
                </a:lnTo>
                <a:lnTo>
                  <a:pt x="44" y="19"/>
                </a:lnTo>
                <a:lnTo>
                  <a:pt x="33" y="19"/>
                </a:lnTo>
                <a:lnTo>
                  <a:pt x="9" y="11"/>
                </a:lnTo>
                <a:lnTo>
                  <a:pt x="0" y="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83" name="îṩḷiḍé">
            <a:extLst>
              <a:ext uri="{FF2B5EF4-FFF2-40B4-BE49-F238E27FC236}">
                <a16:creationId xmlns:a16="http://schemas.microsoft.com/office/drawing/2014/main" id="{2C8359F9-367C-49A9-B22B-260AC367CF4D}"/>
              </a:ext>
            </a:extLst>
          </p:cNvPr>
          <p:cNvSpPr/>
          <p:nvPr/>
        </p:nvSpPr>
        <p:spPr bwMode="auto">
          <a:xfrm>
            <a:off x="10394541" y="2570271"/>
            <a:ext cx="67931" cy="47551"/>
          </a:xfrm>
          <a:custGeom>
            <a:avLst/>
            <a:gdLst>
              <a:gd name="T0" fmla="*/ 30 w 30"/>
              <a:gd name="T1" fmla="*/ 3 h 21"/>
              <a:gd name="T2" fmla="*/ 20 w 30"/>
              <a:gd name="T3" fmla="*/ 0 h 21"/>
              <a:gd name="T4" fmla="*/ 2 w 30"/>
              <a:gd name="T5" fmla="*/ 13 h 21"/>
              <a:gd name="T6" fmla="*/ 0 w 30"/>
              <a:gd name="T7" fmla="*/ 21 h 21"/>
              <a:gd name="T8" fmla="*/ 14 w 30"/>
              <a:gd name="T9" fmla="*/ 17 h 21"/>
              <a:gd name="T10" fmla="*/ 21 w 30"/>
              <a:gd name="T11" fmla="*/ 10 h 21"/>
              <a:gd name="T12" fmla="*/ 30 w 30"/>
              <a:gd name="T13" fmla="*/ 3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" h="21">
                <a:moveTo>
                  <a:pt x="30" y="3"/>
                </a:moveTo>
                <a:lnTo>
                  <a:pt x="20" y="0"/>
                </a:lnTo>
                <a:lnTo>
                  <a:pt x="2" y="13"/>
                </a:lnTo>
                <a:lnTo>
                  <a:pt x="0" y="21"/>
                </a:lnTo>
                <a:lnTo>
                  <a:pt x="14" y="17"/>
                </a:lnTo>
                <a:lnTo>
                  <a:pt x="21" y="10"/>
                </a:lnTo>
                <a:lnTo>
                  <a:pt x="30" y="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84" name="îşļíde">
            <a:extLst>
              <a:ext uri="{FF2B5EF4-FFF2-40B4-BE49-F238E27FC236}">
                <a16:creationId xmlns:a16="http://schemas.microsoft.com/office/drawing/2014/main" id="{4E86B89D-28F1-49FC-B10D-B9BC2EAC4DC2}"/>
              </a:ext>
            </a:extLst>
          </p:cNvPr>
          <p:cNvSpPr/>
          <p:nvPr/>
        </p:nvSpPr>
        <p:spPr bwMode="auto">
          <a:xfrm>
            <a:off x="10324346" y="2570271"/>
            <a:ext cx="61138" cy="22644"/>
          </a:xfrm>
          <a:custGeom>
            <a:avLst/>
            <a:gdLst>
              <a:gd name="T0" fmla="*/ 26 w 27"/>
              <a:gd name="T1" fmla="*/ 0 h 10"/>
              <a:gd name="T2" fmla="*/ 19 w 27"/>
              <a:gd name="T3" fmla="*/ 3 h 10"/>
              <a:gd name="T4" fmla="*/ 2 w 27"/>
              <a:gd name="T5" fmla="*/ 3 h 10"/>
              <a:gd name="T6" fmla="*/ 0 w 27"/>
              <a:gd name="T7" fmla="*/ 7 h 10"/>
              <a:gd name="T8" fmla="*/ 14 w 27"/>
              <a:gd name="T9" fmla="*/ 10 h 10"/>
              <a:gd name="T10" fmla="*/ 27 w 27"/>
              <a:gd name="T11" fmla="*/ 3 h 10"/>
              <a:gd name="T12" fmla="*/ 26 w 27"/>
              <a:gd name="T13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0">
                <a:moveTo>
                  <a:pt x="26" y="0"/>
                </a:moveTo>
                <a:lnTo>
                  <a:pt x="19" y="3"/>
                </a:lnTo>
                <a:lnTo>
                  <a:pt x="2" y="3"/>
                </a:lnTo>
                <a:lnTo>
                  <a:pt x="0" y="7"/>
                </a:lnTo>
                <a:lnTo>
                  <a:pt x="14" y="10"/>
                </a:lnTo>
                <a:lnTo>
                  <a:pt x="27" y="3"/>
                </a:lnTo>
                <a:lnTo>
                  <a:pt x="2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85" name="ïṣ1íďè">
            <a:extLst>
              <a:ext uri="{FF2B5EF4-FFF2-40B4-BE49-F238E27FC236}">
                <a16:creationId xmlns:a16="http://schemas.microsoft.com/office/drawing/2014/main" id="{C017B6CC-96E7-4018-BC6B-EF27E2AA3039}"/>
              </a:ext>
            </a:extLst>
          </p:cNvPr>
          <p:cNvSpPr/>
          <p:nvPr/>
        </p:nvSpPr>
        <p:spPr bwMode="auto">
          <a:xfrm>
            <a:off x="10258680" y="2574800"/>
            <a:ext cx="43023" cy="15850"/>
          </a:xfrm>
          <a:custGeom>
            <a:avLst/>
            <a:gdLst>
              <a:gd name="T0" fmla="*/ 19 w 19"/>
              <a:gd name="T1" fmla="*/ 0 h 7"/>
              <a:gd name="T2" fmla="*/ 0 w 19"/>
              <a:gd name="T3" fmla="*/ 0 h 7"/>
              <a:gd name="T4" fmla="*/ 6 w 19"/>
              <a:gd name="T5" fmla="*/ 7 h 7"/>
              <a:gd name="T6" fmla="*/ 19 w 19"/>
              <a:gd name="T7" fmla="*/ 5 h 7"/>
              <a:gd name="T8" fmla="*/ 19 w 19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" h="7">
                <a:moveTo>
                  <a:pt x="19" y="0"/>
                </a:moveTo>
                <a:lnTo>
                  <a:pt x="0" y="0"/>
                </a:lnTo>
                <a:lnTo>
                  <a:pt x="6" y="7"/>
                </a:lnTo>
                <a:lnTo>
                  <a:pt x="19" y="5"/>
                </a:lnTo>
                <a:lnTo>
                  <a:pt x="19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86" name="îS1íḓe">
            <a:extLst>
              <a:ext uri="{FF2B5EF4-FFF2-40B4-BE49-F238E27FC236}">
                <a16:creationId xmlns:a16="http://schemas.microsoft.com/office/drawing/2014/main" id="{61FA4A7E-EFDD-4737-AA28-9AE7E74F15EF}"/>
              </a:ext>
            </a:extLst>
          </p:cNvPr>
          <p:cNvSpPr/>
          <p:nvPr/>
        </p:nvSpPr>
        <p:spPr bwMode="auto">
          <a:xfrm>
            <a:off x="10322081" y="2606501"/>
            <a:ext cx="22644" cy="15850"/>
          </a:xfrm>
          <a:custGeom>
            <a:avLst/>
            <a:gdLst>
              <a:gd name="T0" fmla="*/ 0 w 10"/>
              <a:gd name="T1" fmla="*/ 0 h 7"/>
              <a:gd name="T2" fmla="*/ 0 w 10"/>
              <a:gd name="T3" fmla="*/ 5 h 7"/>
              <a:gd name="T4" fmla="*/ 10 w 10"/>
              <a:gd name="T5" fmla="*/ 7 h 7"/>
              <a:gd name="T6" fmla="*/ 6 w 10"/>
              <a:gd name="T7" fmla="*/ 3 h 7"/>
              <a:gd name="T8" fmla="*/ 0 w 10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7">
                <a:moveTo>
                  <a:pt x="0" y="0"/>
                </a:moveTo>
                <a:lnTo>
                  <a:pt x="0" y="5"/>
                </a:lnTo>
                <a:lnTo>
                  <a:pt x="10" y="7"/>
                </a:lnTo>
                <a:lnTo>
                  <a:pt x="6" y="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87" name="îṣliďé">
            <a:extLst>
              <a:ext uri="{FF2B5EF4-FFF2-40B4-BE49-F238E27FC236}">
                <a16:creationId xmlns:a16="http://schemas.microsoft.com/office/drawing/2014/main" id="{086D61A7-F8E9-444C-B98F-7AC106823F95}"/>
              </a:ext>
            </a:extLst>
          </p:cNvPr>
          <p:cNvSpPr/>
          <p:nvPr/>
        </p:nvSpPr>
        <p:spPr bwMode="auto">
          <a:xfrm>
            <a:off x="10478322" y="2461582"/>
            <a:ext cx="54344" cy="31701"/>
          </a:xfrm>
          <a:custGeom>
            <a:avLst/>
            <a:gdLst>
              <a:gd name="T0" fmla="*/ 0 w 24"/>
              <a:gd name="T1" fmla="*/ 11 h 14"/>
              <a:gd name="T2" fmla="*/ 14 w 24"/>
              <a:gd name="T3" fmla="*/ 10 h 14"/>
              <a:gd name="T4" fmla="*/ 24 w 24"/>
              <a:gd name="T5" fmla="*/ 14 h 14"/>
              <a:gd name="T6" fmla="*/ 17 w 24"/>
              <a:gd name="T7" fmla="*/ 0 h 14"/>
              <a:gd name="T8" fmla="*/ 0 w 24"/>
              <a:gd name="T9" fmla="*/ 11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" h="14">
                <a:moveTo>
                  <a:pt x="0" y="11"/>
                </a:moveTo>
                <a:lnTo>
                  <a:pt x="14" y="10"/>
                </a:lnTo>
                <a:lnTo>
                  <a:pt x="24" y="14"/>
                </a:lnTo>
                <a:lnTo>
                  <a:pt x="17" y="0"/>
                </a:lnTo>
                <a:lnTo>
                  <a:pt x="0" y="1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88" name="iṥ1îďé">
            <a:extLst>
              <a:ext uri="{FF2B5EF4-FFF2-40B4-BE49-F238E27FC236}">
                <a16:creationId xmlns:a16="http://schemas.microsoft.com/office/drawing/2014/main" id="{E8305BDF-50CB-4BD2-9EB1-14B0EF0BF489}"/>
              </a:ext>
            </a:extLst>
          </p:cNvPr>
          <p:cNvSpPr/>
          <p:nvPr/>
        </p:nvSpPr>
        <p:spPr bwMode="auto">
          <a:xfrm>
            <a:off x="10469264" y="2368744"/>
            <a:ext cx="47551" cy="58873"/>
          </a:xfrm>
          <a:custGeom>
            <a:avLst/>
            <a:gdLst>
              <a:gd name="T0" fmla="*/ 1 w 21"/>
              <a:gd name="T1" fmla="*/ 26 h 26"/>
              <a:gd name="T2" fmla="*/ 0 w 21"/>
              <a:gd name="T3" fmla="*/ 8 h 26"/>
              <a:gd name="T4" fmla="*/ 9 w 21"/>
              <a:gd name="T5" fmla="*/ 0 h 26"/>
              <a:gd name="T6" fmla="*/ 10 w 21"/>
              <a:gd name="T7" fmla="*/ 12 h 26"/>
              <a:gd name="T8" fmla="*/ 21 w 21"/>
              <a:gd name="T9" fmla="*/ 9 h 26"/>
              <a:gd name="T10" fmla="*/ 7 w 21"/>
              <a:gd name="T11" fmla="*/ 17 h 26"/>
              <a:gd name="T12" fmla="*/ 1 w 21"/>
              <a:gd name="T13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" h="26">
                <a:moveTo>
                  <a:pt x="1" y="26"/>
                </a:moveTo>
                <a:lnTo>
                  <a:pt x="0" y="8"/>
                </a:lnTo>
                <a:lnTo>
                  <a:pt x="9" y="0"/>
                </a:lnTo>
                <a:lnTo>
                  <a:pt x="10" y="12"/>
                </a:lnTo>
                <a:lnTo>
                  <a:pt x="21" y="9"/>
                </a:lnTo>
                <a:lnTo>
                  <a:pt x="7" y="17"/>
                </a:lnTo>
                <a:lnTo>
                  <a:pt x="1" y="2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89" name="íṣḻíḑe">
            <a:extLst>
              <a:ext uri="{FF2B5EF4-FFF2-40B4-BE49-F238E27FC236}">
                <a16:creationId xmlns:a16="http://schemas.microsoft.com/office/drawing/2014/main" id="{6F9C8BCE-09BF-4F39-B98E-73631E9FF94B}"/>
              </a:ext>
            </a:extLst>
          </p:cNvPr>
          <p:cNvSpPr/>
          <p:nvPr/>
        </p:nvSpPr>
        <p:spPr bwMode="auto">
          <a:xfrm>
            <a:off x="10211128" y="2620087"/>
            <a:ext cx="742708" cy="595525"/>
          </a:xfrm>
          <a:custGeom>
            <a:avLst/>
            <a:gdLst>
              <a:gd name="T0" fmla="*/ 152 w 259"/>
              <a:gd name="T1" fmla="*/ 12 h 207"/>
              <a:gd name="T2" fmla="*/ 129 w 259"/>
              <a:gd name="T3" fmla="*/ 8 h 207"/>
              <a:gd name="T4" fmla="*/ 108 w 259"/>
              <a:gd name="T5" fmla="*/ 14 h 207"/>
              <a:gd name="T6" fmla="*/ 102 w 259"/>
              <a:gd name="T7" fmla="*/ 30 h 207"/>
              <a:gd name="T8" fmla="*/ 95 w 259"/>
              <a:gd name="T9" fmla="*/ 27 h 207"/>
              <a:gd name="T10" fmla="*/ 87 w 259"/>
              <a:gd name="T11" fmla="*/ 21 h 207"/>
              <a:gd name="T12" fmla="*/ 76 w 259"/>
              <a:gd name="T13" fmla="*/ 29 h 207"/>
              <a:gd name="T14" fmla="*/ 64 w 259"/>
              <a:gd name="T15" fmla="*/ 45 h 207"/>
              <a:gd name="T16" fmla="*/ 59 w 259"/>
              <a:gd name="T17" fmla="*/ 41 h 207"/>
              <a:gd name="T18" fmla="*/ 53 w 259"/>
              <a:gd name="T19" fmla="*/ 53 h 207"/>
              <a:gd name="T20" fmla="*/ 34 w 259"/>
              <a:gd name="T21" fmla="*/ 64 h 207"/>
              <a:gd name="T22" fmla="*/ 12 w 259"/>
              <a:gd name="T23" fmla="*/ 74 h 207"/>
              <a:gd name="T24" fmla="*/ 0 w 259"/>
              <a:gd name="T25" fmla="*/ 81 h 207"/>
              <a:gd name="T26" fmla="*/ 1 w 259"/>
              <a:gd name="T27" fmla="*/ 109 h 207"/>
              <a:gd name="T28" fmla="*/ 13 w 259"/>
              <a:gd name="T29" fmla="*/ 141 h 207"/>
              <a:gd name="T30" fmla="*/ 10 w 259"/>
              <a:gd name="T31" fmla="*/ 165 h 207"/>
              <a:gd name="T32" fmla="*/ 15 w 259"/>
              <a:gd name="T33" fmla="*/ 175 h 207"/>
              <a:gd name="T34" fmla="*/ 43 w 259"/>
              <a:gd name="T35" fmla="*/ 168 h 207"/>
              <a:gd name="T36" fmla="*/ 66 w 259"/>
              <a:gd name="T37" fmla="*/ 164 h 207"/>
              <a:gd name="T38" fmla="*/ 96 w 259"/>
              <a:gd name="T39" fmla="*/ 150 h 207"/>
              <a:gd name="T40" fmla="*/ 130 w 259"/>
              <a:gd name="T41" fmla="*/ 152 h 207"/>
              <a:gd name="T42" fmla="*/ 140 w 259"/>
              <a:gd name="T43" fmla="*/ 170 h 207"/>
              <a:gd name="T44" fmla="*/ 155 w 259"/>
              <a:gd name="T45" fmla="*/ 163 h 207"/>
              <a:gd name="T46" fmla="*/ 158 w 259"/>
              <a:gd name="T47" fmla="*/ 175 h 207"/>
              <a:gd name="T48" fmla="*/ 163 w 259"/>
              <a:gd name="T49" fmla="*/ 178 h 207"/>
              <a:gd name="T50" fmla="*/ 169 w 259"/>
              <a:gd name="T51" fmla="*/ 193 h 207"/>
              <a:gd name="T52" fmla="*/ 188 w 259"/>
              <a:gd name="T53" fmla="*/ 201 h 207"/>
              <a:gd name="T54" fmla="*/ 204 w 259"/>
              <a:gd name="T55" fmla="*/ 201 h 207"/>
              <a:gd name="T56" fmla="*/ 215 w 259"/>
              <a:gd name="T57" fmla="*/ 207 h 207"/>
              <a:gd name="T58" fmla="*/ 231 w 259"/>
              <a:gd name="T59" fmla="*/ 198 h 207"/>
              <a:gd name="T60" fmla="*/ 241 w 259"/>
              <a:gd name="T61" fmla="*/ 182 h 207"/>
              <a:gd name="T62" fmla="*/ 256 w 259"/>
              <a:gd name="T63" fmla="*/ 153 h 207"/>
              <a:gd name="T64" fmla="*/ 259 w 259"/>
              <a:gd name="T65" fmla="*/ 112 h 207"/>
              <a:gd name="T66" fmla="*/ 244 w 259"/>
              <a:gd name="T67" fmla="*/ 87 h 207"/>
              <a:gd name="T68" fmla="*/ 226 w 259"/>
              <a:gd name="T69" fmla="*/ 62 h 207"/>
              <a:gd name="T70" fmla="*/ 212 w 259"/>
              <a:gd name="T71" fmla="*/ 44 h 207"/>
              <a:gd name="T72" fmla="*/ 208 w 259"/>
              <a:gd name="T73" fmla="*/ 34 h 207"/>
              <a:gd name="T74" fmla="*/ 202 w 259"/>
              <a:gd name="T75" fmla="*/ 24 h 207"/>
              <a:gd name="T76" fmla="*/ 196 w 259"/>
              <a:gd name="T77" fmla="*/ 20 h 207"/>
              <a:gd name="T78" fmla="*/ 190 w 259"/>
              <a:gd name="T79" fmla="*/ 0 h 207"/>
              <a:gd name="T80" fmla="*/ 182 w 259"/>
              <a:gd name="T81" fmla="*/ 12 h 207"/>
              <a:gd name="T82" fmla="*/ 182 w 259"/>
              <a:gd name="T83" fmla="*/ 20 h 207"/>
              <a:gd name="T84" fmla="*/ 180 w 259"/>
              <a:gd name="T85" fmla="*/ 40 h 207"/>
              <a:gd name="T86" fmla="*/ 171 w 259"/>
              <a:gd name="T87" fmla="*/ 44 h 207"/>
              <a:gd name="T88" fmla="*/ 154 w 259"/>
              <a:gd name="T89" fmla="*/ 35 h 207"/>
              <a:gd name="T90" fmla="*/ 144 w 259"/>
              <a:gd name="T91" fmla="*/ 29 h 207"/>
              <a:gd name="T92" fmla="*/ 152 w 259"/>
              <a:gd name="T93" fmla="*/ 12 h 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59" h="207">
                <a:moveTo>
                  <a:pt x="152" y="12"/>
                </a:moveTo>
                <a:cubicBezTo>
                  <a:pt x="129" y="8"/>
                  <a:pt x="129" y="8"/>
                  <a:pt x="129" y="8"/>
                </a:cubicBezTo>
                <a:cubicBezTo>
                  <a:pt x="108" y="14"/>
                  <a:pt x="108" y="14"/>
                  <a:pt x="108" y="14"/>
                </a:cubicBezTo>
                <a:cubicBezTo>
                  <a:pt x="102" y="30"/>
                  <a:pt x="102" y="30"/>
                  <a:pt x="102" y="30"/>
                </a:cubicBezTo>
                <a:cubicBezTo>
                  <a:pt x="95" y="27"/>
                  <a:pt x="95" y="27"/>
                  <a:pt x="95" y="27"/>
                </a:cubicBezTo>
                <a:cubicBezTo>
                  <a:pt x="87" y="21"/>
                  <a:pt x="87" y="21"/>
                  <a:pt x="87" y="21"/>
                </a:cubicBezTo>
                <a:cubicBezTo>
                  <a:pt x="76" y="29"/>
                  <a:pt x="76" y="29"/>
                  <a:pt x="76" y="29"/>
                </a:cubicBezTo>
                <a:cubicBezTo>
                  <a:pt x="64" y="45"/>
                  <a:pt x="64" y="45"/>
                  <a:pt x="64" y="45"/>
                </a:cubicBezTo>
                <a:cubicBezTo>
                  <a:pt x="59" y="41"/>
                  <a:pt x="59" y="41"/>
                  <a:pt x="59" y="41"/>
                </a:cubicBezTo>
                <a:cubicBezTo>
                  <a:pt x="53" y="53"/>
                  <a:pt x="53" y="53"/>
                  <a:pt x="53" y="53"/>
                </a:cubicBezTo>
                <a:cubicBezTo>
                  <a:pt x="34" y="64"/>
                  <a:pt x="34" y="64"/>
                  <a:pt x="34" y="64"/>
                </a:cubicBezTo>
                <a:cubicBezTo>
                  <a:pt x="12" y="74"/>
                  <a:pt x="12" y="74"/>
                  <a:pt x="12" y="74"/>
                </a:cubicBezTo>
                <a:cubicBezTo>
                  <a:pt x="0" y="81"/>
                  <a:pt x="0" y="81"/>
                  <a:pt x="0" y="81"/>
                </a:cubicBezTo>
                <a:cubicBezTo>
                  <a:pt x="1" y="109"/>
                  <a:pt x="1" y="109"/>
                  <a:pt x="1" y="109"/>
                </a:cubicBezTo>
                <a:cubicBezTo>
                  <a:pt x="13" y="141"/>
                  <a:pt x="13" y="141"/>
                  <a:pt x="13" y="141"/>
                </a:cubicBezTo>
                <a:cubicBezTo>
                  <a:pt x="10" y="165"/>
                  <a:pt x="10" y="165"/>
                  <a:pt x="10" y="165"/>
                </a:cubicBezTo>
                <a:cubicBezTo>
                  <a:pt x="15" y="175"/>
                  <a:pt x="15" y="175"/>
                  <a:pt x="15" y="175"/>
                </a:cubicBezTo>
                <a:cubicBezTo>
                  <a:pt x="15" y="175"/>
                  <a:pt x="37" y="173"/>
                  <a:pt x="43" y="168"/>
                </a:cubicBezTo>
                <a:cubicBezTo>
                  <a:pt x="49" y="164"/>
                  <a:pt x="66" y="164"/>
                  <a:pt x="66" y="164"/>
                </a:cubicBezTo>
                <a:cubicBezTo>
                  <a:pt x="96" y="150"/>
                  <a:pt x="96" y="150"/>
                  <a:pt x="96" y="150"/>
                </a:cubicBezTo>
                <a:cubicBezTo>
                  <a:pt x="130" y="152"/>
                  <a:pt x="130" y="152"/>
                  <a:pt x="130" y="152"/>
                </a:cubicBezTo>
                <a:cubicBezTo>
                  <a:pt x="140" y="170"/>
                  <a:pt x="140" y="170"/>
                  <a:pt x="140" y="170"/>
                </a:cubicBezTo>
                <a:cubicBezTo>
                  <a:pt x="155" y="163"/>
                  <a:pt x="155" y="163"/>
                  <a:pt x="155" y="163"/>
                </a:cubicBezTo>
                <a:cubicBezTo>
                  <a:pt x="158" y="175"/>
                  <a:pt x="158" y="175"/>
                  <a:pt x="158" y="175"/>
                </a:cubicBezTo>
                <a:cubicBezTo>
                  <a:pt x="163" y="178"/>
                  <a:pt x="163" y="178"/>
                  <a:pt x="163" y="178"/>
                </a:cubicBezTo>
                <a:cubicBezTo>
                  <a:pt x="169" y="193"/>
                  <a:pt x="169" y="193"/>
                  <a:pt x="169" y="193"/>
                </a:cubicBezTo>
                <a:cubicBezTo>
                  <a:pt x="188" y="201"/>
                  <a:pt x="188" y="201"/>
                  <a:pt x="188" y="201"/>
                </a:cubicBezTo>
                <a:cubicBezTo>
                  <a:pt x="204" y="201"/>
                  <a:pt x="204" y="201"/>
                  <a:pt x="204" y="201"/>
                </a:cubicBezTo>
                <a:cubicBezTo>
                  <a:pt x="215" y="207"/>
                  <a:pt x="215" y="207"/>
                  <a:pt x="215" y="207"/>
                </a:cubicBezTo>
                <a:cubicBezTo>
                  <a:pt x="231" y="198"/>
                  <a:pt x="231" y="198"/>
                  <a:pt x="231" y="198"/>
                </a:cubicBezTo>
                <a:cubicBezTo>
                  <a:pt x="241" y="182"/>
                  <a:pt x="241" y="182"/>
                  <a:pt x="241" y="182"/>
                </a:cubicBezTo>
                <a:cubicBezTo>
                  <a:pt x="256" y="153"/>
                  <a:pt x="256" y="153"/>
                  <a:pt x="256" y="153"/>
                </a:cubicBezTo>
                <a:cubicBezTo>
                  <a:pt x="259" y="112"/>
                  <a:pt x="259" y="112"/>
                  <a:pt x="259" y="112"/>
                </a:cubicBezTo>
                <a:cubicBezTo>
                  <a:pt x="244" y="87"/>
                  <a:pt x="244" y="87"/>
                  <a:pt x="244" y="87"/>
                </a:cubicBezTo>
                <a:cubicBezTo>
                  <a:pt x="226" y="62"/>
                  <a:pt x="226" y="62"/>
                  <a:pt x="226" y="62"/>
                </a:cubicBezTo>
                <a:cubicBezTo>
                  <a:pt x="212" y="44"/>
                  <a:pt x="212" y="44"/>
                  <a:pt x="212" y="44"/>
                </a:cubicBezTo>
                <a:cubicBezTo>
                  <a:pt x="208" y="34"/>
                  <a:pt x="208" y="34"/>
                  <a:pt x="208" y="34"/>
                </a:cubicBezTo>
                <a:cubicBezTo>
                  <a:pt x="202" y="24"/>
                  <a:pt x="202" y="24"/>
                  <a:pt x="202" y="24"/>
                </a:cubicBezTo>
                <a:cubicBezTo>
                  <a:pt x="196" y="20"/>
                  <a:pt x="196" y="20"/>
                  <a:pt x="196" y="20"/>
                </a:cubicBezTo>
                <a:cubicBezTo>
                  <a:pt x="190" y="0"/>
                  <a:pt x="190" y="0"/>
                  <a:pt x="190" y="0"/>
                </a:cubicBezTo>
                <a:cubicBezTo>
                  <a:pt x="182" y="12"/>
                  <a:pt x="182" y="12"/>
                  <a:pt x="182" y="12"/>
                </a:cubicBezTo>
                <a:cubicBezTo>
                  <a:pt x="182" y="20"/>
                  <a:pt x="182" y="20"/>
                  <a:pt x="182" y="20"/>
                </a:cubicBezTo>
                <a:cubicBezTo>
                  <a:pt x="180" y="40"/>
                  <a:pt x="180" y="40"/>
                  <a:pt x="180" y="40"/>
                </a:cubicBezTo>
                <a:cubicBezTo>
                  <a:pt x="171" y="44"/>
                  <a:pt x="171" y="44"/>
                  <a:pt x="171" y="44"/>
                </a:cubicBezTo>
                <a:cubicBezTo>
                  <a:pt x="154" y="35"/>
                  <a:pt x="154" y="35"/>
                  <a:pt x="154" y="35"/>
                </a:cubicBezTo>
                <a:cubicBezTo>
                  <a:pt x="144" y="29"/>
                  <a:pt x="144" y="29"/>
                  <a:pt x="144" y="29"/>
                </a:cubicBezTo>
                <a:lnTo>
                  <a:pt x="152" y="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90" name="íṣľîḋe">
            <a:extLst>
              <a:ext uri="{FF2B5EF4-FFF2-40B4-BE49-F238E27FC236}">
                <a16:creationId xmlns:a16="http://schemas.microsoft.com/office/drawing/2014/main" id="{F2357A4D-CEAC-45EF-A728-907BDB3046B8}"/>
              </a:ext>
            </a:extLst>
          </p:cNvPr>
          <p:cNvSpPr/>
          <p:nvPr/>
        </p:nvSpPr>
        <p:spPr bwMode="auto">
          <a:xfrm>
            <a:off x="10795331" y="3249577"/>
            <a:ext cx="70195" cy="76988"/>
          </a:xfrm>
          <a:custGeom>
            <a:avLst/>
            <a:gdLst>
              <a:gd name="T0" fmla="*/ 0 w 31"/>
              <a:gd name="T1" fmla="*/ 0 h 34"/>
              <a:gd name="T2" fmla="*/ 16 w 31"/>
              <a:gd name="T3" fmla="*/ 5 h 34"/>
              <a:gd name="T4" fmla="*/ 26 w 31"/>
              <a:gd name="T5" fmla="*/ 0 h 34"/>
              <a:gd name="T6" fmla="*/ 31 w 31"/>
              <a:gd name="T7" fmla="*/ 11 h 34"/>
              <a:gd name="T8" fmla="*/ 26 w 31"/>
              <a:gd name="T9" fmla="*/ 28 h 34"/>
              <a:gd name="T10" fmla="*/ 17 w 31"/>
              <a:gd name="T11" fmla="*/ 34 h 34"/>
              <a:gd name="T12" fmla="*/ 5 w 31"/>
              <a:gd name="T13" fmla="*/ 24 h 34"/>
              <a:gd name="T14" fmla="*/ 0 w 31"/>
              <a:gd name="T15" fmla="*/ 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1" h="34">
                <a:moveTo>
                  <a:pt x="0" y="0"/>
                </a:moveTo>
                <a:lnTo>
                  <a:pt x="16" y="5"/>
                </a:lnTo>
                <a:lnTo>
                  <a:pt x="26" y="0"/>
                </a:lnTo>
                <a:lnTo>
                  <a:pt x="31" y="11"/>
                </a:lnTo>
                <a:lnTo>
                  <a:pt x="26" y="28"/>
                </a:lnTo>
                <a:lnTo>
                  <a:pt x="17" y="34"/>
                </a:lnTo>
                <a:lnTo>
                  <a:pt x="5" y="2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91" name="iṧḷiḓê">
            <a:extLst>
              <a:ext uri="{FF2B5EF4-FFF2-40B4-BE49-F238E27FC236}">
                <a16:creationId xmlns:a16="http://schemas.microsoft.com/office/drawing/2014/main" id="{822BED98-351B-4049-8EAC-DD83C584BFEF}"/>
              </a:ext>
            </a:extLst>
          </p:cNvPr>
          <p:cNvSpPr/>
          <p:nvPr/>
        </p:nvSpPr>
        <p:spPr bwMode="auto">
          <a:xfrm>
            <a:off x="11313868" y="3102394"/>
            <a:ext cx="108689" cy="172091"/>
          </a:xfrm>
          <a:custGeom>
            <a:avLst/>
            <a:gdLst>
              <a:gd name="T0" fmla="*/ 0 w 38"/>
              <a:gd name="T1" fmla="*/ 3 h 60"/>
              <a:gd name="T2" fmla="*/ 10 w 38"/>
              <a:gd name="T3" fmla="*/ 15 h 60"/>
              <a:gd name="T4" fmla="*/ 14 w 38"/>
              <a:gd name="T5" fmla="*/ 24 h 60"/>
              <a:gd name="T6" fmla="*/ 5 w 38"/>
              <a:gd name="T7" fmla="*/ 39 h 60"/>
              <a:gd name="T8" fmla="*/ 14 w 38"/>
              <a:gd name="T9" fmla="*/ 46 h 60"/>
              <a:gd name="T10" fmla="*/ 11 w 38"/>
              <a:gd name="T11" fmla="*/ 54 h 60"/>
              <a:gd name="T12" fmla="*/ 18 w 38"/>
              <a:gd name="T13" fmla="*/ 60 h 60"/>
              <a:gd name="T14" fmla="*/ 27 w 38"/>
              <a:gd name="T15" fmla="*/ 50 h 60"/>
              <a:gd name="T16" fmla="*/ 30 w 38"/>
              <a:gd name="T17" fmla="*/ 40 h 60"/>
              <a:gd name="T18" fmla="*/ 35 w 38"/>
              <a:gd name="T19" fmla="*/ 39 h 60"/>
              <a:gd name="T20" fmla="*/ 38 w 38"/>
              <a:gd name="T21" fmla="*/ 27 h 60"/>
              <a:gd name="T22" fmla="*/ 29 w 38"/>
              <a:gd name="T23" fmla="*/ 29 h 60"/>
              <a:gd name="T24" fmla="*/ 20 w 38"/>
              <a:gd name="T25" fmla="*/ 18 h 60"/>
              <a:gd name="T26" fmla="*/ 15 w 38"/>
              <a:gd name="T27" fmla="*/ 17 h 60"/>
              <a:gd name="T28" fmla="*/ 0 w 38"/>
              <a:gd name="T29" fmla="*/ 3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8" h="60">
                <a:moveTo>
                  <a:pt x="0" y="3"/>
                </a:moveTo>
                <a:cubicBezTo>
                  <a:pt x="10" y="15"/>
                  <a:pt x="10" y="15"/>
                  <a:pt x="10" y="15"/>
                </a:cubicBezTo>
                <a:cubicBezTo>
                  <a:pt x="14" y="24"/>
                  <a:pt x="14" y="24"/>
                  <a:pt x="14" y="24"/>
                </a:cubicBezTo>
                <a:cubicBezTo>
                  <a:pt x="5" y="39"/>
                  <a:pt x="5" y="39"/>
                  <a:pt x="5" y="39"/>
                </a:cubicBezTo>
                <a:cubicBezTo>
                  <a:pt x="14" y="46"/>
                  <a:pt x="14" y="46"/>
                  <a:pt x="14" y="46"/>
                </a:cubicBezTo>
                <a:cubicBezTo>
                  <a:pt x="11" y="54"/>
                  <a:pt x="11" y="54"/>
                  <a:pt x="11" y="54"/>
                </a:cubicBezTo>
                <a:cubicBezTo>
                  <a:pt x="18" y="60"/>
                  <a:pt x="18" y="60"/>
                  <a:pt x="18" y="60"/>
                </a:cubicBezTo>
                <a:cubicBezTo>
                  <a:pt x="27" y="50"/>
                  <a:pt x="27" y="50"/>
                  <a:pt x="27" y="50"/>
                </a:cubicBezTo>
                <a:cubicBezTo>
                  <a:pt x="30" y="40"/>
                  <a:pt x="30" y="40"/>
                  <a:pt x="30" y="40"/>
                </a:cubicBezTo>
                <a:cubicBezTo>
                  <a:pt x="35" y="39"/>
                  <a:pt x="35" y="39"/>
                  <a:pt x="35" y="39"/>
                </a:cubicBezTo>
                <a:cubicBezTo>
                  <a:pt x="38" y="27"/>
                  <a:pt x="38" y="27"/>
                  <a:pt x="38" y="27"/>
                </a:cubicBezTo>
                <a:cubicBezTo>
                  <a:pt x="29" y="29"/>
                  <a:pt x="29" y="29"/>
                  <a:pt x="29" y="29"/>
                </a:cubicBezTo>
                <a:cubicBezTo>
                  <a:pt x="20" y="18"/>
                  <a:pt x="20" y="18"/>
                  <a:pt x="20" y="18"/>
                </a:cubicBezTo>
                <a:cubicBezTo>
                  <a:pt x="15" y="17"/>
                  <a:pt x="15" y="17"/>
                  <a:pt x="15" y="17"/>
                </a:cubicBezTo>
                <a:cubicBezTo>
                  <a:pt x="15" y="17"/>
                  <a:pt x="9" y="0"/>
                  <a:pt x="0" y="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  <a:endParaRPr/>
          </a:p>
        </p:txBody>
      </p:sp>
      <p:sp>
        <p:nvSpPr>
          <p:cNvPr id="192" name="ísḷíḑê">
            <a:extLst>
              <a:ext uri="{FF2B5EF4-FFF2-40B4-BE49-F238E27FC236}">
                <a16:creationId xmlns:a16="http://schemas.microsoft.com/office/drawing/2014/main" id="{898D8F1A-C011-4B27-9411-153F9BAAB6CA}"/>
              </a:ext>
            </a:extLst>
          </p:cNvPr>
          <p:cNvSpPr/>
          <p:nvPr/>
        </p:nvSpPr>
        <p:spPr bwMode="auto">
          <a:xfrm>
            <a:off x="11200650" y="3260899"/>
            <a:ext cx="144919" cy="144919"/>
          </a:xfrm>
          <a:custGeom>
            <a:avLst/>
            <a:gdLst>
              <a:gd name="T0" fmla="*/ 64 w 64"/>
              <a:gd name="T1" fmla="*/ 13 h 64"/>
              <a:gd name="T2" fmla="*/ 41 w 64"/>
              <a:gd name="T3" fmla="*/ 34 h 64"/>
              <a:gd name="T4" fmla="*/ 37 w 64"/>
              <a:gd name="T5" fmla="*/ 48 h 64"/>
              <a:gd name="T6" fmla="*/ 26 w 64"/>
              <a:gd name="T7" fmla="*/ 64 h 64"/>
              <a:gd name="T8" fmla="*/ 0 w 64"/>
              <a:gd name="T9" fmla="*/ 56 h 64"/>
              <a:gd name="T10" fmla="*/ 13 w 64"/>
              <a:gd name="T11" fmla="*/ 29 h 64"/>
              <a:gd name="T12" fmla="*/ 31 w 64"/>
              <a:gd name="T13" fmla="*/ 19 h 64"/>
              <a:gd name="T14" fmla="*/ 45 w 64"/>
              <a:gd name="T15" fmla="*/ 0 h 64"/>
              <a:gd name="T16" fmla="*/ 59 w 64"/>
              <a:gd name="T17" fmla="*/ 0 h 64"/>
              <a:gd name="T18" fmla="*/ 64 w 64"/>
              <a:gd name="T19" fmla="*/ 13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4" h="64">
                <a:moveTo>
                  <a:pt x="64" y="13"/>
                </a:moveTo>
                <a:lnTo>
                  <a:pt x="41" y="34"/>
                </a:lnTo>
                <a:lnTo>
                  <a:pt x="37" y="48"/>
                </a:lnTo>
                <a:lnTo>
                  <a:pt x="26" y="64"/>
                </a:lnTo>
                <a:lnTo>
                  <a:pt x="0" y="56"/>
                </a:lnTo>
                <a:lnTo>
                  <a:pt x="13" y="29"/>
                </a:lnTo>
                <a:lnTo>
                  <a:pt x="31" y="19"/>
                </a:lnTo>
                <a:lnTo>
                  <a:pt x="45" y="0"/>
                </a:lnTo>
                <a:lnTo>
                  <a:pt x="59" y="0"/>
                </a:lnTo>
                <a:lnTo>
                  <a:pt x="64" y="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93" name="íṡ1idè">
            <a:extLst>
              <a:ext uri="{FF2B5EF4-FFF2-40B4-BE49-F238E27FC236}">
                <a16:creationId xmlns:a16="http://schemas.microsoft.com/office/drawing/2014/main" id="{15C13CE7-A77C-4477-A01F-4D786E8180E3}"/>
              </a:ext>
            </a:extLst>
          </p:cNvPr>
          <p:cNvSpPr/>
          <p:nvPr/>
        </p:nvSpPr>
        <p:spPr bwMode="auto">
          <a:xfrm>
            <a:off x="10534931" y="2427617"/>
            <a:ext cx="384940" cy="192470"/>
          </a:xfrm>
          <a:custGeom>
            <a:avLst/>
            <a:gdLst>
              <a:gd name="T0" fmla="*/ 35 w 170"/>
              <a:gd name="T1" fmla="*/ 24 h 85"/>
              <a:gd name="T2" fmla="*/ 28 w 170"/>
              <a:gd name="T3" fmla="*/ 19 h 85"/>
              <a:gd name="T4" fmla="*/ 28 w 170"/>
              <a:gd name="T5" fmla="*/ 0 h 85"/>
              <a:gd name="T6" fmla="*/ 5 w 170"/>
              <a:gd name="T7" fmla="*/ 2 h 85"/>
              <a:gd name="T8" fmla="*/ 0 w 170"/>
              <a:gd name="T9" fmla="*/ 7 h 85"/>
              <a:gd name="T10" fmla="*/ 9 w 170"/>
              <a:gd name="T11" fmla="*/ 15 h 85"/>
              <a:gd name="T12" fmla="*/ 18 w 170"/>
              <a:gd name="T13" fmla="*/ 18 h 85"/>
              <a:gd name="T14" fmla="*/ 9 w 170"/>
              <a:gd name="T15" fmla="*/ 25 h 85"/>
              <a:gd name="T16" fmla="*/ 15 w 170"/>
              <a:gd name="T17" fmla="*/ 30 h 85"/>
              <a:gd name="T18" fmla="*/ 28 w 170"/>
              <a:gd name="T19" fmla="*/ 30 h 85"/>
              <a:gd name="T20" fmla="*/ 56 w 170"/>
              <a:gd name="T21" fmla="*/ 40 h 85"/>
              <a:gd name="T22" fmla="*/ 63 w 170"/>
              <a:gd name="T23" fmla="*/ 52 h 85"/>
              <a:gd name="T24" fmla="*/ 56 w 170"/>
              <a:gd name="T25" fmla="*/ 66 h 85"/>
              <a:gd name="T26" fmla="*/ 73 w 170"/>
              <a:gd name="T27" fmla="*/ 65 h 85"/>
              <a:gd name="T28" fmla="*/ 86 w 170"/>
              <a:gd name="T29" fmla="*/ 73 h 85"/>
              <a:gd name="T30" fmla="*/ 106 w 170"/>
              <a:gd name="T31" fmla="*/ 68 h 85"/>
              <a:gd name="T32" fmla="*/ 112 w 170"/>
              <a:gd name="T33" fmla="*/ 59 h 85"/>
              <a:gd name="T34" fmla="*/ 129 w 170"/>
              <a:gd name="T35" fmla="*/ 70 h 85"/>
              <a:gd name="T36" fmla="*/ 134 w 170"/>
              <a:gd name="T37" fmla="*/ 82 h 85"/>
              <a:gd name="T38" fmla="*/ 170 w 170"/>
              <a:gd name="T39" fmla="*/ 85 h 85"/>
              <a:gd name="T40" fmla="*/ 166 w 170"/>
              <a:gd name="T41" fmla="*/ 75 h 85"/>
              <a:gd name="T42" fmla="*/ 134 w 170"/>
              <a:gd name="T43" fmla="*/ 54 h 85"/>
              <a:gd name="T44" fmla="*/ 139 w 170"/>
              <a:gd name="T45" fmla="*/ 43 h 85"/>
              <a:gd name="T46" fmla="*/ 122 w 170"/>
              <a:gd name="T47" fmla="*/ 37 h 85"/>
              <a:gd name="T48" fmla="*/ 105 w 170"/>
              <a:gd name="T49" fmla="*/ 25 h 85"/>
              <a:gd name="T50" fmla="*/ 60 w 170"/>
              <a:gd name="T51" fmla="*/ 9 h 85"/>
              <a:gd name="T52" fmla="*/ 35 w 170"/>
              <a:gd name="T53" fmla="*/ 24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70" h="85">
                <a:moveTo>
                  <a:pt x="35" y="24"/>
                </a:moveTo>
                <a:lnTo>
                  <a:pt x="28" y="19"/>
                </a:lnTo>
                <a:lnTo>
                  <a:pt x="28" y="0"/>
                </a:lnTo>
                <a:lnTo>
                  <a:pt x="5" y="2"/>
                </a:lnTo>
                <a:lnTo>
                  <a:pt x="0" y="7"/>
                </a:lnTo>
                <a:lnTo>
                  <a:pt x="9" y="15"/>
                </a:lnTo>
                <a:lnTo>
                  <a:pt x="18" y="18"/>
                </a:lnTo>
                <a:lnTo>
                  <a:pt x="9" y="25"/>
                </a:lnTo>
                <a:lnTo>
                  <a:pt x="15" y="30"/>
                </a:lnTo>
                <a:lnTo>
                  <a:pt x="28" y="30"/>
                </a:lnTo>
                <a:lnTo>
                  <a:pt x="56" y="40"/>
                </a:lnTo>
                <a:lnTo>
                  <a:pt x="63" y="52"/>
                </a:lnTo>
                <a:lnTo>
                  <a:pt x="56" y="66"/>
                </a:lnTo>
                <a:lnTo>
                  <a:pt x="73" y="65"/>
                </a:lnTo>
                <a:lnTo>
                  <a:pt x="86" y="73"/>
                </a:lnTo>
                <a:lnTo>
                  <a:pt x="106" y="68"/>
                </a:lnTo>
                <a:lnTo>
                  <a:pt x="112" y="59"/>
                </a:lnTo>
                <a:lnTo>
                  <a:pt x="129" y="70"/>
                </a:lnTo>
                <a:lnTo>
                  <a:pt x="134" y="82"/>
                </a:lnTo>
                <a:lnTo>
                  <a:pt x="170" y="85"/>
                </a:lnTo>
                <a:lnTo>
                  <a:pt x="166" y="75"/>
                </a:lnTo>
                <a:lnTo>
                  <a:pt x="134" y="54"/>
                </a:lnTo>
                <a:lnTo>
                  <a:pt x="139" y="43"/>
                </a:lnTo>
                <a:lnTo>
                  <a:pt x="122" y="37"/>
                </a:lnTo>
                <a:lnTo>
                  <a:pt x="105" y="25"/>
                </a:lnTo>
                <a:lnTo>
                  <a:pt x="60" y="9"/>
                </a:lnTo>
                <a:lnTo>
                  <a:pt x="35" y="2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40000" lnSpcReduction="20000"/>
          </a:bodyPr>
          <a:lstStyle/>
          <a:p>
            <a:pPr algn="ctr"/>
            <a:endParaRPr/>
          </a:p>
        </p:txBody>
      </p:sp>
      <p:sp>
        <p:nvSpPr>
          <p:cNvPr id="194" name="iṩḷîḓè">
            <a:extLst>
              <a:ext uri="{FF2B5EF4-FFF2-40B4-BE49-F238E27FC236}">
                <a16:creationId xmlns:a16="http://schemas.microsoft.com/office/drawing/2014/main" id="{D8D44E0D-35E8-422B-8F06-29F63AE083A3}"/>
              </a:ext>
            </a:extLst>
          </p:cNvPr>
          <p:cNvSpPr/>
          <p:nvPr/>
        </p:nvSpPr>
        <p:spPr bwMode="auto">
          <a:xfrm>
            <a:off x="10879112" y="2500076"/>
            <a:ext cx="65666" cy="36230"/>
          </a:xfrm>
          <a:custGeom>
            <a:avLst/>
            <a:gdLst>
              <a:gd name="T0" fmla="*/ 0 w 29"/>
              <a:gd name="T1" fmla="*/ 10 h 16"/>
              <a:gd name="T2" fmla="*/ 12 w 29"/>
              <a:gd name="T3" fmla="*/ 10 h 16"/>
              <a:gd name="T4" fmla="*/ 19 w 29"/>
              <a:gd name="T5" fmla="*/ 0 h 16"/>
              <a:gd name="T6" fmla="*/ 29 w 29"/>
              <a:gd name="T7" fmla="*/ 5 h 16"/>
              <a:gd name="T8" fmla="*/ 18 w 29"/>
              <a:gd name="T9" fmla="*/ 15 h 16"/>
              <a:gd name="T10" fmla="*/ 1 w 29"/>
              <a:gd name="T11" fmla="*/ 16 h 16"/>
              <a:gd name="T12" fmla="*/ 0 w 29"/>
              <a:gd name="T13" fmla="*/ 1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16">
                <a:moveTo>
                  <a:pt x="0" y="10"/>
                </a:moveTo>
                <a:lnTo>
                  <a:pt x="12" y="10"/>
                </a:lnTo>
                <a:lnTo>
                  <a:pt x="19" y="0"/>
                </a:lnTo>
                <a:lnTo>
                  <a:pt x="29" y="5"/>
                </a:lnTo>
                <a:lnTo>
                  <a:pt x="18" y="15"/>
                </a:lnTo>
                <a:lnTo>
                  <a:pt x="1" y="16"/>
                </a:lnTo>
                <a:lnTo>
                  <a:pt x="0" y="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95" name="î$ľïde">
            <a:extLst>
              <a:ext uri="{FF2B5EF4-FFF2-40B4-BE49-F238E27FC236}">
                <a16:creationId xmlns:a16="http://schemas.microsoft.com/office/drawing/2014/main" id="{8A01C518-7A61-4B00-A26A-DBA001C8705D}"/>
              </a:ext>
            </a:extLst>
          </p:cNvPr>
          <p:cNvSpPr/>
          <p:nvPr/>
        </p:nvSpPr>
        <p:spPr bwMode="auto">
          <a:xfrm>
            <a:off x="9572581" y="2237411"/>
            <a:ext cx="40758" cy="72459"/>
          </a:xfrm>
          <a:custGeom>
            <a:avLst/>
            <a:gdLst>
              <a:gd name="T0" fmla="*/ 9 w 18"/>
              <a:gd name="T1" fmla="*/ 0 h 32"/>
              <a:gd name="T2" fmla="*/ 18 w 18"/>
              <a:gd name="T3" fmla="*/ 23 h 32"/>
              <a:gd name="T4" fmla="*/ 9 w 18"/>
              <a:gd name="T5" fmla="*/ 32 h 32"/>
              <a:gd name="T6" fmla="*/ 0 w 18"/>
              <a:gd name="T7" fmla="*/ 18 h 32"/>
              <a:gd name="T8" fmla="*/ 9 w 18"/>
              <a:gd name="T9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32">
                <a:moveTo>
                  <a:pt x="9" y="0"/>
                </a:moveTo>
                <a:lnTo>
                  <a:pt x="18" y="23"/>
                </a:lnTo>
                <a:lnTo>
                  <a:pt x="9" y="32"/>
                </a:lnTo>
                <a:lnTo>
                  <a:pt x="0" y="18"/>
                </a:lnTo>
                <a:lnTo>
                  <a:pt x="9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96" name="îšľide">
            <a:extLst>
              <a:ext uri="{FF2B5EF4-FFF2-40B4-BE49-F238E27FC236}">
                <a16:creationId xmlns:a16="http://schemas.microsoft.com/office/drawing/2014/main" id="{C79BABCF-1466-4103-A96D-884F3362B5E0}"/>
              </a:ext>
            </a:extLst>
          </p:cNvPr>
          <p:cNvSpPr/>
          <p:nvPr/>
        </p:nvSpPr>
        <p:spPr bwMode="auto">
          <a:xfrm>
            <a:off x="8888746" y="2640466"/>
            <a:ext cx="135861" cy="269458"/>
          </a:xfrm>
          <a:custGeom>
            <a:avLst/>
            <a:gdLst>
              <a:gd name="T0" fmla="*/ 46 w 60"/>
              <a:gd name="T1" fmla="*/ 0 h 119"/>
              <a:gd name="T2" fmla="*/ 34 w 60"/>
              <a:gd name="T3" fmla="*/ 26 h 119"/>
              <a:gd name="T4" fmla="*/ 4 w 60"/>
              <a:gd name="T5" fmla="*/ 42 h 119"/>
              <a:gd name="T6" fmla="*/ 3 w 60"/>
              <a:gd name="T7" fmla="*/ 63 h 119"/>
              <a:gd name="T8" fmla="*/ 0 w 60"/>
              <a:gd name="T9" fmla="*/ 86 h 119"/>
              <a:gd name="T10" fmla="*/ 5 w 60"/>
              <a:gd name="T11" fmla="*/ 113 h 119"/>
              <a:gd name="T12" fmla="*/ 20 w 60"/>
              <a:gd name="T13" fmla="*/ 119 h 119"/>
              <a:gd name="T14" fmla="*/ 33 w 60"/>
              <a:gd name="T15" fmla="*/ 113 h 119"/>
              <a:gd name="T16" fmla="*/ 60 w 60"/>
              <a:gd name="T17" fmla="*/ 32 h 119"/>
              <a:gd name="T18" fmla="*/ 46 w 60"/>
              <a:gd name="T19" fmla="*/ 0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0" h="119">
                <a:moveTo>
                  <a:pt x="46" y="0"/>
                </a:moveTo>
                <a:lnTo>
                  <a:pt x="34" y="26"/>
                </a:lnTo>
                <a:lnTo>
                  <a:pt x="4" y="42"/>
                </a:lnTo>
                <a:lnTo>
                  <a:pt x="3" y="63"/>
                </a:lnTo>
                <a:lnTo>
                  <a:pt x="0" y="86"/>
                </a:lnTo>
                <a:lnTo>
                  <a:pt x="5" y="113"/>
                </a:lnTo>
                <a:lnTo>
                  <a:pt x="20" y="119"/>
                </a:lnTo>
                <a:lnTo>
                  <a:pt x="33" y="113"/>
                </a:lnTo>
                <a:lnTo>
                  <a:pt x="60" y="32"/>
                </a:lnTo>
                <a:lnTo>
                  <a:pt x="4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77500" lnSpcReduction="20000"/>
          </a:bodyPr>
          <a:lstStyle/>
          <a:p>
            <a:pPr algn="ctr"/>
            <a:endParaRPr/>
          </a:p>
        </p:txBody>
      </p:sp>
      <p:sp>
        <p:nvSpPr>
          <p:cNvPr id="197" name="îsḷíḋê">
            <a:extLst>
              <a:ext uri="{FF2B5EF4-FFF2-40B4-BE49-F238E27FC236}">
                <a16:creationId xmlns:a16="http://schemas.microsoft.com/office/drawing/2014/main" id="{8006C1BC-4518-4E3E-BEB3-1CE09180C40F}"/>
              </a:ext>
            </a:extLst>
          </p:cNvPr>
          <p:cNvSpPr/>
          <p:nvPr/>
        </p:nvSpPr>
        <p:spPr bwMode="auto">
          <a:xfrm>
            <a:off x="8675897" y="2416295"/>
            <a:ext cx="43023" cy="65666"/>
          </a:xfrm>
          <a:custGeom>
            <a:avLst/>
            <a:gdLst>
              <a:gd name="T0" fmla="*/ 18 w 19"/>
              <a:gd name="T1" fmla="*/ 0 h 29"/>
              <a:gd name="T2" fmla="*/ 1 w 19"/>
              <a:gd name="T3" fmla="*/ 4 h 29"/>
              <a:gd name="T4" fmla="*/ 0 w 19"/>
              <a:gd name="T5" fmla="*/ 19 h 29"/>
              <a:gd name="T6" fmla="*/ 8 w 19"/>
              <a:gd name="T7" fmla="*/ 29 h 29"/>
              <a:gd name="T8" fmla="*/ 19 w 19"/>
              <a:gd name="T9" fmla="*/ 9 h 29"/>
              <a:gd name="T10" fmla="*/ 18 w 19"/>
              <a:gd name="T11" fmla="*/ 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" h="29">
                <a:moveTo>
                  <a:pt x="18" y="0"/>
                </a:moveTo>
                <a:lnTo>
                  <a:pt x="1" y="4"/>
                </a:lnTo>
                <a:lnTo>
                  <a:pt x="0" y="19"/>
                </a:lnTo>
                <a:lnTo>
                  <a:pt x="8" y="29"/>
                </a:lnTo>
                <a:lnTo>
                  <a:pt x="19" y="9"/>
                </a:lnTo>
                <a:lnTo>
                  <a:pt x="1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98" name="ïş1ide">
            <a:extLst>
              <a:ext uri="{FF2B5EF4-FFF2-40B4-BE49-F238E27FC236}">
                <a16:creationId xmlns:a16="http://schemas.microsoft.com/office/drawing/2014/main" id="{F4B384CE-36C4-4C35-9979-13BACA1C67D3}"/>
              </a:ext>
            </a:extLst>
          </p:cNvPr>
          <p:cNvSpPr/>
          <p:nvPr/>
        </p:nvSpPr>
        <p:spPr bwMode="auto">
          <a:xfrm>
            <a:off x="7629766" y="722559"/>
            <a:ext cx="221907" cy="160769"/>
          </a:xfrm>
          <a:custGeom>
            <a:avLst/>
            <a:gdLst>
              <a:gd name="T0" fmla="*/ 98 w 98"/>
              <a:gd name="T1" fmla="*/ 36 h 71"/>
              <a:gd name="T2" fmla="*/ 55 w 98"/>
              <a:gd name="T3" fmla="*/ 71 h 71"/>
              <a:gd name="T4" fmla="*/ 17 w 98"/>
              <a:gd name="T5" fmla="*/ 47 h 71"/>
              <a:gd name="T6" fmla="*/ 17 w 98"/>
              <a:gd name="T7" fmla="*/ 28 h 71"/>
              <a:gd name="T8" fmla="*/ 0 w 98"/>
              <a:gd name="T9" fmla="*/ 24 h 71"/>
              <a:gd name="T10" fmla="*/ 9 w 98"/>
              <a:gd name="T11" fmla="*/ 0 h 71"/>
              <a:gd name="T12" fmla="*/ 31 w 98"/>
              <a:gd name="T13" fmla="*/ 14 h 71"/>
              <a:gd name="T14" fmla="*/ 77 w 98"/>
              <a:gd name="T15" fmla="*/ 8 h 71"/>
              <a:gd name="T16" fmla="*/ 98 w 98"/>
              <a:gd name="T17" fmla="*/ 36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8" h="71">
                <a:moveTo>
                  <a:pt x="98" y="36"/>
                </a:moveTo>
                <a:lnTo>
                  <a:pt x="55" y="71"/>
                </a:lnTo>
                <a:lnTo>
                  <a:pt x="17" y="47"/>
                </a:lnTo>
                <a:lnTo>
                  <a:pt x="17" y="28"/>
                </a:lnTo>
                <a:lnTo>
                  <a:pt x="0" y="24"/>
                </a:lnTo>
                <a:lnTo>
                  <a:pt x="9" y="0"/>
                </a:lnTo>
                <a:lnTo>
                  <a:pt x="31" y="14"/>
                </a:lnTo>
                <a:lnTo>
                  <a:pt x="77" y="8"/>
                </a:lnTo>
                <a:lnTo>
                  <a:pt x="98" y="3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99" name="iśļïḑé">
            <a:extLst>
              <a:ext uri="{FF2B5EF4-FFF2-40B4-BE49-F238E27FC236}">
                <a16:creationId xmlns:a16="http://schemas.microsoft.com/office/drawing/2014/main" id="{28C1D0C0-8F55-4044-8390-3A161DA6F047}"/>
              </a:ext>
            </a:extLst>
          </p:cNvPr>
          <p:cNvSpPr/>
          <p:nvPr/>
        </p:nvSpPr>
        <p:spPr bwMode="auto">
          <a:xfrm>
            <a:off x="7971683" y="1059947"/>
            <a:ext cx="142654" cy="258136"/>
          </a:xfrm>
          <a:custGeom>
            <a:avLst/>
            <a:gdLst>
              <a:gd name="T0" fmla="*/ 16 w 49"/>
              <a:gd name="T1" fmla="*/ 0 h 90"/>
              <a:gd name="T2" fmla="*/ 4 w 49"/>
              <a:gd name="T3" fmla="*/ 5 h 90"/>
              <a:gd name="T4" fmla="*/ 0 w 49"/>
              <a:gd name="T5" fmla="*/ 28 h 90"/>
              <a:gd name="T6" fmla="*/ 19 w 49"/>
              <a:gd name="T7" fmla="*/ 58 h 90"/>
              <a:gd name="T8" fmla="*/ 3 w 49"/>
              <a:gd name="T9" fmla="*/ 70 h 90"/>
              <a:gd name="T10" fmla="*/ 3 w 49"/>
              <a:gd name="T11" fmla="*/ 90 h 90"/>
              <a:gd name="T12" fmla="*/ 28 w 49"/>
              <a:gd name="T13" fmla="*/ 90 h 90"/>
              <a:gd name="T14" fmla="*/ 47 w 49"/>
              <a:gd name="T15" fmla="*/ 83 h 90"/>
              <a:gd name="T16" fmla="*/ 49 w 49"/>
              <a:gd name="T17" fmla="*/ 69 h 90"/>
              <a:gd name="T18" fmla="*/ 34 w 49"/>
              <a:gd name="T19" fmla="*/ 49 h 90"/>
              <a:gd name="T20" fmla="*/ 21 w 49"/>
              <a:gd name="T21" fmla="*/ 30 h 90"/>
              <a:gd name="T22" fmla="*/ 26 w 49"/>
              <a:gd name="T23" fmla="*/ 12 h 90"/>
              <a:gd name="T24" fmla="*/ 19 w 49"/>
              <a:gd name="T25" fmla="*/ 12 h 90"/>
              <a:gd name="T26" fmla="*/ 16 w 49"/>
              <a:gd name="T27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9" h="90">
                <a:moveTo>
                  <a:pt x="16" y="0"/>
                </a:moveTo>
                <a:cubicBezTo>
                  <a:pt x="12" y="0"/>
                  <a:pt x="4" y="5"/>
                  <a:pt x="4" y="5"/>
                </a:cubicBezTo>
                <a:cubicBezTo>
                  <a:pt x="0" y="28"/>
                  <a:pt x="0" y="28"/>
                  <a:pt x="0" y="28"/>
                </a:cubicBezTo>
                <a:cubicBezTo>
                  <a:pt x="19" y="58"/>
                  <a:pt x="19" y="58"/>
                  <a:pt x="19" y="58"/>
                </a:cubicBezTo>
                <a:cubicBezTo>
                  <a:pt x="3" y="70"/>
                  <a:pt x="3" y="70"/>
                  <a:pt x="3" y="70"/>
                </a:cubicBezTo>
                <a:cubicBezTo>
                  <a:pt x="3" y="90"/>
                  <a:pt x="3" y="90"/>
                  <a:pt x="3" y="90"/>
                </a:cubicBezTo>
                <a:cubicBezTo>
                  <a:pt x="28" y="90"/>
                  <a:pt x="28" y="90"/>
                  <a:pt x="28" y="90"/>
                </a:cubicBezTo>
                <a:cubicBezTo>
                  <a:pt x="47" y="83"/>
                  <a:pt x="47" y="83"/>
                  <a:pt x="47" y="83"/>
                </a:cubicBezTo>
                <a:cubicBezTo>
                  <a:pt x="49" y="69"/>
                  <a:pt x="49" y="69"/>
                  <a:pt x="49" y="69"/>
                </a:cubicBezTo>
                <a:cubicBezTo>
                  <a:pt x="34" y="49"/>
                  <a:pt x="34" y="49"/>
                  <a:pt x="34" y="49"/>
                </a:cubicBezTo>
                <a:cubicBezTo>
                  <a:pt x="21" y="30"/>
                  <a:pt x="21" y="30"/>
                  <a:pt x="21" y="30"/>
                </a:cubicBezTo>
                <a:cubicBezTo>
                  <a:pt x="26" y="12"/>
                  <a:pt x="26" y="12"/>
                  <a:pt x="26" y="12"/>
                </a:cubicBezTo>
                <a:cubicBezTo>
                  <a:pt x="19" y="12"/>
                  <a:pt x="19" y="12"/>
                  <a:pt x="19" y="12"/>
                </a:cubicBezTo>
                <a:lnTo>
                  <a:pt x="1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70000" lnSpcReduction="20000"/>
          </a:bodyPr>
          <a:lstStyle/>
          <a:p>
            <a:pPr algn="ctr"/>
            <a:endParaRPr/>
          </a:p>
        </p:txBody>
      </p:sp>
      <p:sp>
        <p:nvSpPr>
          <p:cNvPr id="200" name="íṩḻíḍé">
            <a:extLst>
              <a:ext uri="{FF2B5EF4-FFF2-40B4-BE49-F238E27FC236}">
                <a16:creationId xmlns:a16="http://schemas.microsoft.com/office/drawing/2014/main" id="{8FF8902E-D52E-48C7-989B-A16F4B71976B}"/>
              </a:ext>
            </a:extLst>
          </p:cNvPr>
          <p:cNvSpPr/>
          <p:nvPr/>
        </p:nvSpPr>
        <p:spPr bwMode="auto">
          <a:xfrm>
            <a:off x="7892431" y="1173165"/>
            <a:ext cx="79252" cy="117746"/>
          </a:xfrm>
          <a:custGeom>
            <a:avLst/>
            <a:gdLst>
              <a:gd name="T0" fmla="*/ 23 w 35"/>
              <a:gd name="T1" fmla="*/ 0 h 52"/>
              <a:gd name="T2" fmla="*/ 35 w 35"/>
              <a:gd name="T3" fmla="*/ 0 h 52"/>
              <a:gd name="T4" fmla="*/ 33 w 35"/>
              <a:gd name="T5" fmla="*/ 19 h 52"/>
              <a:gd name="T6" fmla="*/ 25 w 35"/>
              <a:gd name="T7" fmla="*/ 46 h 52"/>
              <a:gd name="T8" fmla="*/ 0 w 35"/>
              <a:gd name="T9" fmla="*/ 52 h 52"/>
              <a:gd name="T10" fmla="*/ 4 w 35"/>
              <a:gd name="T11" fmla="*/ 22 h 52"/>
              <a:gd name="T12" fmla="*/ 5 w 35"/>
              <a:gd name="T13" fmla="*/ 8 h 52"/>
              <a:gd name="T14" fmla="*/ 23 w 35"/>
              <a:gd name="T15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5" h="52">
                <a:moveTo>
                  <a:pt x="23" y="0"/>
                </a:moveTo>
                <a:lnTo>
                  <a:pt x="35" y="0"/>
                </a:lnTo>
                <a:lnTo>
                  <a:pt x="33" y="19"/>
                </a:lnTo>
                <a:lnTo>
                  <a:pt x="25" y="46"/>
                </a:lnTo>
                <a:lnTo>
                  <a:pt x="0" y="52"/>
                </a:lnTo>
                <a:lnTo>
                  <a:pt x="4" y="22"/>
                </a:lnTo>
                <a:lnTo>
                  <a:pt x="5" y="8"/>
                </a:lnTo>
                <a:lnTo>
                  <a:pt x="2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01" name="íś1îḓé">
            <a:extLst>
              <a:ext uri="{FF2B5EF4-FFF2-40B4-BE49-F238E27FC236}">
                <a16:creationId xmlns:a16="http://schemas.microsoft.com/office/drawing/2014/main" id="{C4A89109-7FDB-440E-96F1-89B14EFCBBBA}"/>
              </a:ext>
            </a:extLst>
          </p:cNvPr>
          <p:cNvSpPr/>
          <p:nvPr/>
        </p:nvSpPr>
        <p:spPr bwMode="auto">
          <a:xfrm>
            <a:off x="8227555" y="1551312"/>
            <a:ext cx="36230" cy="79252"/>
          </a:xfrm>
          <a:custGeom>
            <a:avLst/>
            <a:gdLst>
              <a:gd name="T0" fmla="*/ 13 w 16"/>
              <a:gd name="T1" fmla="*/ 0 h 35"/>
              <a:gd name="T2" fmla="*/ 16 w 16"/>
              <a:gd name="T3" fmla="*/ 15 h 35"/>
              <a:gd name="T4" fmla="*/ 8 w 16"/>
              <a:gd name="T5" fmla="*/ 35 h 35"/>
              <a:gd name="T6" fmla="*/ 0 w 16"/>
              <a:gd name="T7" fmla="*/ 20 h 35"/>
              <a:gd name="T8" fmla="*/ 13 w 16"/>
              <a:gd name="T9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35">
                <a:moveTo>
                  <a:pt x="13" y="0"/>
                </a:moveTo>
                <a:lnTo>
                  <a:pt x="16" y="15"/>
                </a:lnTo>
                <a:lnTo>
                  <a:pt x="8" y="35"/>
                </a:lnTo>
                <a:lnTo>
                  <a:pt x="0" y="20"/>
                </a:lnTo>
                <a:lnTo>
                  <a:pt x="1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02" name="íslïḍê">
            <a:extLst>
              <a:ext uri="{FF2B5EF4-FFF2-40B4-BE49-F238E27FC236}">
                <a16:creationId xmlns:a16="http://schemas.microsoft.com/office/drawing/2014/main" id="{2691677E-A6E3-4860-BC38-29B4AE7B2BAA}"/>
              </a:ext>
            </a:extLst>
          </p:cNvPr>
          <p:cNvSpPr/>
          <p:nvPr/>
        </p:nvSpPr>
        <p:spPr bwMode="auto">
          <a:xfrm>
            <a:off x="6683266" y="-15621"/>
            <a:ext cx="1050660" cy="1030281"/>
          </a:xfrm>
          <a:custGeom>
            <a:avLst/>
            <a:gdLst>
              <a:gd name="T0" fmla="*/ 0 w 366"/>
              <a:gd name="T1" fmla="*/ 4 h 359"/>
              <a:gd name="T2" fmla="*/ 22 w 366"/>
              <a:gd name="T3" fmla="*/ 15 h 359"/>
              <a:gd name="T4" fmla="*/ 53 w 366"/>
              <a:gd name="T5" fmla="*/ 25 h 359"/>
              <a:gd name="T6" fmla="*/ 47 w 366"/>
              <a:gd name="T7" fmla="*/ 32 h 359"/>
              <a:gd name="T8" fmla="*/ 21 w 366"/>
              <a:gd name="T9" fmla="*/ 38 h 359"/>
              <a:gd name="T10" fmla="*/ 30 w 366"/>
              <a:gd name="T11" fmla="*/ 46 h 359"/>
              <a:gd name="T12" fmla="*/ 46 w 366"/>
              <a:gd name="T13" fmla="*/ 71 h 359"/>
              <a:gd name="T14" fmla="*/ 59 w 366"/>
              <a:gd name="T15" fmla="*/ 60 h 359"/>
              <a:gd name="T16" fmla="*/ 74 w 366"/>
              <a:gd name="T17" fmla="*/ 58 h 359"/>
              <a:gd name="T18" fmla="*/ 104 w 366"/>
              <a:gd name="T19" fmla="*/ 74 h 359"/>
              <a:gd name="T20" fmla="*/ 119 w 366"/>
              <a:gd name="T21" fmla="*/ 105 h 359"/>
              <a:gd name="T22" fmla="*/ 124 w 366"/>
              <a:gd name="T23" fmla="*/ 160 h 359"/>
              <a:gd name="T24" fmla="*/ 142 w 366"/>
              <a:gd name="T25" fmla="*/ 186 h 359"/>
              <a:gd name="T26" fmla="*/ 133 w 366"/>
              <a:gd name="T27" fmla="*/ 213 h 359"/>
              <a:gd name="T28" fmla="*/ 141 w 366"/>
              <a:gd name="T29" fmla="*/ 231 h 359"/>
              <a:gd name="T30" fmla="*/ 132 w 366"/>
              <a:gd name="T31" fmla="*/ 285 h 359"/>
              <a:gd name="T32" fmla="*/ 173 w 366"/>
              <a:gd name="T33" fmla="*/ 347 h 359"/>
              <a:gd name="T34" fmla="*/ 202 w 366"/>
              <a:gd name="T35" fmla="*/ 359 h 359"/>
              <a:gd name="T36" fmla="*/ 223 w 366"/>
              <a:gd name="T37" fmla="*/ 296 h 359"/>
              <a:gd name="T38" fmla="*/ 240 w 366"/>
              <a:gd name="T39" fmla="*/ 267 h 359"/>
              <a:gd name="T40" fmla="*/ 279 w 366"/>
              <a:gd name="T41" fmla="*/ 237 h 359"/>
              <a:gd name="T42" fmla="*/ 345 w 366"/>
              <a:gd name="T43" fmla="*/ 192 h 359"/>
              <a:gd name="T44" fmla="*/ 341 w 366"/>
              <a:gd name="T45" fmla="*/ 159 h 359"/>
              <a:gd name="T46" fmla="*/ 353 w 366"/>
              <a:gd name="T47" fmla="*/ 120 h 359"/>
              <a:gd name="T48" fmla="*/ 357 w 366"/>
              <a:gd name="T49" fmla="*/ 64 h 359"/>
              <a:gd name="T50" fmla="*/ 349 w 366"/>
              <a:gd name="T51" fmla="*/ 48 h 359"/>
              <a:gd name="T52" fmla="*/ 366 w 366"/>
              <a:gd name="T53" fmla="*/ 45 h 359"/>
              <a:gd name="T54" fmla="*/ 360 w 366"/>
              <a:gd name="T55" fmla="*/ 22 h 359"/>
              <a:gd name="T56" fmla="*/ 346 w 366"/>
              <a:gd name="T57" fmla="*/ 0 h 359"/>
              <a:gd name="T58" fmla="*/ 0 w 366"/>
              <a:gd name="T59" fmla="*/ 4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66" h="359">
                <a:moveTo>
                  <a:pt x="0" y="4"/>
                </a:moveTo>
                <a:cubicBezTo>
                  <a:pt x="22" y="15"/>
                  <a:pt x="22" y="15"/>
                  <a:pt x="22" y="15"/>
                </a:cubicBezTo>
                <a:cubicBezTo>
                  <a:pt x="53" y="25"/>
                  <a:pt x="53" y="25"/>
                  <a:pt x="53" y="25"/>
                </a:cubicBezTo>
                <a:cubicBezTo>
                  <a:pt x="47" y="32"/>
                  <a:pt x="47" y="32"/>
                  <a:pt x="47" y="32"/>
                </a:cubicBezTo>
                <a:cubicBezTo>
                  <a:pt x="21" y="38"/>
                  <a:pt x="21" y="38"/>
                  <a:pt x="21" y="38"/>
                </a:cubicBezTo>
                <a:cubicBezTo>
                  <a:pt x="30" y="46"/>
                  <a:pt x="30" y="46"/>
                  <a:pt x="30" y="46"/>
                </a:cubicBezTo>
                <a:cubicBezTo>
                  <a:pt x="46" y="71"/>
                  <a:pt x="46" y="71"/>
                  <a:pt x="46" y="71"/>
                </a:cubicBezTo>
                <a:cubicBezTo>
                  <a:pt x="59" y="60"/>
                  <a:pt x="59" y="60"/>
                  <a:pt x="59" y="60"/>
                </a:cubicBezTo>
                <a:cubicBezTo>
                  <a:pt x="74" y="58"/>
                  <a:pt x="74" y="58"/>
                  <a:pt x="74" y="58"/>
                </a:cubicBezTo>
                <a:cubicBezTo>
                  <a:pt x="104" y="74"/>
                  <a:pt x="104" y="74"/>
                  <a:pt x="104" y="74"/>
                </a:cubicBezTo>
                <a:cubicBezTo>
                  <a:pt x="119" y="105"/>
                  <a:pt x="119" y="105"/>
                  <a:pt x="119" y="105"/>
                </a:cubicBezTo>
                <a:cubicBezTo>
                  <a:pt x="124" y="160"/>
                  <a:pt x="124" y="160"/>
                  <a:pt x="124" y="160"/>
                </a:cubicBezTo>
                <a:cubicBezTo>
                  <a:pt x="142" y="186"/>
                  <a:pt x="142" y="186"/>
                  <a:pt x="142" y="186"/>
                </a:cubicBezTo>
                <a:cubicBezTo>
                  <a:pt x="133" y="213"/>
                  <a:pt x="133" y="213"/>
                  <a:pt x="133" y="213"/>
                </a:cubicBezTo>
                <a:cubicBezTo>
                  <a:pt x="141" y="231"/>
                  <a:pt x="141" y="231"/>
                  <a:pt x="141" y="231"/>
                </a:cubicBezTo>
                <a:cubicBezTo>
                  <a:pt x="132" y="285"/>
                  <a:pt x="132" y="285"/>
                  <a:pt x="132" y="285"/>
                </a:cubicBezTo>
                <a:cubicBezTo>
                  <a:pt x="173" y="347"/>
                  <a:pt x="173" y="347"/>
                  <a:pt x="173" y="347"/>
                </a:cubicBezTo>
                <a:cubicBezTo>
                  <a:pt x="202" y="359"/>
                  <a:pt x="202" y="359"/>
                  <a:pt x="202" y="359"/>
                </a:cubicBezTo>
                <a:cubicBezTo>
                  <a:pt x="223" y="296"/>
                  <a:pt x="223" y="296"/>
                  <a:pt x="223" y="296"/>
                </a:cubicBezTo>
                <a:cubicBezTo>
                  <a:pt x="240" y="267"/>
                  <a:pt x="240" y="267"/>
                  <a:pt x="240" y="267"/>
                </a:cubicBezTo>
                <a:cubicBezTo>
                  <a:pt x="240" y="267"/>
                  <a:pt x="275" y="240"/>
                  <a:pt x="279" y="237"/>
                </a:cubicBezTo>
                <a:cubicBezTo>
                  <a:pt x="284" y="235"/>
                  <a:pt x="345" y="192"/>
                  <a:pt x="345" y="192"/>
                </a:cubicBezTo>
                <a:cubicBezTo>
                  <a:pt x="341" y="159"/>
                  <a:pt x="341" y="159"/>
                  <a:pt x="341" y="159"/>
                </a:cubicBezTo>
                <a:cubicBezTo>
                  <a:pt x="353" y="120"/>
                  <a:pt x="353" y="120"/>
                  <a:pt x="353" y="120"/>
                </a:cubicBezTo>
                <a:cubicBezTo>
                  <a:pt x="357" y="64"/>
                  <a:pt x="357" y="64"/>
                  <a:pt x="357" y="64"/>
                </a:cubicBezTo>
                <a:cubicBezTo>
                  <a:pt x="349" y="48"/>
                  <a:pt x="349" y="48"/>
                  <a:pt x="349" y="48"/>
                </a:cubicBezTo>
                <a:cubicBezTo>
                  <a:pt x="366" y="45"/>
                  <a:pt x="366" y="45"/>
                  <a:pt x="366" y="45"/>
                </a:cubicBezTo>
                <a:cubicBezTo>
                  <a:pt x="360" y="22"/>
                  <a:pt x="360" y="22"/>
                  <a:pt x="360" y="22"/>
                </a:cubicBezTo>
                <a:cubicBezTo>
                  <a:pt x="346" y="0"/>
                  <a:pt x="346" y="0"/>
                  <a:pt x="346" y="0"/>
                </a:cubicBez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03" name="îŝlïḓê">
            <a:extLst>
              <a:ext uri="{FF2B5EF4-FFF2-40B4-BE49-F238E27FC236}">
                <a16:creationId xmlns:a16="http://schemas.microsoft.com/office/drawing/2014/main" id="{5EF0CAFF-3968-4C97-9B7C-AE96DF006432}"/>
              </a:ext>
            </a:extLst>
          </p:cNvPr>
          <p:cNvSpPr/>
          <p:nvPr/>
        </p:nvSpPr>
        <p:spPr bwMode="auto">
          <a:xfrm>
            <a:off x="5922444" y="4758"/>
            <a:ext cx="99632" cy="76988"/>
          </a:xfrm>
          <a:custGeom>
            <a:avLst/>
            <a:gdLst>
              <a:gd name="T0" fmla="*/ 44 w 44"/>
              <a:gd name="T1" fmla="*/ 0 h 34"/>
              <a:gd name="T2" fmla="*/ 0 w 44"/>
              <a:gd name="T3" fmla="*/ 3 h 34"/>
              <a:gd name="T4" fmla="*/ 38 w 44"/>
              <a:gd name="T5" fmla="*/ 34 h 34"/>
              <a:gd name="T6" fmla="*/ 44 w 44"/>
              <a:gd name="T7" fmla="*/ 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4" h="34">
                <a:moveTo>
                  <a:pt x="44" y="0"/>
                </a:moveTo>
                <a:lnTo>
                  <a:pt x="0" y="3"/>
                </a:lnTo>
                <a:lnTo>
                  <a:pt x="38" y="34"/>
                </a:lnTo>
                <a:lnTo>
                  <a:pt x="4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04" name="íṥ1íďê">
            <a:extLst>
              <a:ext uri="{FF2B5EF4-FFF2-40B4-BE49-F238E27FC236}">
                <a16:creationId xmlns:a16="http://schemas.microsoft.com/office/drawing/2014/main" id="{89CDAD35-DC6F-4E6B-87BC-092B9EEE50D2}"/>
              </a:ext>
            </a:extLst>
          </p:cNvPr>
          <p:cNvSpPr/>
          <p:nvPr/>
        </p:nvSpPr>
        <p:spPr bwMode="auto">
          <a:xfrm>
            <a:off x="6386636" y="-36000"/>
            <a:ext cx="258136" cy="183413"/>
          </a:xfrm>
          <a:custGeom>
            <a:avLst/>
            <a:gdLst>
              <a:gd name="T0" fmla="*/ 0 w 114"/>
              <a:gd name="T1" fmla="*/ 0 h 81"/>
              <a:gd name="T2" fmla="*/ 26 w 114"/>
              <a:gd name="T3" fmla="*/ 28 h 81"/>
              <a:gd name="T4" fmla="*/ 0 w 114"/>
              <a:gd name="T5" fmla="*/ 52 h 81"/>
              <a:gd name="T6" fmla="*/ 20 w 114"/>
              <a:gd name="T7" fmla="*/ 81 h 81"/>
              <a:gd name="T8" fmla="*/ 92 w 114"/>
              <a:gd name="T9" fmla="*/ 80 h 81"/>
              <a:gd name="T10" fmla="*/ 102 w 114"/>
              <a:gd name="T11" fmla="*/ 33 h 81"/>
              <a:gd name="T12" fmla="*/ 114 w 114"/>
              <a:gd name="T13" fmla="*/ 14 h 81"/>
              <a:gd name="T14" fmla="*/ 0 w 114"/>
              <a:gd name="T15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4" h="81">
                <a:moveTo>
                  <a:pt x="0" y="0"/>
                </a:moveTo>
                <a:lnTo>
                  <a:pt x="26" y="28"/>
                </a:lnTo>
                <a:lnTo>
                  <a:pt x="0" y="52"/>
                </a:lnTo>
                <a:lnTo>
                  <a:pt x="20" y="81"/>
                </a:lnTo>
                <a:lnTo>
                  <a:pt x="92" y="80"/>
                </a:lnTo>
                <a:lnTo>
                  <a:pt x="102" y="33"/>
                </a:lnTo>
                <a:lnTo>
                  <a:pt x="114" y="1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40000" lnSpcReduction="20000"/>
          </a:bodyPr>
          <a:lstStyle/>
          <a:p>
            <a:pPr algn="ctr"/>
            <a:endParaRPr/>
          </a:p>
        </p:txBody>
      </p:sp>
      <p:sp>
        <p:nvSpPr>
          <p:cNvPr id="205" name="îṧlîďé">
            <a:extLst>
              <a:ext uri="{FF2B5EF4-FFF2-40B4-BE49-F238E27FC236}">
                <a16:creationId xmlns:a16="http://schemas.microsoft.com/office/drawing/2014/main" id="{B29ED4F9-AE18-4C13-AD2C-5636995A16A4}"/>
              </a:ext>
            </a:extLst>
          </p:cNvPr>
          <p:cNvSpPr/>
          <p:nvPr/>
        </p:nvSpPr>
        <p:spPr bwMode="auto">
          <a:xfrm>
            <a:off x="5775261" y="61367"/>
            <a:ext cx="335124" cy="201527"/>
          </a:xfrm>
          <a:custGeom>
            <a:avLst/>
            <a:gdLst>
              <a:gd name="T0" fmla="*/ 34 w 148"/>
              <a:gd name="T1" fmla="*/ 0 h 89"/>
              <a:gd name="T2" fmla="*/ 14 w 148"/>
              <a:gd name="T3" fmla="*/ 25 h 89"/>
              <a:gd name="T4" fmla="*/ 0 w 148"/>
              <a:gd name="T5" fmla="*/ 43 h 89"/>
              <a:gd name="T6" fmla="*/ 37 w 148"/>
              <a:gd name="T7" fmla="*/ 66 h 89"/>
              <a:gd name="T8" fmla="*/ 70 w 148"/>
              <a:gd name="T9" fmla="*/ 89 h 89"/>
              <a:gd name="T10" fmla="*/ 98 w 148"/>
              <a:gd name="T11" fmla="*/ 88 h 89"/>
              <a:gd name="T12" fmla="*/ 148 w 148"/>
              <a:gd name="T13" fmla="*/ 76 h 89"/>
              <a:gd name="T14" fmla="*/ 143 w 148"/>
              <a:gd name="T15" fmla="*/ 51 h 89"/>
              <a:gd name="T16" fmla="*/ 118 w 148"/>
              <a:gd name="T17" fmla="*/ 19 h 89"/>
              <a:gd name="T18" fmla="*/ 107 w 148"/>
              <a:gd name="T19" fmla="*/ 32 h 89"/>
              <a:gd name="T20" fmla="*/ 115 w 148"/>
              <a:gd name="T21" fmla="*/ 60 h 89"/>
              <a:gd name="T22" fmla="*/ 90 w 148"/>
              <a:gd name="T23" fmla="*/ 55 h 89"/>
              <a:gd name="T24" fmla="*/ 66 w 148"/>
              <a:gd name="T25" fmla="*/ 22 h 89"/>
              <a:gd name="T26" fmla="*/ 61 w 148"/>
              <a:gd name="T27" fmla="*/ 4 h 89"/>
              <a:gd name="T28" fmla="*/ 34 w 148"/>
              <a:gd name="T29" fmla="*/ 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8" h="89">
                <a:moveTo>
                  <a:pt x="34" y="0"/>
                </a:moveTo>
                <a:lnTo>
                  <a:pt x="14" y="25"/>
                </a:lnTo>
                <a:lnTo>
                  <a:pt x="0" y="43"/>
                </a:lnTo>
                <a:lnTo>
                  <a:pt x="37" y="66"/>
                </a:lnTo>
                <a:lnTo>
                  <a:pt x="70" y="89"/>
                </a:lnTo>
                <a:lnTo>
                  <a:pt x="98" y="88"/>
                </a:lnTo>
                <a:lnTo>
                  <a:pt x="148" y="76"/>
                </a:lnTo>
                <a:lnTo>
                  <a:pt x="143" y="51"/>
                </a:lnTo>
                <a:lnTo>
                  <a:pt x="118" y="19"/>
                </a:lnTo>
                <a:lnTo>
                  <a:pt x="107" y="32"/>
                </a:lnTo>
                <a:lnTo>
                  <a:pt x="115" y="60"/>
                </a:lnTo>
                <a:lnTo>
                  <a:pt x="90" y="55"/>
                </a:lnTo>
                <a:lnTo>
                  <a:pt x="66" y="22"/>
                </a:lnTo>
                <a:lnTo>
                  <a:pt x="61" y="4"/>
                </a:lnTo>
                <a:lnTo>
                  <a:pt x="3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47500" lnSpcReduction="20000"/>
          </a:bodyPr>
          <a:lstStyle/>
          <a:p>
            <a:pPr algn="ctr"/>
            <a:endParaRPr/>
          </a:p>
        </p:txBody>
      </p:sp>
      <p:sp>
        <p:nvSpPr>
          <p:cNvPr id="206" name="i$ļidê">
            <a:extLst>
              <a:ext uri="{FF2B5EF4-FFF2-40B4-BE49-F238E27FC236}">
                <a16:creationId xmlns:a16="http://schemas.microsoft.com/office/drawing/2014/main" id="{48D48834-7A52-40AE-AE5A-EE299363785B}"/>
              </a:ext>
            </a:extLst>
          </p:cNvPr>
          <p:cNvSpPr/>
          <p:nvPr/>
        </p:nvSpPr>
        <p:spPr bwMode="auto">
          <a:xfrm>
            <a:off x="6128500" y="117976"/>
            <a:ext cx="120011" cy="104160"/>
          </a:xfrm>
          <a:custGeom>
            <a:avLst/>
            <a:gdLst>
              <a:gd name="T0" fmla="*/ 30 w 53"/>
              <a:gd name="T1" fmla="*/ 0 h 46"/>
              <a:gd name="T2" fmla="*/ 53 w 53"/>
              <a:gd name="T3" fmla="*/ 7 h 46"/>
              <a:gd name="T4" fmla="*/ 48 w 53"/>
              <a:gd name="T5" fmla="*/ 46 h 46"/>
              <a:gd name="T6" fmla="*/ 19 w 53"/>
              <a:gd name="T7" fmla="*/ 46 h 46"/>
              <a:gd name="T8" fmla="*/ 0 w 53"/>
              <a:gd name="T9" fmla="*/ 13 h 46"/>
              <a:gd name="T10" fmla="*/ 30 w 53"/>
              <a:gd name="T11" fmla="*/ 0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46">
                <a:moveTo>
                  <a:pt x="30" y="0"/>
                </a:moveTo>
                <a:lnTo>
                  <a:pt x="53" y="7"/>
                </a:lnTo>
                <a:lnTo>
                  <a:pt x="48" y="46"/>
                </a:lnTo>
                <a:lnTo>
                  <a:pt x="19" y="46"/>
                </a:lnTo>
                <a:lnTo>
                  <a:pt x="0" y="13"/>
                </a:lnTo>
                <a:lnTo>
                  <a:pt x="3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07" name="ïślíḓe">
            <a:extLst>
              <a:ext uri="{FF2B5EF4-FFF2-40B4-BE49-F238E27FC236}">
                <a16:creationId xmlns:a16="http://schemas.microsoft.com/office/drawing/2014/main" id="{3DAB3F03-C88C-4110-8BA7-67523D0A79F9}"/>
              </a:ext>
            </a:extLst>
          </p:cNvPr>
          <p:cNvSpPr/>
          <p:nvPr/>
        </p:nvSpPr>
        <p:spPr bwMode="auto">
          <a:xfrm>
            <a:off x="6271154" y="86275"/>
            <a:ext cx="294366" cy="208321"/>
          </a:xfrm>
          <a:custGeom>
            <a:avLst/>
            <a:gdLst>
              <a:gd name="T0" fmla="*/ 0 w 130"/>
              <a:gd name="T1" fmla="*/ 0 h 92"/>
              <a:gd name="T2" fmla="*/ 13 w 130"/>
              <a:gd name="T3" fmla="*/ 32 h 92"/>
              <a:gd name="T4" fmla="*/ 32 w 130"/>
              <a:gd name="T5" fmla="*/ 60 h 92"/>
              <a:gd name="T6" fmla="*/ 32 w 130"/>
              <a:gd name="T7" fmla="*/ 92 h 92"/>
              <a:gd name="T8" fmla="*/ 129 w 130"/>
              <a:gd name="T9" fmla="*/ 89 h 92"/>
              <a:gd name="T10" fmla="*/ 130 w 130"/>
              <a:gd name="T11" fmla="*/ 56 h 92"/>
              <a:gd name="T12" fmla="*/ 84 w 130"/>
              <a:gd name="T13" fmla="*/ 55 h 92"/>
              <a:gd name="T14" fmla="*/ 50 w 130"/>
              <a:gd name="T15" fmla="*/ 40 h 92"/>
              <a:gd name="T16" fmla="*/ 40 w 130"/>
              <a:gd name="T17" fmla="*/ 13 h 92"/>
              <a:gd name="T18" fmla="*/ 0 w 130"/>
              <a:gd name="T19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0" h="92">
                <a:moveTo>
                  <a:pt x="0" y="0"/>
                </a:moveTo>
                <a:lnTo>
                  <a:pt x="13" y="32"/>
                </a:lnTo>
                <a:lnTo>
                  <a:pt x="32" y="60"/>
                </a:lnTo>
                <a:lnTo>
                  <a:pt x="32" y="92"/>
                </a:lnTo>
                <a:lnTo>
                  <a:pt x="129" y="89"/>
                </a:lnTo>
                <a:lnTo>
                  <a:pt x="130" y="56"/>
                </a:lnTo>
                <a:lnTo>
                  <a:pt x="84" y="55"/>
                </a:lnTo>
                <a:lnTo>
                  <a:pt x="50" y="40"/>
                </a:lnTo>
                <a:lnTo>
                  <a:pt x="40" y="1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47500" lnSpcReduction="20000"/>
          </a:bodyPr>
          <a:lstStyle/>
          <a:p>
            <a:pPr algn="ctr"/>
            <a:endParaRPr/>
          </a:p>
        </p:txBody>
      </p:sp>
      <p:sp>
        <p:nvSpPr>
          <p:cNvPr id="208" name="ïsḻîḋê">
            <a:extLst>
              <a:ext uri="{FF2B5EF4-FFF2-40B4-BE49-F238E27FC236}">
                <a16:creationId xmlns:a16="http://schemas.microsoft.com/office/drawing/2014/main" id="{0818C2F1-BA92-4D06-9E41-477A3AA3E7F0}"/>
              </a:ext>
            </a:extLst>
          </p:cNvPr>
          <p:cNvSpPr/>
          <p:nvPr/>
        </p:nvSpPr>
        <p:spPr bwMode="auto">
          <a:xfrm>
            <a:off x="6214545" y="-15621"/>
            <a:ext cx="113218" cy="76988"/>
          </a:xfrm>
          <a:custGeom>
            <a:avLst/>
            <a:gdLst>
              <a:gd name="T0" fmla="*/ 0 w 50"/>
              <a:gd name="T1" fmla="*/ 0 h 34"/>
              <a:gd name="T2" fmla="*/ 28 w 50"/>
              <a:gd name="T3" fmla="*/ 24 h 34"/>
              <a:gd name="T4" fmla="*/ 50 w 50"/>
              <a:gd name="T5" fmla="*/ 34 h 34"/>
              <a:gd name="T6" fmla="*/ 50 w 50"/>
              <a:gd name="T7" fmla="*/ 3 h 34"/>
              <a:gd name="T8" fmla="*/ 0 w 50"/>
              <a:gd name="T9" fmla="*/ 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34">
                <a:moveTo>
                  <a:pt x="0" y="0"/>
                </a:moveTo>
                <a:lnTo>
                  <a:pt x="28" y="24"/>
                </a:lnTo>
                <a:lnTo>
                  <a:pt x="50" y="34"/>
                </a:lnTo>
                <a:lnTo>
                  <a:pt x="50" y="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09" name="îṡļidê">
            <a:extLst>
              <a:ext uri="{FF2B5EF4-FFF2-40B4-BE49-F238E27FC236}">
                <a16:creationId xmlns:a16="http://schemas.microsoft.com/office/drawing/2014/main" id="{0C6F0530-0909-4C0B-A47C-5FBC4B0E3F12}"/>
              </a:ext>
            </a:extLst>
          </p:cNvPr>
          <p:cNvSpPr/>
          <p:nvPr/>
        </p:nvSpPr>
        <p:spPr bwMode="auto">
          <a:xfrm>
            <a:off x="5718652" y="287803"/>
            <a:ext cx="199263" cy="196999"/>
          </a:xfrm>
          <a:custGeom>
            <a:avLst/>
            <a:gdLst>
              <a:gd name="T0" fmla="*/ 15 w 88"/>
              <a:gd name="T1" fmla="*/ 78 h 87"/>
              <a:gd name="T2" fmla="*/ 0 w 88"/>
              <a:gd name="T3" fmla="*/ 46 h 87"/>
              <a:gd name="T4" fmla="*/ 10 w 88"/>
              <a:gd name="T5" fmla="*/ 0 h 87"/>
              <a:gd name="T6" fmla="*/ 59 w 88"/>
              <a:gd name="T7" fmla="*/ 5 h 87"/>
              <a:gd name="T8" fmla="*/ 88 w 88"/>
              <a:gd name="T9" fmla="*/ 21 h 87"/>
              <a:gd name="T10" fmla="*/ 58 w 88"/>
              <a:gd name="T11" fmla="*/ 52 h 87"/>
              <a:gd name="T12" fmla="*/ 36 w 88"/>
              <a:gd name="T13" fmla="*/ 87 h 87"/>
              <a:gd name="T14" fmla="*/ 15 w 88"/>
              <a:gd name="T15" fmla="*/ 78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8" h="87">
                <a:moveTo>
                  <a:pt x="15" y="78"/>
                </a:moveTo>
                <a:lnTo>
                  <a:pt x="0" y="46"/>
                </a:lnTo>
                <a:lnTo>
                  <a:pt x="10" y="0"/>
                </a:lnTo>
                <a:lnTo>
                  <a:pt x="59" y="5"/>
                </a:lnTo>
                <a:lnTo>
                  <a:pt x="88" y="21"/>
                </a:lnTo>
                <a:lnTo>
                  <a:pt x="58" y="52"/>
                </a:lnTo>
                <a:lnTo>
                  <a:pt x="36" y="87"/>
                </a:lnTo>
                <a:lnTo>
                  <a:pt x="15" y="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40000" lnSpcReduction="20000"/>
          </a:bodyPr>
          <a:lstStyle/>
          <a:p>
            <a:pPr algn="ctr"/>
            <a:endParaRPr/>
          </a:p>
        </p:txBody>
      </p:sp>
      <p:sp>
        <p:nvSpPr>
          <p:cNvPr id="210" name="îSľíďê">
            <a:extLst>
              <a:ext uri="{FF2B5EF4-FFF2-40B4-BE49-F238E27FC236}">
                <a16:creationId xmlns:a16="http://schemas.microsoft.com/office/drawing/2014/main" id="{9A12A8A6-12E3-4096-AE20-F22E5F0D7357}"/>
              </a:ext>
            </a:extLst>
          </p:cNvPr>
          <p:cNvSpPr/>
          <p:nvPr/>
        </p:nvSpPr>
        <p:spPr bwMode="auto">
          <a:xfrm>
            <a:off x="5849985" y="337618"/>
            <a:ext cx="328331" cy="285309"/>
          </a:xfrm>
          <a:custGeom>
            <a:avLst/>
            <a:gdLst>
              <a:gd name="T0" fmla="*/ 120 w 145"/>
              <a:gd name="T1" fmla="*/ 5 h 126"/>
              <a:gd name="T2" fmla="*/ 120 w 145"/>
              <a:gd name="T3" fmla="*/ 60 h 126"/>
              <a:gd name="T4" fmla="*/ 145 w 145"/>
              <a:gd name="T5" fmla="*/ 95 h 126"/>
              <a:gd name="T6" fmla="*/ 140 w 145"/>
              <a:gd name="T7" fmla="*/ 118 h 126"/>
              <a:gd name="T8" fmla="*/ 96 w 145"/>
              <a:gd name="T9" fmla="*/ 123 h 126"/>
              <a:gd name="T10" fmla="*/ 43 w 145"/>
              <a:gd name="T11" fmla="*/ 126 h 126"/>
              <a:gd name="T12" fmla="*/ 13 w 145"/>
              <a:gd name="T13" fmla="*/ 99 h 126"/>
              <a:gd name="T14" fmla="*/ 22 w 145"/>
              <a:gd name="T15" fmla="*/ 81 h 126"/>
              <a:gd name="T16" fmla="*/ 0 w 145"/>
              <a:gd name="T17" fmla="*/ 58 h 126"/>
              <a:gd name="T18" fmla="*/ 35 w 145"/>
              <a:gd name="T19" fmla="*/ 10 h 126"/>
              <a:gd name="T20" fmla="*/ 56 w 145"/>
              <a:gd name="T21" fmla="*/ 30 h 126"/>
              <a:gd name="T22" fmla="*/ 89 w 145"/>
              <a:gd name="T23" fmla="*/ 13 h 126"/>
              <a:gd name="T24" fmla="*/ 103 w 145"/>
              <a:gd name="T25" fmla="*/ 0 h 126"/>
              <a:gd name="T26" fmla="*/ 120 w 145"/>
              <a:gd name="T27" fmla="*/ 5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5" h="126">
                <a:moveTo>
                  <a:pt x="120" y="5"/>
                </a:moveTo>
                <a:lnTo>
                  <a:pt x="120" y="60"/>
                </a:lnTo>
                <a:lnTo>
                  <a:pt x="145" y="95"/>
                </a:lnTo>
                <a:lnTo>
                  <a:pt x="140" y="118"/>
                </a:lnTo>
                <a:lnTo>
                  <a:pt x="96" y="123"/>
                </a:lnTo>
                <a:lnTo>
                  <a:pt x="43" y="126"/>
                </a:lnTo>
                <a:lnTo>
                  <a:pt x="13" y="99"/>
                </a:lnTo>
                <a:lnTo>
                  <a:pt x="22" y="81"/>
                </a:lnTo>
                <a:lnTo>
                  <a:pt x="0" y="58"/>
                </a:lnTo>
                <a:lnTo>
                  <a:pt x="35" y="10"/>
                </a:lnTo>
                <a:lnTo>
                  <a:pt x="56" y="30"/>
                </a:lnTo>
                <a:lnTo>
                  <a:pt x="89" y="13"/>
                </a:lnTo>
                <a:lnTo>
                  <a:pt x="103" y="0"/>
                </a:lnTo>
                <a:lnTo>
                  <a:pt x="120" y="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85000" lnSpcReduction="20000"/>
          </a:bodyPr>
          <a:lstStyle/>
          <a:p>
            <a:pPr algn="ctr"/>
            <a:endParaRPr/>
          </a:p>
        </p:txBody>
      </p:sp>
      <p:sp>
        <p:nvSpPr>
          <p:cNvPr id="211" name="íŝlîďe">
            <a:extLst>
              <a:ext uri="{FF2B5EF4-FFF2-40B4-BE49-F238E27FC236}">
                <a16:creationId xmlns:a16="http://schemas.microsoft.com/office/drawing/2014/main" id="{3B1667E3-856F-4C5A-8DA3-F491BA1B409C}"/>
              </a:ext>
            </a:extLst>
          </p:cNvPr>
          <p:cNvSpPr/>
          <p:nvPr/>
        </p:nvSpPr>
        <p:spPr bwMode="auto">
          <a:xfrm>
            <a:off x="6393429" y="337618"/>
            <a:ext cx="523066" cy="600054"/>
          </a:xfrm>
          <a:custGeom>
            <a:avLst/>
            <a:gdLst>
              <a:gd name="T0" fmla="*/ 195 w 231"/>
              <a:gd name="T1" fmla="*/ 265 h 265"/>
              <a:gd name="T2" fmla="*/ 162 w 231"/>
              <a:gd name="T3" fmla="*/ 250 h 265"/>
              <a:gd name="T4" fmla="*/ 141 w 231"/>
              <a:gd name="T5" fmla="*/ 227 h 265"/>
              <a:gd name="T6" fmla="*/ 97 w 231"/>
              <a:gd name="T7" fmla="*/ 214 h 265"/>
              <a:gd name="T8" fmla="*/ 104 w 231"/>
              <a:gd name="T9" fmla="*/ 204 h 265"/>
              <a:gd name="T10" fmla="*/ 130 w 231"/>
              <a:gd name="T11" fmla="*/ 197 h 265"/>
              <a:gd name="T12" fmla="*/ 137 w 231"/>
              <a:gd name="T13" fmla="*/ 150 h 265"/>
              <a:gd name="T14" fmla="*/ 101 w 231"/>
              <a:gd name="T15" fmla="*/ 104 h 265"/>
              <a:gd name="T16" fmla="*/ 33 w 231"/>
              <a:gd name="T17" fmla="*/ 99 h 265"/>
              <a:gd name="T18" fmla="*/ 4 w 231"/>
              <a:gd name="T19" fmla="*/ 77 h 265"/>
              <a:gd name="T20" fmla="*/ 0 w 231"/>
              <a:gd name="T21" fmla="*/ 44 h 265"/>
              <a:gd name="T22" fmla="*/ 20 w 231"/>
              <a:gd name="T23" fmla="*/ 0 h 265"/>
              <a:gd name="T24" fmla="*/ 42 w 231"/>
              <a:gd name="T25" fmla="*/ 0 h 265"/>
              <a:gd name="T26" fmla="*/ 91 w 231"/>
              <a:gd name="T27" fmla="*/ 2 h 265"/>
              <a:gd name="T28" fmla="*/ 135 w 231"/>
              <a:gd name="T29" fmla="*/ 53 h 265"/>
              <a:gd name="T30" fmla="*/ 189 w 231"/>
              <a:gd name="T31" fmla="*/ 101 h 265"/>
              <a:gd name="T32" fmla="*/ 172 w 231"/>
              <a:gd name="T33" fmla="*/ 126 h 265"/>
              <a:gd name="T34" fmla="*/ 231 w 231"/>
              <a:gd name="T35" fmla="*/ 167 h 265"/>
              <a:gd name="T36" fmla="*/ 226 w 231"/>
              <a:gd name="T37" fmla="*/ 207 h 265"/>
              <a:gd name="T38" fmla="*/ 190 w 231"/>
              <a:gd name="T39" fmla="*/ 204 h 265"/>
              <a:gd name="T40" fmla="*/ 210 w 231"/>
              <a:gd name="T41" fmla="*/ 226 h 265"/>
              <a:gd name="T42" fmla="*/ 212 w 231"/>
              <a:gd name="T43" fmla="*/ 249 h 265"/>
              <a:gd name="T44" fmla="*/ 195 w 231"/>
              <a:gd name="T45" fmla="*/ 265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1" h="265">
                <a:moveTo>
                  <a:pt x="195" y="265"/>
                </a:moveTo>
                <a:lnTo>
                  <a:pt x="162" y="250"/>
                </a:lnTo>
                <a:lnTo>
                  <a:pt x="141" y="227"/>
                </a:lnTo>
                <a:lnTo>
                  <a:pt x="97" y="214"/>
                </a:lnTo>
                <a:lnTo>
                  <a:pt x="104" y="204"/>
                </a:lnTo>
                <a:lnTo>
                  <a:pt x="130" y="197"/>
                </a:lnTo>
                <a:lnTo>
                  <a:pt x="137" y="150"/>
                </a:lnTo>
                <a:lnTo>
                  <a:pt x="101" y="104"/>
                </a:lnTo>
                <a:lnTo>
                  <a:pt x="33" y="99"/>
                </a:lnTo>
                <a:lnTo>
                  <a:pt x="4" y="77"/>
                </a:lnTo>
                <a:lnTo>
                  <a:pt x="0" y="44"/>
                </a:lnTo>
                <a:lnTo>
                  <a:pt x="20" y="0"/>
                </a:lnTo>
                <a:lnTo>
                  <a:pt x="42" y="0"/>
                </a:lnTo>
                <a:lnTo>
                  <a:pt x="91" y="2"/>
                </a:lnTo>
                <a:lnTo>
                  <a:pt x="135" y="53"/>
                </a:lnTo>
                <a:lnTo>
                  <a:pt x="189" y="101"/>
                </a:lnTo>
                <a:lnTo>
                  <a:pt x="172" y="126"/>
                </a:lnTo>
                <a:lnTo>
                  <a:pt x="231" y="167"/>
                </a:lnTo>
                <a:lnTo>
                  <a:pt x="226" y="207"/>
                </a:lnTo>
                <a:lnTo>
                  <a:pt x="190" y="204"/>
                </a:lnTo>
                <a:lnTo>
                  <a:pt x="210" y="226"/>
                </a:lnTo>
                <a:lnTo>
                  <a:pt x="212" y="249"/>
                </a:lnTo>
                <a:lnTo>
                  <a:pt x="195" y="26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12" name="íṥḷídé">
            <a:extLst>
              <a:ext uri="{FF2B5EF4-FFF2-40B4-BE49-F238E27FC236}">
                <a16:creationId xmlns:a16="http://schemas.microsoft.com/office/drawing/2014/main" id="{CE500FAD-57DB-46C6-A340-F703E3D31FAD}"/>
              </a:ext>
            </a:extLst>
          </p:cNvPr>
          <p:cNvSpPr/>
          <p:nvPr/>
        </p:nvSpPr>
        <p:spPr bwMode="auto">
          <a:xfrm>
            <a:off x="4928393" y="326297"/>
            <a:ext cx="2497581" cy="3337657"/>
          </a:xfrm>
          <a:custGeom>
            <a:avLst/>
            <a:gdLst>
              <a:gd name="T0" fmla="*/ 629 w 1103"/>
              <a:gd name="T1" fmla="*/ 34 h 1474"/>
              <a:gd name="T2" fmla="*/ 671 w 1103"/>
              <a:gd name="T3" fmla="*/ 153 h 1474"/>
              <a:gd name="T4" fmla="*/ 709 w 1103"/>
              <a:gd name="T5" fmla="*/ 85 h 1474"/>
              <a:gd name="T6" fmla="*/ 703 w 1103"/>
              <a:gd name="T7" fmla="*/ 185 h 1474"/>
              <a:gd name="T8" fmla="*/ 607 w 1103"/>
              <a:gd name="T9" fmla="*/ 294 h 1474"/>
              <a:gd name="T10" fmla="*/ 711 w 1103"/>
              <a:gd name="T11" fmla="*/ 378 h 1474"/>
              <a:gd name="T12" fmla="*/ 739 w 1103"/>
              <a:gd name="T13" fmla="*/ 415 h 1474"/>
              <a:gd name="T14" fmla="*/ 749 w 1103"/>
              <a:gd name="T15" fmla="*/ 330 h 1474"/>
              <a:gd name="T16" fmla="*/ 770 w 1103"/>
              <a:gd name="T17" fmla="*/ 265 h 1474"/>
              <a:gd name="T18" fmla="*/ 815 w 1103"/>
              <a:gd name="T19" fmla="*/ 313 h 1474"/>
              <a:gd name="T20" fmla="*/ 855 w 1103"/>
              <a:gd name="T21" fmla="*/ 297 h 1474"/>
              <a:gd name="T22" fmla="*/ 909 w 1103"/>
              <a:gd name="T23" fmla="*/ 382 h 1474"/>
              <a:gd name="T24" fmla="*/ 955 w 1103"/>
              <a:gd name="T25" fmla="*/ 470 h 1474"/>
              <a:gd name="T26" fmla="*/ 900 w 1103"/>
              <a:gd name="T27" fmla="*/ 473 h 1474"/>
              <a:gd name="T28" fmla="*/ 840 w 1103"/>
              <a:gd name="T29" fmla="*/ 448 h 1474"/>
              <a:gd name="T30" fmla="*/ 892 w 1103"/>
              <a:gd name="T31" fmla="*/ 485 h 1474"/>
              <a:gd name="T32" fmla="*/ 850 w 1103"/>
              <a:gd name="T33" fmla="*/ 505 h 1474"/>
              <a:gd name="T34" fmla="*/ 765 w 1103"/>
              <a:gd name="T35" fmla="*/ 595 h 1474"/>
              <a:gd name="T36" fmla="*/ 720 w 1103"/>
              <a:gd name="T37" fmla="*/ 670 h 1474"/>
              <a:gd name="T38" fmla="*/ 705 w 1103"/>
              <a:gd name="T39" fmla="*/ 674 h 1474"/>
              <a:gd name="T40" fmla="*/ 607 w 1103"/>
              <a:gd name="T41" fmla="*/ 671 h 1474"/>
              <a:gd name="T42" fmla="*/ 626 w 1103"/>
              <a:gd name="T43" fmla="*/ 767 h 1474"/>
              <a:gd name="T44" fmla="*/ 662 w 1103"/>
              <a:gd name="T45" fmla="*/ 769 h 1474"/>
              <a:gd name="T46" fmla="*/ 701 w 1103"/>
              <a:gd name="T47" fmla="*/ 816 h 1474"/>
              <a:gd name="T48" fmla="*/ 744 w 1103"/>
              <a:gd name="T49" fmla="*/ 847 h 1474"/>
              <a:gd name="T50" fmla="*/ 803 w 1103"/>
              <a:gd name="T51" fmla="*/ 824 h 1474"/>
              <a:gd name="T52" fmla="*/ 881 w 1103"/>
              <a:gd name="T53" fmla="*/ 835 h 1474"/>
              <a:gd name="T54" fmla="*/ 947 w 1103"/>
              <a:gd name="T55" fmla="*/ 878 h 1474"/>
              <a:gd name="T56" fmla="*/ 1026 w 1103"/>
              <a:gd name="T57" fmla="*/ 943 h 1474"/>
              <a:gd name="T58" fmla="*/ 1070 w 1103"/>
              <a:gd name="T59" fmla="*/ 1034 h 1474"/>
              <a:gd name="T60" fmla="*/ 1006 w 1103"/>
              <a:gd name="T61" fmla="*/ 1130 h 1474"/>
              <a:gd name="T62" fmla="*/ 944 w 1103"/>
              <a:gd name="T63" fmla="*/ 1230 h 1474"/>
              <a:gd name="T64" fmla="*/ 916 w 1103"/>
              <a:gd name="T65" fmla="*/ 1266 h 1474"/>
              <a:gd name="T66" fmla="*/ 833 w 1103"/>
              <a:gd name="T67" fmla="*/ 1356 h 1474"/>
              <a:gd name="T68" fmla="*/ 826 w 1103"/>
              <a:gd name="T69" fmla="*/ 1405 h 1474"/>
              <a:gd name="T70" fmla="*/ 837 w 1103"/>
              <a:gd name="T71" fmla="*/ 1474 h 1474"/>
              <a:gd name="T72" fmla="*/ 789 w 1103"/>
              <a:gd name="T73" fmla="*/ 1295 h 1474"/>
              <a:gd name="T74" fmla="*/ 752 w 1103"/>
              <a:gd name="T75" fmla="*/ 1036 h 1474"/>
              <a:gd name="T76" fmla="*/ 751 w 1103"/>
              <a:gd name="T77" fmla="*/ 894 h 1474"/>
              <a:gd name="T78" fmla="*/ 687 w 1103"/>
              <a:gd name="T79" fmla="*/ 845 h 1474"/>
              <a:gd name="T80" fmla="*/ 521 w 1103"/>
              <a:gd name="T81" fmla="*/ 774 h 1474"/>
              <a:gd name="T82" fmla="*/ 448 w 1103"/>
              <a:gd name="T83" fmla="*/ 652 h 1474"/>
              <a:gd name="T84" fmla="*/ 463 w 1103"/>
              <a:gd name="T85" fmla="*/ 716 h 1474"/>
              <a:gd name="T86" fmla="*/ 369 w 1103"/>
              <a:gd name="T87" fmla="*/ 577 h 1474"/>
              <a:gd name="T88" fmla="*/ 278 w 1103"/>
              <a:gd name="T89" fmla="*/ 341 h 1474"/>
              <a:gd name="T90" fmla="*/ 138 w 1103"/>
              <a:gd name="T91" fmla="*/ 311 h 1474"/>
              <a:gd name="T92" fmla="*/ 132 w 1103"/>
              <a:gd name="T93" fmla="*/ 327 h 1474"/>
              <a:gd name="T94" fmla="*/ 87 w 1103"/>
              <a:gd name="T95" fmla="*/ 330 h 1474"/>
              <a:gd name="T96" fmla="*/ 28 w 1103"/>
              <a:gd name="T97" fmla="*/ 296 h 1474"/>
              <a:gd name="T98" fmla="*/ 53 w 1103"/>
              <a:gd name="T99" fmla="*/ 217 h 1474"/>
              <a:gd name="T100" fmla="*/ 0 w 1103"/>
              <a:gd name="T101" fmla="*/ 204 h 1474"/>
              <a:gd name="T102" fmla="*/ 58 w 1103"/>
              <a:gd name="T103" fmla="*/ 189 h 1474"/>
              <a:gd name="T104" fmla="*/ 10 w 1103"/>
              <a:gd name="T105" fmla="*/ 142 h 1474"/>
              <a:gd name="T106" fmla="*/ 95 w 1103"/>
              <a:gd name="T107" fmla="*/ 71 h 1474"/>
              <a:gd name="T108" fmla="*/ 207 w 1103"/>
              <a:gd name="T109" fmla="*/ 101 h 1474"/>
              <a:gd name="T110" fmla="*/ 278 w 1103"/>
              <a:gd name="T111" fmla="*/ 109 h 1474"/>
              <a:gd name="T112" fmla="*/ 365 w 1103"/>
              <a:gd name="T113" fmla="*/ 112 h 1474"/>
              <a:gd name="T114" fmla="*/ 448 w 1103"/>
              <a:gd name="T115" fmla="*/ 145 h 1474"/>
              <a:gd name="T116" fmla="*/ 500 w 1103"/>
              <a:gd name="T117" fmla="*/ 151 h 1474"/>
              <a:gd name="T118" fmla="*/ 545 w 1103"/>
              <a:gd name="T119" fmla="*/ 156 h 1474"/>
              <a:gd name="T120" fmla="*/ 581 w 1103"/>
              <a:gd name="T121" fmla="*/ 106 h 1474"/>
              <a:gd name="T122" fmla="*/ 592 w 1103"/>
              <a:gd name="T123" fmla="*/ 95 h 1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03" h="1474">
                <a:moveTo>
                  <a:pt x="602" y="0"/>
                </a:moveTo>
                <a:lnTo>
                  <a:pt x="644" y="0"/>
                </a:lnTo>
                <a:lnTo>
                  <a:pt x="629" y="34"/>
                </a:lnTo>
                <a:lnTo>
                  <a:pt x="612" y="52"/>
                </a:lnTo>
                <a:lnTo>
                  <a:pt x="628" y="100"/>
                </a:lnTo>
                <a:lnTo>
                  <a:pt x="671" y="153"/>
                </a:lnTo>
                <a:lnTo>
                  <a:pt x="684" y="120"/>
                </a:lnTo>
                <a:lnTo>
                  <a:pt x="687" y="78"/>
                </a:lnTo>
                <a:lnTo>
                  <a:pt x="709" y="85"/>
                </a:lnTo>
                <a:lnTo>
                  <a:pt x="719" y="124"/>
                </a:lnTo>
                <a:lnTo>
                  <a:pt x="727" y="156"/>
                </a:lnTo>
                <a:lnTo>
                  <a:pt x="703" y="185"/>
                </a:lnTo>
                <a:lnTo>
                  <a:pt x="680" y="186"/>
                </a:lnTo>
                <a:lnTo>
                  <a:pt x="648" y="232"/>
                </a:lnTo>
                <a:lnTo>
                  <a:pt x="607" y="294"/>
                </a:lnTo>
                <a:lnTo>
                  <a:pt x="626" y="343"/>
                </a:lnTo>
                <a:lnTo>
                  <a:pt x="680" y="369"/>
                </a:lnTo>
                <a:lnTo>
                  <a:pt x="711" y="378"/>
                </a:lnTo>
                <a:lnTo>
                  <a:pt x="711" y="407"/>
                </a:lnTo>
                <a:lnTo>
                  <a:pt x="733" y="429"/>
                </a:lnTo>
                <a:lnTo>
                  <a:pt x="739" y="415"/>
                </a:lnTo>
                <a:lnTo>
                  <a:pt x="732" y="386"/>
                </a:lnTo>
                <a:lnTo>
                  <a:pt x="756" y="362"/>
                </a:lnTo>
                <a:lnTo>
                  <a:pt x="749" y="330"/>
                </a:lnTo>
                <a:lnTo>
                  <a:pt x="748" y="308"/>
                </a:lnTo>
                <a:lnTo>
                  <a:pt x="749" y="258"/>
                </a:lnTo>
                <a:lnTo>
                  <a:pt x="770" y="265"/>
                </a:lnTo>
                <a:lnTo>
                  <a:pt x="788" y="259"/>
                </a:lnTo>
                <a:lnTo>
                  <a:pt x="799" y="283"/>
                </a:lnTo>
                <a:lnTo>
                  <a:pt x="815" y="313"/>
                </a:lnTo>
                <a:lnTo>
                  <a:pt x="832" y="332"/>
                </a:lnTo>
                <a:lnTo>
                  <a:pt x="845" y="320"/>
                </a:lnTo>
                <a:lnTo>
                  <a:pt x="855" y="297"/>
                </a:lnTo>
                <a:lnTo>
                  <a:pt x="865" y="310"/>
                </a:lnTo>
                <a:lnTo>
                  <a:pt x="881" y="354"/>
                </a:lnTo>
                <a:lnTo>
                  <a:pt x="909" y="382"/>
                </a:lnTo>
                <a:lnTo>
                  <a:pt x="932" y="416"/>
                </a:lnTo>
                <a:lnTo>
                  <a:pt x="933" y="448"/>
                </a:lnTo>
                <a:lnTo>
                  <a:pt x="955" y="470"/>
                </a:lnTo>
                <a:lnTo>
                  <a:pt x="952" y="489"/>
                </a:lnTo>
                <a:lnTo>
                  <a:pt x="930" y="484"/>
                </a:lnTo>
                <a:lnTo>
                  <a:pt x="900" y="473"/>
                </a:lnTo>
                <a:lnTo>
                  <a:pt x="923" y="429"/>
                </a:lnTo>
                <a:lnTo>
                  <a:pt x="907" y="440"/>
                </a:lnTo>
                <a:lnTo>
                  <a:pt x="840" y="448"/>
                </a:lnTo>
                <a:lnTo>
                  <a:pt x="860" y="459"/>
                </a:lnTo>
                <a:lnTo>
                  <a:pt x="862" y="485"/>
                </a:lnTo>
                <a:lnTo>
                  <a:pt x="892" y="485"/>
                </a:lnTo>
                <a:lnTo>
                  <a:pt x="898" y="497"/>
                </a:lnTo>
                <a:lnTo>
                  <a:pt x="845" y="523"/>
                </a:lnTo>
                <a:lnTo>
                  <a:pt x="850" y="505"/>
                </a:lnTo>
                <a:lnTo>
                  <a:pt x="805" y="539"/>
                </a:lnTo>
                <a:lnTo>
                  <a:pt x="800" y="550"/>
                </a:lnTo>
                <a:lnTo>
                  <a:pt x="765" y="595"/>
                </a:lnTo>
                <a:lnTo>
                  <a:pt x="763" y="609"/>
                </a:lnTo>
                <a:lnTo>
                  <a:pt x="722" y="646"/>
                </a:lnTo>
                <a:lnTo>
                  <a:pt x="720" y="670"/>
                </a:lnTo>
                <a:lnTo>
                  <a:pt x="728" y="702"/>
                </a:lnTo>
                <a:lnTo>
                  <a:pt x="719" y="711"/>
                </a:lnTo>
                <a:lnTo>
                  <a:pt x="705" y="674"/>
                </a:lnTo>
                <a:lnTo>
                  <a:pt x="663" y="664"/>
                </a:lnTo>
                <a:lnTo>
                  <a:pt x="645" y="674"/>
                </a:lnTo>
                <a:lnTo>
                  <a:pt x="607" y="671"/>
                </a:lnTo>
                <a:lnTo>
                  <a:pt x="588" y="704"/>
                </a:lnTo>
                <a:lnTo>
                  <a:pt x="593" y="756"/>
                </a:lnTo>
                <a:lnTo>
                  <a:pt x="626" y="767"/>
                </a:lnTo>
                <a:lnTo>
                  <a:pt x="643" y="746"/>
                </a:lnTo>
                <a:lnTo>
                  <a:pt x="671" y="742"/>
                </a:lnTo>
                <a:lnTo>
                  <a:pt x="662" y="769"/>
                </a:lnTo>
                <a:lnTo>
                  <a:pt x="661" y="796"/>
                </a:lnTo>
                <a:lnTo>
                  <a:pt x="687" y="791"/>
                </a:lnTo>
                <a:lnTo>
                  <a:pt x="701" y="816"/>
                </a:lnTo>
                <a:lnTo>
                  <a:pt x="703" y="840"/>
                </a:lnTo>
                <a:lnTo>
                  <a:pt x="711" y="850"/>
                </a:lnTo>
                <a:lnTo>
                  <a:pt x="744" y="847"/>
                </a:lnTo>
                <a:lnTo>
                  <a:pt x="751" y="855"/>
                </a:lnTo>
                <a:lnTo>
                  <a:pt x="777" y="831"/>
                </a:lnTo>
                <a:lnTo>
                  <a:pt x="803" y="824"/>
                </a:lnTo>
                <a:lnTo>
                  <a:pt x="810" y="828"/>
                </a:lnTo>
                <a:lnTo>
                  <a:pt x="853" y="840"/>
                </a:lnTo>
                <a:lnTo>
                  <a:pt x="881" y="835"/>
                </a:lnTo>
                <a:lnTo>
                  <a:pt x="897" y="858"/>
                </a:lnTo>
                <a:lnTo>
                  <a:pt x="914" y="869"/>
                </a:lnTo>
                <a:lnTo>
                  <a:pt x="947" y="878"/>
                </a:lnTo>
                <a:lnTo>
                  <a:pt x="974" y="902"/>
                </a:lnTo>
                <a:lnTo>
                  <a:pt x="977" y="925"/>
                </a:lnTo>
                <a:lnTo>
                  <a:pt x="1026" y="943"/>
                </a:lnTo>
                <a:lnTo>
                  <a:pt x="1086" y="966"/>
                </a:lnTo>
                <a:lnTo>
                  <a:pt x="1103" y="984"/>
                </a:lnTo>
                <a:lnTo>
                  <a:pt x="1070" y="1034"/>
                </a:lnTo>
                <a:lnTo>
                  <a:pt x="1063" y="1088"/>
                </a:lnTo>
                <a:lnTo>
                  <a:pt x="1043" y="1118"/>
                </a:lnTo>
                <a:lnTo>
                  <a:pt x="1006" y="1130"/>
                </a:lnTo>
                <a:lnTo>
                  <a:pt x="990" y="1155"/>
                </a:lnTo>
                <a:lnTo>
                  <a:pt x="979" y="1179"/>
                </a:lnTo>
                <a:lnTo>
                  <a:pt x="944" y="1230"/>
                </a:lnTo>
                <a:lnTo>
                  <a:pt x="918" y="1235"/>
                </a:lnTo>
                <a:lnTo>
                  <a:pt x="923" y="1247"/>
                </a:lnTo>
                <a:lnTo>
                  <a:pt x="916" y="1266"/>
                </a:lnTo>
                <a:lnTo>
                  <a:pt x="875" y="1286"/>
                </a:lnTo>
                <a:lnTo>
                  <a:pt x="860" y="1316"/>
                </a:lnTo>
                <a:lnTo>
                  <a:pt x="833" y="1356"/>
                </a:lnTo>
                <a:lnTo>
                  <a:pt x="847" y="1366"/>
                </a:lnTo>
                <a:lnTo>
                  <a:pt x="841" y="1387"/>
                </a:lnTo>
                <a:lnTo>
                  <a:pt x="826" y="1405"/>
                </a:lnTo>
                <a:lnTo>
                  <a:pt x="827" y="1433"/>
                </a:lnTo>
                <a:lnTo>
                  <a:pt x="859" y="1466"/>
                </a:lnTo>
                <a:lnTo>
                  <a:pt x="837" y="1474"/>
                </a:lnTo>
                <a:lnTo>
                  <a:pt x="807" y="1461"/>
                </a:lnTo>
                <a:lnTo>
                  <a:pt x="780" y="1409"/>
                </a:lnTo>
                <a:lnTo>
                  <a:pt x="789" y="1295"/>
                </a:lnTo>
                <a:lnTo>
                  <a:pt x="782" y="1257"/>
                </a:lnTo>
                <a:lnTo>
                  <a:pt x="814" y="1076"/>
                </a:lnTo>
                <a:lnTo>
                  <a:pt x="752" y="1036"/>
                </a:lnTo>
                <a:lnTo>
                  <a:pt x="725" y="963"/>
                </a:lnTo>
                <a:lnTo>
                  <a:pt x="727" y="930"/>
                </a:lnTo>
                <a:lnTo>
                  <a:pt x="751" y="894"/>
                </a:lnTo>
                <a:lnTo>
                  <a:pt x="743" y="859"/>
                </a:lnTo>
                <a:lnTo>
                  <a:pt x="722" y="866"/>
                </a:lnTo>
                <a:lnTo>
                  <a:pt x="687" y="845"/>
                </a:lnTo>
                <a:lnTo>
                  <a:pt x="662" y="816"/>
                </a:lnTo>
                <a:lnTo>
                  <a:pt x="609" y="798"/>
                </a:lnTo>
                <a:lnTo>
                  <a:pt x="521" y="774"/>
                </a:lnTo>
                <a:lnTo>
                  <a:pt x="507" y="723"/>
                </a:lnTo>
                <a:lnTo>
                  <a:pt x="458" y="647"/>
                </a:lnTo>
                <a:lnTo>
                  <a:pt x="448" y="652"/>
                </a:lnTo>
                <a:lnTo>
                  <a:pt x="469" y="697"/>
                </a:lnTo>
                <a:lnTo>
                  <a:pt x="487" y="730"/>
                </a:lnTo>
                <a:lnTo>
                  <a:pt x="463" y="716"/>
                </a:lnTo>
                <a:lnTo>
                  <a:pt x="448" y="687"/>
                </a:lnTo>
                <a:lnTo>
                  <a:pt x="421" y="635"/>
                </a:lnTo>
                <a:lnTo>
                  <a:pt x="369" y="577"/>
                </a:lnTo>
                <a:lnTo>
                  <a:pt x="366" y="496"/>
                </a:lnTo>
                <a:lnTo>
                  <a:pt x="336" y="440"/>
                </a:lnTo>
                <a:lnTo>
                  <a:pt x="278" y="341"/>
                </a:lnTo>
                <a:lnTo>
                  <a:pt x="212" y="301"/>
                </a:lnTo>
                <a:lnTo>
                  <a:pt x="162" y="294"/>
                </a:lnTo>
                <a:lnTo>
                  <a:pt x="138" y="311"/>
                </a:lnTo>
                <a:lnTo>
                  <a:pt x="138" y="289"/>
                </a:lnTo>
                <a:lnTo>
                  <a:pt x="116" y="312"/>
                </a:lnTo>
                <a:lnTo>
                  <a:pt x="132" y="327"/>
                </a:lnTo>
                <a:lnTo>
                  <a:pt x="19" y="392"/>
                </a:lnTo>
                <a:lnTo>
                  <a:pt x="40" y="368"/>
                </a:lnTo>
                <a:lnTo>
                  <a:pt x="87" y="330"/>
                </a:lnTo>
                <a:lnTo>
                  <a:pt x="70" y="321"/>
                </a:lnTo>
                <a:lnTo>
                  <a:pt x="53" y="321"/>
                </a:lnTo>
                <a:lnTo>
                  <a:pt x="28" y="296"/>
                </a:lnTo>
                <a:lnTo>
                  <a:pt x="21" y="261"/>
                </a:lnTo>
                <a:lnTo>
                  <a:pt x="58" y="240"/>
                </a:lnTo>
                <a:lnTo>
                  <a:pt x="53" y="217"/>
                </a:lnTo>
                <a:lnTo>
                  <a:pt x="44" y="227"/>
                </a:lnTo>
                <a:lnTo>
                  <a:pt x="28" y="225"/>
                </a:lnTo>
                <a:lnTo>
                  <a:pt x="0" y="204"/>
                </a:lnTo>
                <a:lnTo>
                  <a:pt x="29" y="180"/>
                </a:lnTo>
                <a:lnTo>
                  <a:pt x="47" y="195"/>
                </a:lnTo>
                <a:lnTo>
                  <a:pt x="58" y="189"/>
                </a:lnTo>
                <a:lnTo>
                  <a:pt x="47" y="174"/>
                </a:lnTo>
                <a:lnTo>
                  <a:pt x="35" y="161"/>
                </a:lnTo>
                <a:lnTo>
                  <a:pt x="10" y="142"/>
                </a:lnTo>
                <a:lnTo>
                  <a:pt x="34" y="127"/>
                </a:lnTo>
                <a:lnTo>
                  <a:pt x="63" y="81"/>
                </a:lnTo>
                <a:lnTo>
                  <a:pt x="95" y="71"/>
                </a:lnTo>
                <a:lnTo>
                  <a:pt x="132" y="87"/>
                </a:lnTo>
                <a:lnTo>
                  <a:pt x="156" y="92"/>
                </a:lnTo>
                <a:lnTo>
                  <a:pt x="207" y="101"/>
                </a:lnTo>
                <a:lnTo>
                  <a:pt x="245" y="119"/>
                </a:lnTo>
                <a:lnTo>
                  <a:pt x="261" y="128"/>
                </a:lnTo>
                <a:lnTo>
                  <a:pt x="278" y="109"/>
                </a:lnTo>
                <a:lnTo>
                  <a:pt x="299" y="106"/>
                </a:lnTo>
                <a:lnTo>
                  <a:pt x="333" y="99"/>
                </a:lnTo>
                <a:lnTo>
                  <a:pt x="365" y="112"/>
                </a:lnTo>
                <a:lnTo>
                  <a:pt x="398" y="119"/>
                </a:lnTo>
                <a:lnTo>
                  <a:pt x="430" y="127"/>
                </a:lnTo>
                <a:lnTo>
                  <a:pt x="448" y="145"/>
                </a:lnTo>
                <a:lnTo>
                  <a:pt x="442" y="155"/>
                </a:lnTo>
                <a:lnTo>
                  <a:pt x="481" y="148"/>
                </a:lnTo>
                <a:lnTo>
                  <a:pt x="500" y="151"/>
                </a:lnTo>
                <a:lnTo>
                  <a:pt x="491" y="142"/>
                </a:lnTo>
                <a:lnTo>
                  <a:pt x="520" y="138"/>
                </a:lnTo>
                <a:lnTo>
                  <a:pt x="545" y="156"/>
                </a:lnTo>
                <a:lnTo>
                  <a:pt x="574" y="150"/>
                </a:lnTo>
                <a:lnTo>
                  <a:pt x="568" y="125"/>
                </a:lnTo>
                <a:lnTo>
                  <a:pt x="581" y="106"/>
                </a:lnTo>
                <a:lnTo>
                  <a:pt x="604" y="131"/>
                </a:lnTo>
                <a:lnTo>
                  <a:pt x="610" y="118"/>
                </a:lnTo>
                <a:lnTo>
                  <a:pt x="592" y="95"/>
                </a:lnTo>
                <a:lnTo>
                  <a:pt x="599" y="65"/>
                </a:lnTo>
                <a:lnTo>
                  <a:pt x="60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13" name="îSḻiḍé">
            <a:extLst>
              <a:ext uri="{FF2B5EF4-FFF2-40B4-BE49-F238E27FC236}">
                <a16:creationId xmlns:a16="http://schemas.microsoft.com/office/drawing/2014/main" id="{D3973AC8-E325-43A6-8CC8-94FCCB888CEE}"/>
              </a:ext>
            </a:extLst>
          </p:cNvPr>
          <p:cNvSpPr/>
          <p:nvPr/>
        </p:nvSpPr>
        <p:spPr bwMode="auto">
          <a:xfrm>
            <a:off x="6162465" y="328561"/>
            <a:ext cx="101896" cy="163033"/>
          </a:xfrm>
          <a:custGeom>
            <a:avLst/>
            <a:gdLst>
              <a:gd name="T0" fmla="*/ 23 w 45"/>
              <a:gd name="T1" fmla="*/ 0 h 72"/>
              <a:gd name="T2" fmla="*/ 15 w 45"/>
              <a:gd name="T3" fmla="*/ 20 h 72"/>
              <a:gd name="T4" fmla="*/ 0 w 45"/>
              <a:gd name="T5" fmla="*/ 27 h 72"/>
              <a:gd name="T6" fmla="*/ 12 w 45"/>
              <a:gd name="T7" fmla="*/ 39 h 72"/>
              <a:gd name="T8" fmla="*/ 33 w 45"/>
              <a:gd name="T9" fmla="*/ 72 h 72"/>
              <a:gd name="T10" fmla="*/ 38 w 45"/>
              <a:gd name="T11" fmla="*/ 51 h 72"/>
              <a:gd name="T12" fmla="*/ 45 w 45"/>
              <a:gd name="T13" fmla="*/ 20 h 72"/>
              <a:gd name="T14" fmla="*/ 23 w 45"/>
              <a:gd name="T15" fmla="*/ 0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5" h="72">
                <a:moveTo>
                  <a:pt x="23" y="0"/>
                </a:moveTo>
                <a:lnTo>
                  <a:pt x="15" y="20"/>
                </a:lnTo>
                <a:lnTo>
                  <a:pt x="0" y="27"/>
                </a:lnTo>
                <a:lnTo>
                  <a:pt x="12" y="39"/>
                </a:lnTo>
                <a:lnTo>
                  <a:pt x="33" y="72"/>
                </a:lnTo>
                <a:lnTo>
                  <a:pt x="38" y="51"/>
                </a:lnTo>
                <a:lnTo>
                  <a:pt x="45" y="20"/>
                </a:lnTo>
                <a:lnTo>
                  <a:pt x="2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14" name="ïšļídé">
            <a:extLst>
              <a:ext uri="{FF2B5EF4-FFF2-40B4-BE49-F238E27FC236}">
                <a16:creationId xmlns:a16="http://schemas.microsoft.com/office/drawing/2014/main" id="{92DF85BD-8BEA-42BA-AF31-624C6CC60F48}"/>
              </a:ext>
            </a:extLst>
          </p:cNvPr>
          <p:cNvSpPr/>
          <p:nvPr/>
        </p:nvSpPr>
        <p:spPr bwMode="auto">
          <a:xfrm>
            <a:off x="6506647" y="1972482"/>
            <a:ext cx="158505" cy="63402"/>
          </a:xfrm>
          <a:custGeom>
            <a:avLst/>
            <a:gdLst>
              <a:gd name="T0" fmla="*/ 0 w 70"/>
              <a:gd name="T1" fmla="*/ 10 h 28"/>
              <a:gd name="T2" fmla="*/ 12 w 70"/>
              <a:gd name="T3" fmla="*/ 0 h 28"/>
              <a:gd name="T4" fmla="*/ 49 w 70"/>
              <a:gd name="T5" fmla="*/ 9 h 28"/>
              <a:gd name="T6" fmla="*/ 70 w 70"/>
              <a:gd name="T7" fmla="*/ 28 h 28"/>
              <a:gd name="T8" fmla="*/ 47 w 70"/>
              <a:gd name="T9" fmla="*/ 24 h 28"/>
              <a:gd name="T10" fmla="*/ 0 w 70"/>
              <a:gd name="T11" fmla="*/ 1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0" h="28">
                <a:moveTo>
                  <a:pt x="0" y="10"/>
                </a:moveTo>
                <a:lnTo>
                  <a:pt x="12" y="0"/>
                </a:lnTo>
                <a:lnTo>
                  <a:pt x="49" y="9"/>
                </a:lnTo>
                <a:lnTo>
                  <a:pt x="70" y="28"/>
                </a:lnTo>
                <a:lnTo>
                  <a:pt x="47" y="24"/>
                </a:lnTo>
                <a:lnTo>
                  <a:pt x="0" y="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15" name="iş1îḑê">
            <a:extLst>
              <a:ext uri="{FF2B5EF4-FFF2-40B4-BE49-F238E27FC236}">
                <a16:creationId xmlns:a16="http://schemas.microsoft.com/office/drawing/2014/main" id="{8902F273-3F74-473F-83DB-A5C3D396D06E}"/>
              </a:ext>
            </a:extLst>
          </p:cNvPr>
          <p:cNvSpPr/>
          <p:nvPr/>
        </p:nvSpPr>
        <p:spPr bwMode="auto">
          <a:xfrm>
            <a:off x="6699117" y="2035884"/>
            <a:ext cx="138126" cy="43023"/>
          </a:xfrm>
          <a:custGeom>
            <a:avLst/>
            <a:gdLst>
              <a:gd name="T0" fmla="*/ 0 w 48"/>
              <a:gd name="T1" fmla="*/ 13 h 15"/>
              <a:gd name="T2" fmla="*/ 6 w 48"/>
              <a:gd name="T3" fmla="*/ 1 h 15"/>
              <a:gd name="T4" fmla="*/ 36 w 48"/>
              <a:gd name="T5" fmla="*/ 2 h 15"/>
              <a:gd name="T6" fmla="*/ 48 w 48"/>
              <a:gd name="T7" fmla="*/ 15 h 15"/>
              <a:gd name="T8" fmla="*/ 18 w 48"/>
              <a:gd name="T9" fmla="*/ 12 h 15"/>
              <a:gd name="T10" fmla="*/ 0 w 48"/>
              <a:gd name="T11" fmla="*/ 13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8" h="15">
                <a:moveTo>
                  <a:pt x="0" y="13"/>
                </a:moveTo>
                <a:cubicBezTo>
                  <a:pt x="0" y="13"/>
                  <a:pt x="1" y="0"/>
                  <a:pt x="6" y="1"/>
                </a:cubicBezTo>
                <a:cubicBezTo>
                  <a:pt x="12" y="2"/>
                  <a:pt x="36" y="2"/>
                  <a:pt x="36" y="2"/>
                </a:cubicBezTo>
                <a:cubicBezTo>
                  <a:pt x="48" y="15"/>
                  <a:pt x="48" y="15"/>
                  <a:pt x="48" y="15"/>
                </a:cubicBezTo>
                <a:cubicBezTo>
                  <a:pt x="18" y="12"/>
                  <a:pt x="18" y="12"/>
                  <a:pt x="18" y="12"/>
                </a:cubicBezTo>
                <a:lnTo>
                  <a:pt x="0" y="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16" name="íṥlíďê">
            <a:extLst>
              <a:ext uri="{FF2B5EF4-FFF2-40B4-BE49-F238E27FC236}">
                <a16:creationId xmlns:a16="http://schemas.microsoft.com/office/drawing/2014/main" id="{B1517BA7-DCAA-43E4-80DA-D4641643CF78}"/>
              </a:ext>
            </a:extLst>
          </p:cNvPr>
          <p:cNvSpPr/>
          <p:nvPr/>
        </p:nvSpPr>
        <p:spPr bwMode="auto">
          <a:xfrm>
            <a:off x="6613071" y="2063056"/>
            <a:ext cx="43023" cy="24908"/>
          </a:xfrm>
          <a:custGeom>
            <a:avLst/>
            <a:gdLst>
              <a:gd name="T0" fmla="*/ 4 w 19"/>
              <a:gd name="T1" fmla="*/ 0 h 11"/>
              <a:gd name="T2" fmla="*/ 18 w 19"/>
              <a:gd name="T3" fmla="*/ 2 h 11"/>
              <a:gd name="T4" fmla="*/ 19 w 19"/>
              <a:gd name="T5" fmla="*/ 11 h 11"/>
              <a:gd name="T6" fmla="*/ 0 w 19"/>
              <a:gd name="T7" fmla="*/ 8 h 11"/>
              <a:gd name="T8" fmla="*/ 4 w 19"/>
              <a:gd name="T9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" h="11">
                <a:moveTo>
                  <a:pt x="4" y="0"/>
                </a:moveTo>
                <a:lnTo>
                  <a:pt x="18" y="2"/>
                </a:lnTo>
                <a:lnTo>
                  <a:pt x="19" y="11"/>
                </a:lnTo>
                <a:lnTo>
                  <a:pt x="0" y="8"/>
                </a:lnTo>
                <a:lnTo>
                  <a:pt x="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17" name="ï$lïḍé">
            <a:extLst>
              <a:ext uri="{FF2B5EF4-FFF2-40B4-BE49-F238E27FC236}">
                <a16:creationId xmlns:a16="http://schemas.microsoft.com/office/drawing/2014/main" id="{FED21632-C7E5-453D-8E4C-833D2BDD8E96}"/>
              </a:ext>
            </a:extLst>
          </p:cNvPr>
          <p:cNvSpPr/>
          <p:nvPr/>
        </p:nvSpPr>
        <p:spPr bwMode="auto">
          <a:xfrm>
            <a:off x="8333980" y="-15621"/>
            <a:ext cx="101896" cy="140390"/>
          </a:xfrm>
          <a:custGeom>
            <a:avLst/>
            <a:gdLst>
              <a:gd name="T0" fmla="*/ 45 w 45"/>
              <a:gd name="T1" fmla="*/ 0 h 62"/>
              <a:gd name="T2" fmla="*/ 36 w 45"/>
              <a:gd name="T3" fmla="*/ 34 h 62"/>
              <a:gd name="T4" fmla="*/ 29 w 45"/>
              <a:gd name="T5" fmla="*/ 62 h 62"/>
              <a:gd name="T6" fmla="*/ 4 w 45"/>
              <a:gd name="T7" fmla="*/ 29 h 62"/>
              <a:gd name="T8" fmla="*/ 0 w 45"/>
              <a:gd name="T9" fmla="*/ 9 h 62"/>
              <a:gd name="T10" fmla="*/ 45 w 45"/>
              <a:gd name="T11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" h="62">
                <a:moveTo>
                  <a:pt x="45" y="0"/>
                </a:moveTo>
                <a:lnTo>
                  <a:pt x="36" y="34"/>
                </a:lnTo>
                <a:lnTo>
                  <a:pt x="29" y="62"/>
                </a:lnTo>
                <a:lnTo>
                  <a:pt x="4" y="29"/>
                </a:lnTo>
                <a:lnTo>
                  <a:pt x="0" y="9"/>
                </a:lnTo>
                <a:lnTo>
                  <a:pt x="4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18" name="i$liḍe">
            <a:extLst>
              <a:ext uri="{FF2B5EF4-FFF2-40B4-BE49-F238E27FC236}">
                <a16:creationId xmlns:a16="http://schemas.microsoft.com/office/drawing/2014/main" id="{851D33FC-C77A-4B8D-85AA-8A270600402E}"/>
              </a:ext>
            </a:extLst>
          </p:cNvPr>
          <p:cNvSpPr/>
          <p:nvPr/>
        </p:nvSpPr>
        <p:spPr bwMode="auto">
          <a:xfrm>
            <a:off x="10820239" y="208550"/>
            <a:ext cx="90574" cy="56609"/>
          </a:xfrm>
          <a:custGeom>
            <a:avLst/>
            <a:gdLst>
              <a:gd name="T0" fmla="*/ 40 w 40"/>
              <a:gd name="T1" fmla="*/ 14 h 25"/>
              <a:gd name="T2" fmla="*/ 0 w 40"/>
              <a:gd name="T3" fmla="*/ 0 h 25"/>
              <a:gd name="T4" fmla="*/ 6 w 40"/>
              <a:gd name="T5" fmla="*/ 15 h 25"/>
              <a:gd name="T6" fmla="*/ 24 w 40"/>
              <a:gd name="T7" fmla="*/ 25 h 25"/>
              <a:gd name="T8" fmla="*/ 40 w 40"/>
              <a:gd name="T9" fmla="*/ 14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" h="25">
                <a:moveTo>
                  <a:pt x="40" y="14"/>
                </a:moveTo>
                <a:lnTo>
                  <a:pt x="0" y="0"/>
                </a:lnTo>
                <a:lnTo>
                  <a:pt x="6" y="15"/>
                </a:lnTo>
                <a:lnTo>
                  <a:pt x="24" y="25"/>
                </a:lnTo>
                <a:lnTo>
                  <a:pt x="40" y="1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19" name="iṥḷîḍe">
            <a:extLst>
              <a:ext uri="{FF2B5EF4-FFF2-40B4-BE49-F238E27FC236}">
                <a16:creationId xmlns:a16="http://schemas.microsoft.com/office/drawing/2014/main" id="{49627E9D-F8EA-419A-A9CD-1B40D55726C1}"/>
              </a:ext>
            </a:extLst>
          </p:cNvPr>
          <p:cNvSpPr/>
          <p:nvPr/>
        </p:nvSpPr>
        <p:spPr bwMode="auto">
          <a:xfrm>
            <a:off x="10641355" y="156470"/>
            <a:ext cx="122275" cy="110953"/>
          </a:xfrm>
          <a:custGeom>
            <a:avLst/>
            <a:gdLst>
              <a:gd name="T0" fmla="*/ 38 w 54"/>
              <a:gd name="T1" fmla="*/ 2 h 49"/>
              <a:gd name="T2" fmla="*/ 18 w 54"/>
              <a:gd name="T3" fmla="*/ 0 h 49"/>
              <a:gd name="T4" fmla="*/ 0 w 54"/>
              <a:gd name="T5" fmla="*/ 29 h 49"/>
              <a:gd name="T6" fmla="*/ 20 w 54"/>
              <a:gd name="T7" fmla="*/ 49 h 49"/>
              <a:gd name="T8" fmla="*/ 54 w 54"/>
              <a:gd name="T9" fmla="*/ 42 h 49"/>
              <a:gd name="T10" fmla="*/ 38 w 54"/>
              <a:gd name="T11" fmla="*/ 2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49">
                <a:moveTo>
                  <a:pt x="38" y="2"/>
                </a:moveTo>
                <a:lnTo>
                  <a:pt x="18" y="0"/>
                </a:lnTo>
                <a:lnTo>
                  <a:pt x="0" y="29"/>
                </a:lnTo>
                <a:lnTo>
                  <a:pt x="20" y="49"/>
                </a:lnTo>
                <a:lnTo>
                  <a:pt x="54" y="42"/>
                </a:lnTo>
                <a:lnTo>
                  <a:pt x="38" y="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5" name="íşļîḑê">
            <a:extLst>
              <a:ext uri="{FF2B5EF4-FFF2-40B4-BE49-F238E27FC236}">
                <a16:creationId xmlns:a16="http://schemas.microsoft.com/office/drawing/2014/main" id="{2D971122-F3BA-4085-86B0-9C8D41464C8D}"/>
              </a:ext>
            </a:extLst>
          </p:cNvPr>
          <p:cNvSpPr/>
          <p:nvPr/>
        </p:nvSpPr>
        <p:spPr>
          <a:xfrm>
            <a:off x="10198033" y="1112481"/>
            <a:ext cx="381070" cy="381068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77500" lnSpcReduction="20000"/>
          </a:bodyPr>
          <a:lstStyle/>
          <a:p>
            <a:pPr algn="ctr"/>
            <a:endParaRPr/>
          </a:p>
        </p:txBody>
      </p:sp>
      <p:sp>
        <p:nvSpPr>
          <p:cNvPr id="136" name="iṣ1îďé">
            <a:extLst>
              <a:ext uri="{FF2B5EF4-FFF2-40B4-BE49-F238E27FC236}">
                <a16:creationId xmlns:a16="http://schemas.microsoft.com/office/drawing/2014/main" id="{D4FBA5F1-9E0F-499A-8C8D-78293CB77FA5}"/>
              </a:ext>
            </a:extLst>
          </p:cNvPr>
          <p:cNvSpPr/>
          <p:nvPr/>
        </p:nvSpPr>
        <p:spPr>
          <a:xfrm>
            <a:off x="10494740" y="2748158"/>
            <a:ext cx="281912" cy="28191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40000" lnSpcReduction="20000"/>
          </a:bodyPr>
          <a:lstStyle/>
          <a:p>
            <a:pPr algn="ctr"/>
            <a:endParaRPr/>
          </a:p>
        </p:txBody>
      </p:sp>
      <p:sp>
        <p:nvSpPr>
          <p:cNvPr id="137" name="iṡ1ïde">
            <a:extLst>
              <a:ext uri="{FF2B5EF4-FFF2-40B4-BE49-F238E27FC236}">
                <a16:creationId xmlns:a16="http://schemas.microsoft.com/office/drawing/2014/main" id="{1E929BE7-A67A-48D5-A276-C912D79E0195}"/>
              </a:ext>
            </a:extLst>
          </p:cNvPr>
          <p:cNvSpPr/>
          <p:nvPr/>
        </p:nvSpPr>
        <p:spPr>
          <a:xfrm>
            <a:off x="6951455" y="2517901"/>
            <a:ext cx="281912" cy="28191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40000" lnSpcReduction="20000"/>
          </a:bodyPr>
          <a:lstStyle/>
          <a:p>
            <a:pPr algn="ctr"/>
            <a:endParaRPr/>
          </a:p>
        </p:txBody>
      </p:sp>
      <p:sp>
        <p:nvSpPr>
          <p:cNvPr id="138" name="íSļïḋê">
            <a:extLst>
              <a:ext uri="{FF2B5EF4-FFF2-40B4-BE49-F238E27FC236}">
                <a16:creationId xmlns:a16="http://schemas.microsoft.com/office/drawing/2014/main" id="{DE2F8F85-F4F0-4B7A-B364-AEFDB19ADFC1}"/>
              </a:ext>
            </a:extLst>
          </p:cNvPr>
          <p:cNvSpPr/>
          <p:nvPr/>
        </p:nvSpPr>
        <p:spPr>
          <a:xfrm>
            <a:off x="6022264" y="1655914"/>
            <a:ext cx="281912" cy="281912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40000" lnSpcReduction="20000"/>
          </a:bodyPr>
          <a:lstStyle/>
          <a:p>
            <a:pPr algn="ctr"/>
            <a:endParaRPr/>
          </a:p>
        </p:txBody>
      </p:sp>
      <p:sp>
        <p:nvSpPr>
          <p:cNvPr id="139" name="íšľïḑê">
            <a:extLst>
              <a:ext uri="{FF2B5EF4-FFF2-40B4-BE49-F238E27FC236}">
                <a16:creationId xmlns:a16="http://schemas.microsoft.com/office/drawing/2014/main" id="{51BC752F-8697-4B5F-8E7C-4AF0C5E5D53C}"/>
              </a:ext>
            </a:extLst>
          </p:cNvPr>
          <p:cNvSpPr/>
          <p:nvPr/>
        </p:nvSpPr>
        <p:spPr>
          <a:xfrm>
            <a:off x="5864174" y="875763"/>
            <a:ext cx="281912" cy="281912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40000" lnSpcReduction="20000"/>
          </a:bodyPr>
          <a:lstStyle/>
          <a:p>
            <a:pPr algn="ctr"/>
            <a:endParaRPr/>
          </a:p>
        </p:txBody>
      </p:sp>
      <p:sp>
        <p:nvSpPr>
          <p:cNvPr id="140" name="íŝ1iďê">
            <a:extLst>
              <a:ext uri="{FF2B5EF4-FFF2-40B4-BE49-F238E27FC236}">
                <a16:creationId xmlns:a16="http://schemas.microsoft.com/office/drawing/2014/main" id="{F3235C2F-0FF6-4EC3-B824-53F5905260B5}"/>
              </a:ext>
            </a:extLst>
          </p:cNvPr>
          <p:cNvSpPr/>
          <p:nvPr/>
        </p:nvSpPr>
        <p:spPr>
          <a:xfrm>
            <a:off x="9556719" y="1214126"/>
            <a:ext cx="203589" cy="203589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1" name="í$ļíḓê">
            <a:extLst>
              <a:ext uri="{FF2B5EF4-FFF2-40B4-BE49-F238E27FC236}">
                <a16:creationId xmlns:a16="http://schemas.microsoft.com/office/drawing/2014/main" id="{174F4650-738E-43E0-81BC-D625737BC46D}"/>
              </a:ext>
            </a:extLst>
          </p:cNvPr>
          <p:cNvSpPr/>
          <p:nvPr/>
        </p:nvSpPr>
        <p:spPr>
          <a:xfrm>
            <a:off x="8337870" y="843290"/>
            <a:ext cx="203589" cy="203589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2" name="îṡľîďe">
            <a:extLst>
              <a:ext uri="{FF2B5EF4-FFF2-40B4-BE49-F238E27FC236}">
                <a16:creationId xmlns:a16="http://schemas.microsoft.com/office/drawing/2014/main" id="{BE85DD5A-D784-4114-B6C8-37D7746C846F}"/>
              </a:ext>
            </a:extLst>
          </p:cNvPr>
          <p:cNvSpPr/>
          <p:nvPr/>
        </p:nvSpPr>
        <p:spPr>
          <a:xfrm>
            <a:off x="10018780" y="1626627"/>
            <a:ext cx="203589" cy="203589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3" name="i$ľíḋè">
            <a:extLst>
              <a:ext uri="{FF2B5EF4-FFF2-40B4-BE49-F238E27FC236}">
                <a16:creationId xmlns:a16="http://schemas.microsoft.com/office/drawing/2014/main" id="{8124FCE5-FD06-4519-864F-69C400B80EB4}"/>
              </a:ext>
            </a:extLst>
          </p:cNvPr>
          <p:cNvSpPr/>
          <p:nvPr/>
        </p:nvSpPr>
        <p:spPr>
          <a:xfrm>
            <a:off x="8260829" y="2861668"/>
            <a:ext cx="203589" cy="203589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4" name="îṡļîḋê">
            <a:extLst>
              <a:ext uri="{FF2B5EF4-FFF2-40B4-BE49-F238E27FC236}">
                <a16:creationId xmlns:a16="http://schemas.microsoft.com/office/drawing/2014/main" id="{F59BD39D-CAF2-4705-88E3-2BDE12405A5E}"/>
              </a:ext>
            </a:extLst>
          </p:cNvPr>
          <p:cNvSpPr/>
          <p:nvPr/>
        </p:nvSpPr>
        <p:spPr>
          <a:xfrm>
            <a:off x="9634256" y="2253557"/>
            <a:ext cx="203589" cy="203589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145" name="直接连接符 144">
            <a:extLst>
              <a:ext uri="{FF2B5EF4-FFF2-40B4-BE49-F238E27FC236}">
                <a16:creationId xmlns:a16="http://schemas.microsoft.com/office/drawing/2014/main" id="{540F740C-0AC8-4E40-BD59-72B67E0A3E12}"/>
              </a:ext>
            </a:extLst>
          </p:cNvPr>
          <p:cNvCxnSpPr/>
          <p:nvPr/>
        </p:nvCxnSpPr>
        <p:spPr>
          <a:xfrm>
            <a:off x="670718" y="4319893"/>
            <a:ext cx="10850565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ís1iḍe">
            <a:extLst>
              <a:ext uri="{FF2B5EF4-FFF2-40B4-BE49-F238E27FC236}">
                <a16:creationId xmlns:a16="http://schemas.microsoft.com/office/drawing/2014/main" id="{C0AA4903-322F-4A43-ACCD-0DFB42F09247}"/>
              </a:ext>
            </a:extLst>
          </p:cNvPr>
          <p:cNvSpPr txBox="1"/>
          <p:nvPr/>
        </p:nvSpPr>
        <p:spPr>
          <a:xfrm>
            <a:off x="673099" y="1510965"/>
            <a:ext cx="4714959" cy="58192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 fontScale="70000" lnSpcReduction="20000"/>
          </a:bodyPr>
          <a:lstStyle/>
          <a:p>
            <a:pPr marL="0" marR="0" lvl="0" indent="0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Unified fonts make reading more fluent.</a:t>
            </a:r>
          </a:p>
        </p:txBody>
      </p:sp>
      <p:sp>
        <p:nvSpPr>
          <p:cNvPr id="147" name="îşľiḑê">
            <a:extLst>
              <a:ext uri="{FF2B5EF4-FFF2-40B4-BE49-F238E27FC236}">
                <a16:creationId xmlns:a16="http://schemas.microsoft.com/office/drawing/2014/main" id="{360106DC-8FC7-43E8-967D-7292AF870A0F}"/>
              </a:ext>
            </a:extLst>
          </p:cNvPr>
          <p:cNvSpPr txBox="1"/>
          <p:nvPr/>
        </p:nvSpPr>
        <p:spPr>
          <a:xfrm>
            <a:off x="673101" y="2092891"/>
            <a:ext cx="4714957" cy="92072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Theme color makes PPT more convenient to change.</a:t>
            </a:r>
          </a:p>
          <a:p>
            <a:pPr marL="0" marR="0" lvl="0" indent="0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djust the spacing to adapt to Chinese typesetting, use the reference line in PPT.</a:t>
            </a:r>
          </a:p>
        </p:txBody>
      </p:sp>
      <p:sp>
        <p:nvSpPr>
          <p:cNvPr id="161" name="î$ľîḋê">
            <a:extLst>
              <a:ext uri="{FF2B5EF4-FFF2-40B4-BE49-F238E27FC236}">
                <a16:creationId xmlns:a16="http://schemas.microsoft.com/office/drawing/2014/main" id="{7CA4B05D-ED4C-4634-966D-39F5DFD9564D}"/>
              </a:ext>
            </a:extLst>
          </p:cNvPr>
          <p:cNvSpPr/>
          <p:nvPr/>
        </p:nvSpPr>
        <p:spPr bwMode="auto">
          <a:xfrm>
            <a:off x="1879650" y="3936184"/>
            <a:ext cx="767418" cy="76741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75000"/>
              </a:schemeClr>
            </a:solidFill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2" name="îṧḻíďè">
            <a:extLst>
              <a:ext uri="{FF2B5EF4-FFF2-40B4-BE49-F238E27FC236}">
                <a16:creationId xmlns:a16="http://schemas.microsoft.com/office/drawing/2014/main" id="{5AA6E2A3-FD14-4B00-AA22-36790FCA7470}"/>
              </a:ext>
            </a:extLst>
          </p:cNvPr>
          <p:cNvSpPr/>
          <p:nvPr/>
        </p:nvSpPr>
        <p:spPr bwMode="auto">
          <a:xfrm>
            <a:off x="2059031" y="4113281"/>
            <a:ext cx="408658" cy="413225"/>
          </a:xfrm>
          <a:custGeom>
            <a:avLst/>
            <a:gdLst>
              <a:gd name="T0" fmla="*/ 160 w 224"/>
              <a:gd name="T1" fmla="*/ 0 h 224"/>
              <a:gd name="T2" fmla="*/ 160 w 224"/>
              <a:gd name="T3" fmla="*/ 48 h 224"/>
              <a:gd name="T4" fmla="*/ 224 w 224"/>
              <a:gd name="T5" fmla="*/ 48 h 224"/>
              <a:gd name="T6" fmla="*/ 224 w 224"/>
              <a:gd name="T7" fmla="*/ 176 h 224"/>
              <a:gd name="T8" fmla="*/ 160 w 224"/>
              <a:gd name="T9" fmla="*/ 176 h 224"/>
              <a:gd name="T10" fmla="*/ 160 w 224"/>
              <a:gd name="T11" fmla="*/ 224 h 224"/>
              <a:gd name="T12" fmla="*/ 64 w 224"/>
              <a:gd name="T13" fmla="*/ 224 h 224"/>
              <a:gd name="T14" fmla="*/ 64 w 224"/>
              <a:gd name="T15" fmla="*/ 176 h 224"/>
              <a:gd name="T16" fmla="*/ 0 w 224"/>
              <a:gd name="T17" fmla="*/ 176 h 224"/>
              <a:gd name="T18" fmla="*/ 0 w 224"/>
              <a:gd name="T19" fmla="*/ 76 h 224"/>
              <a:gd name="T20" fmla="*/ 26 w 224"/>
              <a:gd name="T21" fmla="*/ 48 h 224"/>
              <a:gd name="T22" fmla="*/ 64 w 224"/>
              <a:gd name="T23" fmla="*/ 48 h 224"/>
              <a:gd name="T24" fmla="*/ 64 w 224"/>
              <a:gd name="T25" fmla="*/ 0 h 224"/>
              <a:gd name="T26" fmla="*/ 160 w 224"/>
              <a:gd name="T27" fmla="*/ 0 h 224"/>
              <a:gd name="T28" fmla="*/ 152 w 224"/>
              <a:gd name="T29" fmla="*/ 120 h 224"/>
              <a:gd name="T30" fmla="*/ 72 w 224"/>
              <a:gd name="T31" fmla="*/ 120 h 224"/>
              <a:gd name="T32" fmla="*/ 72 w 224"/>
              <a:gd name="T33" fmla="*/ 216 h 224"/>
              <a:gd name="T34" fmla="*/ 152 w 224"/>
              <a:gd name="T35" fmla="*/ 216 h 224"/>
              <a:gd name="T36" fmla="*/ 152 w 224"/>
              <a:gd name="T37" fmla="*/ 120 h 224"/>
              <a:gd name="T38" fmla="*/ 216 w 224"/>
              <a:gd name="T39" fmla="*/ 56 h 224"/>
              <a:gd name="T40" fmla="*/ 30 w 224"/>
              <a:gd name="T41" fmla="*/ 56 h 224"/>
              <a:gd name="T42" fmla="*/ 8 w 224"/>
              <a:gd name="T43" fmla="*/ 80 h 224"/>
              <a:gd name="T44" fmla="*/ 8 w 224"/>
              <a:gd name="T45" fmla="*/ 168 h 224"/>
              <a:gd name="T46" fmla="*/ 64 w 224"/>
              <a:gd name="T47" fmla="*/ 168 h 224"/>
              <a:gd name="T48" fmla="*/ 64 w 224"/>
              <a:gd name="T49" fmla="*/ 112 h 224"/>
              <a:gd name="T50" fmla="*/ 160 w 224"/>
              <a:gd name="T51" fmla="*/ 112 h 224"/>
              <a:gd name="T52" fmla="*/ 160 w 224"/>
              <a:gd name="T53" fmla="*/ 168 h 224"/>
              <a:gd name="T54" fmla="*/ 216 w 224"/>
              <a:gd name="T55" fmla="*/ 168 h 224"/>
              <a:gd name="T56" fmla="*/ 216 w 224"/>
              <a:gd name="T57" fmla="*/ 56 h 224"/>
              <a:gd name="T58" fmla="*/ 194 w 224"/>
              <a:gd name="T59" fmla="*/ 72 h 224"/>
              <a:gd name="T60" fmla="*/ 200 w 224"/>
              <a:gd name="T61" fmla="*/ 78 h 224"/>
              <a:gd name="T62" fmla="*/ 194 w 224"/>
              <a:gd name="T63" fmla="*/ 84 h 224"/>
              <a:gd name="T64" fmla="*/ 188 w 224"/>
              <a:gd name="T65" fmla="*/ 78 h 224"/>
              <a:gd name="T66" fmla="*/ 194 w 224"/>
              <a:gd name="T67" fmla="*/ 72 h 224"/>
              <a:gd name="T68" fmla="*/ 152 w 224"/>
              <a:gd name="T69" fmla="*/ 8 h 224"/>
              <a:gd name="T70" fmla="*/ 72 w 224"/>
              <a:gd name="T71" fmla="*/ 8 h 224"/>
              <a:gd name="T72" fmla="*/ 72 w 224"/>
              <a:gd name="T73" fmla="*/ 48 h 224"/>
              <a:gd name="T74" fmla="*/ 152 w 224"/>
              <a:gd name="T75" fmla="*/ 48 h 224"/>
              <a:gd name="T76" fmla="*/ 152 w 224"/>
              <a:gd name="T77" fmla="*/ 8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24" h="224">
                <a:moveTo>
                  <a:pt x="160" y="0"/>
                </a:moveTo>
                <a:cubicBezTo>
                  <a:pt x="160" y="48"/>
                  <a:pt x="160" y="48"/>
                  <a:pt x="160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6"/>
                  <a:pt x="224" y="176"/>
                  <a:pt x="224" y="176"/>
                </a:cubicBezTo>
                <a:cubicBezTo>
                  <a:pt x="160" y="176"/>
                  <a:pt x="160" y="176"/>
                  <a:pt x="160" y="176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64" y="224"/>
                  <a:pt x="64" y="224"/>
                  <a:pt x="64" y="224"/>
                </a:cubicBezTo>
                <a:cubicBezTo>
                  <a:pt x="64" y="176"/>
                  <a:pt x="64" y="176"/>
                  <a:pt x="64" y="176"/>
                </a:cubicBezTo>
                <a:cubicBezTo>
                  <a:pt x="0" y="176"/>
                  <a:pt x="0" y="176"/>
                  <a:pt x="0" y="176"/>
                </a:cubicBezTo>
                <a:cubicBezTo>
                  <a:pt x="0" y="76"/>
                  <a:pt x="0" y="76"/>
                  <a:pt x="0" y="76"/>
                </a:cubicBezTo>
                <a:cubicBezTo>
                  <a:pt x="26" y="48"/>
                  <a:pt x="26" y="48"/>
                  <a:pt x="26" y="48"/>
                </a:cubicBezTo>
                <a:cubicBezTo>
                  <a:pt x="64" y="48"/>
                  <a:pt x="64" y="48"/>
                  <a:pt x="64" y="48"/>
                </a:cubicBezTo>
                <a:cubicBezTo>
                  <a:pt x="64" y="0"/>
                  <a:pt x="64" y="0"/>
                  <a:pt x="64" y="0"/>
                </a:cubicBezTo>
                <a:lnTo>
                  <a:pt x="160" y="0"/>
                </a:lnTo>
                <a:close/>
                <a:moveTo>
                  <a:pt x="152" y="120"/>
                </a:moveTo>
                <a:cubicBezTo>
                  <a:pt x="72" y="120"/>
                  <a:pt x="72" y="120"/>
                  <a:pt x="72" y="120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152" y="216"/>
                  <a:pt x="152" y="216"/>
                  <a:pt x="152" y="216"/>
                </a:cubicBezTo>
                <a:lnTo>
                  <a:pt x="152" y="120"/>
                </a:lnTo>
                <a:close/>
                <a:moveTo>
                  <a:pt x="216" y="56"/>
                </a:moveTo>
                <a:cubicBezTo>
                  <a:pt x="30" y="56"/>
                  <a:pt x="30" y="56"/>
                  <a:pt x="30" y="56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168"/>
                  <a:pt x="8" y="168"/>
                  <a:pt x="8" y="168"/>
                </a:cubicBezTo>
                <a:cubicBezTo>
                  <a:pt x="64" y="168"/>
                  <a:pt x="64" y="168"/>
                  <a:pt x="64" y="168"/>
                </a:cubicBezTo>
                <a:cubicBezTo>
                  <a:pt x="64" y="112"/>
                  <a:pt x="64" y="112"/>
                  <a:pt x="64" y="112"/>
                </a:cubicBezTo>
                <a:cubicBezTo>
                  <a:pt x="160" y="112"/>
                  <a:pt x="160" y="112"/>
                  <a:pt x="160" y="112"/>
                </a:cubicBezTo>
                <a:cubicBezTo>
                  <a:pt x="160" y="168"/>
                  <a:pt x="160" y="168"/>
                  <a:pt x="160" y="168"/>
                </a:cubicBezTo>
                <a:cubicBezTo>
                  <a:pt x="216" y="168"/>
                  <a:pt x="216" y="168"/>
                  <a:pt x="216" y="168"/>
                </a:cubicBezTo>
                <a:lnTo>
                  <a:pt x="216" y="56"/>
                </a:lnTo>
                <a:close/>
                <a:moveTo>
                  <a:pt x="194" y="72"/>
                </a:moveTo>
                <a:cubicBezTo>
                  <a:pt x="197" y="72"/>
                  <a:pt x="200" y="75"/>
                  <a:pt x="200" y="78"/>
                </a:cubicBezTo>
                <a:cubicBezTo>
                  <a:pt x="200" y="81"/>
                  <a:pt x="197" y="84"/>
                  <a:pt x="194" y="84"/>
                </a:cubicBezTo>
                <a:cubicBezTo>
                  <a:pt x="191" y="84"/>
                  <a:pt x="188" y="81"/>
                  <a:pt x="188" y="78"/>
                </a:cubicBezTo>
                <a:cubicBezTo>
                  <a:pt x="188" y="75"/>
                  <a:pt x="191" y="72"/>
                  <a:pt x="194" y="72"/>
                </a:cubicBezTo>
                <a:close/>
                <a:moveTo>
                  <a:pt x="152" y="8"/>
                </a:moveTo>
                <a:cubicBezTo>
                  <a:pt x="72" y="8"/>
                  <a:pt x="72" y="8"/>
                  <a:pt x="72" y="8"/>
                </a:cubicBezTo>
                <a:cubicBezTo>
                  <a:pt x="72" y="48"/>
                  <a:pt x="72" y="48"/>
                  <a:pt x="72" y="48"/>
                </a:cubicBezTo>
                <a:cubicBezTo>
                  <a:pt x="152" y="48"/>
                  <a:pt x="152" y="48"/>
                  <a:pt x="152" y="48"/>
                </a:cubicBezTo>
                <a:lnTo>
                  <a:pt x="152" y="8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59" name="îšľîḓé">
            <a:extLst>
              <a:ext uri="{FF2B5EF4-FFF2-40B4-BE49-F238E27FC236}">
                <a16:creationId xmlns:a16="http://schemas.microsoft.com/office/drawing/2014/main" id="{F02EA370-A4BF-40B3-92F4-318BDB068BF0}"/>
              </a:ext>
            </a:extLst>
          </p:cNvPr>
          <p:cNvSpPr/>
          <p:nvPr/>
        </p:nvSpPr>
        <p:spPr bwMode="auto">
          <a:xfrm>
            <a:off x="5705941" y="3936184"/>
            <a:ext cx="767418" cy="76741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75000"/>
              </a:schemeClr>
            </a:solidFill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5" name="íṣḻïḓé">
            <a:extLst>
              <a:ext uri="{FF2B5EF4-FFF2-40B4-BE49-F238E27FC236}">
                <a16:creationId xmlns:a16="http://schemas.microsoft.com/office/drawing/2014/main" id="{D86FF15D-6AB0-4CB2-A3C4-FC4CF40D1F53}"/>
              </a:ext>
            </a:extLst>
          </p:cNvPr>
          <p:cNvSpPr/>
          <p:nvPr/>
        </p:nvSpPr>
        <p:spPr bwMode="auto">
          <a:xfrm>
            <a:off x="5883039" y="4147428"/>
            <a:ext cx="413225" cy="344932"/>
          </a:xfrm>
          <a:custGeom>
            <a:avLst/>
            <a:gdLst>
              <a:gd name="T0" fmla="*/ 224 w 224"/>
              <a:gd name="T1" fmla="*/ 0 h 184"/>
              <a:gd name="T2" fmla="*/ 224 w 224"/>
              <a:gd name="T3" fmla="*/ 156 h 184"/>
              <a:gd name="T4" fmla="*/ 86 w 224"/>
              <a:gd name="T5" fmla="*/ 156 h 184"/>
              <a:gd name="T6" fmla="*/ 48 w 224"/>
              <a:gd name="T7" fmla="*/ 184 h 184"/>
              <a:gd name="T8" fmla="*/ 48 w 224"/>
              <a:gd name="T9" fmla="*/ 156 h 184"/>
              <a:gd name="T10" fmla="*/ 0 w 224"/>
              <a:gd name="T11" fmla="*/ 156 h 184"/>
              <a:gd name="T12" fmla="*/ 0 w 224"/>
              <a:gd name="T13" fmla="*/ 0 h 184"/>
              <a:gd name="T14" fmla="*/ 224 w 224"/>
              <a:gd name="T15" fmla="*/ 0 h 184"/>
              <a:gd name="T16" fmla="*/ 216 w 224"/>
              <a:gd name="T17" fmla="*/ 8 h 184"/>
              <a:gd name="T18" fmla="*/ 8 w 224"/>
              <a:gd name="T19" fmla="*/ 8 h 184"/>
              <a:gd name="T20" fmla="*/ 8 w 224"/>
              <a:gd name="T21" fmla="*/ 148 h 184"/>
              <a:gd name="T22" fmla="*/ 56 w 224"/>
              <a:gd name="T23" fmla="*/ 148 h 184"/>
              <a:gd name="T24" fmla="*/ 56 w 224"/>
              <a:gd name="T25" fmla="*/ 168 h 184"/>
              <a:gd name="T26" fmla="*/ 83 w 224"/>
              <a:gd name="T27" fmla="*/ 148 h 184"/>
              <a:gd name="T28" fmla="*/ 216 w 224"/>
              <a:gd name="T29" fmla="*/ 148 h 184"/>
              <a:gd name="T30" fmla="*/ 216 w 224"/>
              <a:gd name="T31" fmla="*/ 8 h 184"/>
              <a:gd name="T32" fmla="*/ 56 w 224"/>
              <a:gd name="T33" fmla="*/ 60 h 184"/>
              <a:gd name="T34" fmla="*/ 74 w 224"/>
              <a:gd name="T35" fmla="*/ 78 h 184"/>
              <a:gd name="T36" fmla="*/ 56 w 224"/>
              <a:gd name="T37" fmla="*/ 96 h 184"/>
              <a:gd name="T38" fmla="*/ 38 w 224"/>
              <a:gd name="T39" fmla="*/ 78 h 184"/>
              <a:gd name="T40" fmla="*/ 56 w 224"/>
              <a:gd name="T41" fmla="*/ 60 h 184"/>
              <a:gd name="T42" fmla="*/ 112 w 224"/>
              <a:gd name="T43" fmla="*/ 60 h 184"/>
              <a:gd name="T44" fmla="*/ 130 w 224"/>
              <a:gd name="T45" fmla="*/ 78 h 184"/>
              <a:gd name="T46" fmla="*/ 112 w 224"/>
              <a:gd name="T47" fmla="*/ 96 h 184"/>
              <a:gd name="T48" fmla="*/ 94 w 224"/>
              <a:gd name="T49" fmla="*/ 78 h 184"/>
              <a:gd name="T50" fmla="*/ 112 w 224"/>
              <a:gd name="T51" fmla="*/ 60 h 184"/>
              <a:gd name="T52" fmla="*/ 168 w 224"/>
              <a:gd name="T53" fmla="*/ 60 h 184"/>
              <a:gd name="T54" fmla="*/ 186 w 224"/>
              <a:gd name="T55" fmla="*/ 78 h 184"/>
              <a:gd name="T56" fmla="*/ 168 w 224"/>
              <a:gd name="T57" fmla="*/ 96 h 184"/>
              <a:gd name="T58" fmla="*/ 150 w 224"/>
              <a:gd name="T59" fmla="*/ 78 h 184"/>
              <a:gd name="T60" fmla="*/ 168 w 224"/>
              <a:gd name="T61" fmla="*/ 60 h 184"/>
              <a:gd name="T62" fmla="*/ 56 w 224"/>
              <a:gd name="T63" fmla="*/ 68 h 184"/>
              <a:gd name="T64" fmla="*/ 46 w 224"/>
              <a:gd name="T65" fmla="*/ 78 h 184"/>
              <a:gd name="T66" fmla="*/ 56 w 224"/>
              <a:gd name="T67" fmla="*/ 88 h 184"/>
              <a:gd name="T68" fmla="*/ 66 w 224"/>
              <a:gd name="T69" fmla="*/ 78 h 184"/>
              <a:gd name="T70" fmla="*/ 56 w 224"/>
              <a:gd name="T71" fmla="*/ 68 h 184"/>
              <a:gd name="T72" fmla="*/ 112 w 224"/>
              <a:gd name="T73" fmla="*/ 68 h 184"/>
              <a:gd name="T74" fmla="*/ 102 w 224"/>
              <a:gd name="T75" fmla="*/ 78 h 184"/>
              <a:gd name="T76" fmla="*/ 112 w 224"/>
              <a:gd name="T77" fmla="*/ 88 h 184"/>
              <a:gd name="T78" fmla="*/ 122 w 224"/>
              <a:gd name="T79" fmla="*/ 78 h 184"/>
              <a:gd name="T80" fmla="*/ 112 w 224"/>
              <a:gd name="T81" fmla="*/ 68 h 184"/>
              <a:gd name="T82" fmla="*/ 168 w 224"/>
              <a:gd name="T83" fmla="*/ 68 h 184"/>
              <a:gd name="T84" fmla="*/ 158 w 224"/>
              <a:gd name="T85" fmla="*/ 78 h 184"/>
              <a:gd name="T86" fmla="*/ 168 w 224"/>
              <a:gd name="T87" fmla="*/ 88 h 184"/>
              <a:gd name="T88" fmla="*/ 178 w 224"/>
              <a:gd name="T89" fmla="*/ 78 h 184"/>
              <a:gd name="T90" fmla="*/ 168 w 224"/>
              <a:gd name="T91" fmla="*/ 68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4" h="184">
                <a:moveTo>
                  <a:pt x="224" y="0"/>
                </a:moveTo>
                <a:cubicBezTo>
                  <a:pt x="224" y="156"/>
                  <a:pt x="224" y="156"/>
                  <a:pt x="224" y="156"/>
                </a:cubicBezTo>
                <a:cubicBezTo>
                  <a:pt x="86" y="156"/>
                  <a:pt x="86" y="156"/>
                  <a:pt x="86" y="156"/>
                </a:cubicBezTo>
                <a:cubicBezTo>
                  <a:pt x="48" y="184"/>
                  <a:pt x="48" y="184"/>
                  <a:pt x="48" y="184"/>
                </a:cubicBezTo>
                <a:cubicBezTo>
                  <a:pt x="48" y="156"/>
                  <a:pt x="48" y="156"/>
                  <a:pt x="48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216" y="8"/>
                </a:moveTo>
                <a:cubicBezTo>
                  <a:pt x="8" y="8"/>
                  <a:pt x="8" y="8"/>
                  <a:pt x="8" y="8"/>
                </a:cubicBezTo>
                <a:cubicBezTo>
                  <a:pt x="8" y="148"/>
                  <a:pt x="8" y="148"/>
                  <a:pt x="8" y="148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68"/>
                  <a:pt x="56" y="168"/>
                  <a:pt x="56" y="168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216" y="148"/>
                  <a:pt x="216" y="148"/>
                  <a:pt x="216" y="148"/>
                </a:cubicBezTo>
                <a:lnTo>
                  <a:pt x="216" y="8"/>
                </a:lnTo>
                <a:close/>
                <a:moveTo>
                  <a:pt x="56" y="60"/>
                </a:moveTo>
                <a:cubicBezTo>
                  <a:pt x="66" y="60"/>
                  <a:pt x="74" y="68"/>
                  <a:pt x="74" y="78"/>
                </a:cubicBezTo>
                <a:cubicBezTo>
                  <a:pt x="74" y="88"/>
                  <a:pt x="66" y="96"/>
                  <a:pt x="56" y="96"/>
                </a:cubicBezTo>
                <a:cubicBezTo>
                  <a:pt x="46" y="96"/>
                  <a:pt x="38" y="88"/>
                  <a:pt x="38" y="78"/>
                </a:cubicBezTo>
                <a:cubicBezTo>
                  <a:pt x="38" y="68"/>
                  <a:pt x="46" y="60"/>
                  <a:pt x="56" y="60"/>
                </a:cubicBezTo>
                <a:close/>
                <a:moveTo>
                  <a:pt x="112" y="60"/>
                </a:moveTo>
                <a:cubicBezTo>
                  <a:pt x="122" y="60"/>
                  <a:pt x="130" y="68"/>
                  <a:pt x="130" y="78"/>
                </a:cubicBezTo>
                <a:cubicBezTo>
                  <a:pt x="130" y="88"/>
                  <a:pt x="122" y="96"/>
                  <a:pt x="112" y="96"/>
                </a:cubicBezTo>
                <a:cubicBezTo>
                  <a:pt x="102" y="96"/>
                  <a:pt x="94" y="88"/>
                  <a:pt x="94" y="78"/>
                </a:cubicBezTo>
                <a:cubicBezTo>
                  <a:pt x="94" y="68"/>
                  <a:pt x="102" y="60"/>
                  <a:pt x="112" y="60"/>
                </a:cubicBezTo>
                <a:close/>
                <a:moveTo>
                  <a:pt x="168" y="60"/>
                </a:moveTo>
                <a:cubicBezTo>
                  <a:pt x="178" y="60"/>
                  <a:pt x="186" y="68"/>
                  <a:pt x="186" y="78"/>
                </a:cubicBezTo>
                <a:cubicBezTo>
                  <a:pt x="186" y="88"/>
                  <a:pt x="178" y="96"/>
                  <a:pt x="168" y="96"/>
                </a:cubicBezTo>
                <a:cubicBezTo>
                  <a:pt x="158" y="96"/>
                  <a:pt x="150" y="88"/>
                  <a:pt x="150" y="78"/>
                </a:cubicBezTo>
                <a:cubicBezTo>
                  <a:pt x="150" y="68"/>
                  <a:pt x="158" y="60"/>
                  <a:pt x="168" y="60"/>
                </a:cubicBezTo>
                <a:close/>
                <a:moveTo>
                  <a:pt x="56" y="68"/>
                </a:moveTo>
                <a:cubicBezTo>
                  <a:pt x="50" y="68"/>
                  <a:pt x="46" y="72"/>
                  <a:pt x="46" y="78"/>
                </a:cubicBezTo>
                <a:cubicBezTo>
                  <a:pt x="46" y="84"/>
                  <a:pt x="50" y="88"/>
                  <a:pt x="56" y="88"/>
                </a:cubicBezTo>
                <a:cubicBezTo>
                  <a:pt x="62" y="88"/>
                  <a:pt x="66" y="84"/>
                  <a:pt x="66" y="78"/>
                </a:cubicBezTo>
                <a:cubicBezTo>
                  <a:pt x="66" y="72"/>
                  <a:pt x="62" y="68"/>
                  <a:pt x="56" y="68"/>
                </a:cubicBezTo>
                <a:close/>
                <a:moveTo>
                  <a:pt x="112" y="68"/>
                </a:moveTo>
                <a:cubicBezTo>
                  <a:pt x="106" y="68"/>
                  <a:pt x="102" y="72"/>
                  <a:pt x="102" y="78"/>
                </a:cubicBezTo>
                <a:cubicBezTo>
                  <a:pt x="102" y="84"/>
                  <a:pt x="106" y="88"/>
                  <a:pt x="112" y="88"/>
                </a:cubicBezTo>
                <a:cubicBezTo>
                  <a:pt x="118" y="88"/>
                  <a:pt x="122" y="84"/>
                  <a:pt x="122" y="78"/>
                </a:cubicBezTo>
                <a:cubicBezTo>
                  <a:pt x="122" y="72"/>
                  <a:pt x="118" y="68"/>
                  <a:pt x="112" y="68"/>
                </a:cubicBezTo>
                <a:close/>
                <a:moveTo>
                  <a:pt x="168" y="68"/>
                </a:moveTo>
                <a:cubicBezTo>
                  <a:pt x="162" y="68"/>
                  <a:pt x="158" y="72"/>
                  <a:pt x="158" y="78"/>
                </a:cubicBezTo>
                <a:cubicBezTo>
                  <a:pt x="158" y="84"/>
                  <a:pt x="162" y="88"/>
                  <a:pt x="168" y="88"/>
                </a:cubicBezTo>
                <a:cubicBezTo>
                  <a:pt x="174" y="88"/>
                  <a:pt x="178" y="84"/>
                  <a:pt x="178" y="78"/>
                </a:cubicBezTo>
                <a:cubicBezTo>
                  <a:pt x="178" y="72"/>
                  <a:pt x="174" y="68"/>
                  <a:pt x="168" y="68"/>
                </a:cubicBezTo>
                <a:close/>
              </a:path>
            </a:pathLst>
          </a:custGeom>
          <a:solidFill>
            <a:schemeClr val="accent1"/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57" name="ïṣḻidê">
            <a:extLst>
              <a:ext uri="{FF2B5EF4-FFF2-40B4-BE49-F238E27FC236}">
                <a16:creationId xmlns:a16="http://schemas.microsoft.com/office/drawing/2014/main" id="{FD8D3259-32F9-4562-BF31-23F76F0E5D56}"/>
              </a:ext>
            </a:extLst>
          </p:cNvPr>
          <p:cNvSpPr/>
          <p:nvPr/>
        </p:nvSpPr>
        <p:spPr bwMode="auto">
          <a:xfrm>
            <a:off x="9532232" y="3936184"/>
            <a:ext cx="767418" cy="76741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75000"/>
              </a:schemeClr>
            </a:solidFill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6" name="îşļîḓe">
            <a:extLst>
              <a:ext uri="{FF2B5EF4-FFF2-40B4-BE49-F238E27FC236}">
                <a16:creationId xmlns:a16="http://schemas.microsoft.com/office/drawing/2014/main" id="{D2C59A1D-4312-4990-BF9E-7976AF80E0B7}"/>
              </a:ext>
            </a:extLst>
          </p:cNvPr>
          <p:cNvSpPr/>
          <p:nvPr/>
        </p:nvSpPr>
        <p:spPr bwMode="auto">
          <a:xfrm>
            <a:off x="9762979" y="4113281"/>
            <a:ext cx="305923" cy="413225"/>
          </a:xfrm>
          <a:custGeom>
            <a:avLst/>
            <a:gdLst>
              <a:gd name="T0" fmla="*/ 197 w 268"/>
              <a:gd name="T1" fmla="*/ 0 h 362"/>
              <a:gd name="T2" fmla="*/ 197 w 268"/>
              <a:gd name="T3" fmla="*/ 25 h 362"/>
              <a:gd name="T4" fmla="*/ 268 w 268"/>
              <a:gd name="T5" fmla="*/ 25 h 362"/>
              <a:gd name="T6" fmla="*/ 268 w 268"/>
              <a:gd name="T7" fmla="*/ 362 h 362"/>
              <a:gd name="T8" fmla="*/ 0 w 268"/>
              <a:gd name="T9" fmla="*/ 362 h 362"/>
              <a:gd name="T10" fmla="*/ 0 w 268"/>
              <a:gd name="T11" fmla="*/ 25 h 362"/>
              <a:gd name="T12" fmla="*/ 70 w 268"/>
              <a:gd name="T13" fmla="*/ 25 h 362"/>
              <a:gd name="T14" fmla="*/ 70 w 268"/>
              <a:gd name="T15" fmla="*/ 0 h 362"/>
              <a:gd name="T16" fmla="*/ 197 w 268"/>
              <a:gd name="T17" fmla="*/ 0 h 362"/>
              <a:gd name="T18" fmla="*/ 70 w 268"/>
              <a:gd name="T19" fmla="*/ 38 h 362"/>
              <a:gd name="T20" fmla="*/ 12 w 268"/>
              <a:gd name="T21" fmla="*/ 38 h 362"/>
              <a:gd name="T22" fmla="*/ 12 w 268"/>
              <a:gd name="T23" fmla="*/ 349 h 362"/>
              <a:gd name="T24" fmla="*/ 255 w 268"/>
              <a:gd name="T25" fmla="*/ 349 h 362"/>
              <a:gd name="T26" fmla="*/ 255 w 268"/>
              <a:gd name="T27" fmla="*/ 38 h 362"/>
              <a:gd name="T28" fmla="*/ 197 w 268"/>
              <a:gd name="T29" fmla="*/ 38 h 362"/>
              <a:gd name="T30" fmla="*/ 197 w 268"/>
              <a:gd name="T31" fmla="*/ 64 h 362"/>
              <a:gd name="T32" fmla="*/ 70 w 268"/>
              <a:gd name="T33" fmla="*/ 64 h 362"/>
              <a:gd name="T34" fmla="*/ 70 w 268"/>
              <a:gd name="T35" fmla="*/ 38 h 362"/>
              <a:gd name="T36" fmla="*/ 134 w 268"/>
              <a:gd name="T37" fmla="*/ 233 h 362"/>
              <a:gd name="T38" fmla="*/ 134 w 268"/>
              <a:gd name="T39" fmla="*/ 246 h 362"/>
              <a:gd name="T40" fmla="*/ 57 w 268"/>
              <a:gd name="T41" fmla="*/ 246 h 362"/>
              <a:gd name="T42" fmla="*/ 57 w 268"/>
              <a:gd name="T43" fmla="*/ 233 h 362"/>
              <a:gd name="T44" fmla="*/ 134 w 268"/>
              <a:gd name="T45" fmla="*/ 233 h 362"/>
              <a:gd name="T46" fmla="*/ 210 w 268"/>
              <a:gd name="T47" fmla="*/ 181 h 362"/>
              <a:gd name="T48" fmla="*/ 210 w 268"/>
              <a:gd name="T49" fmla="*/ 194 h 362"/>
              <a:gd name="T50" fmla="*/ 57 w 268"/>
              <a:gd name="T51" fmla="*/ 194 h 362"/>
              <a:gd name="T52" fmla="*/ 57 w 268"/>
              <a:gd name="T53" fmla="*/ 181 h 362"/>
              <a:gd name="T54" fmla="*/ 210 w 268"/>
              <a:gd name="T55" fmla="*/ 181 h 362"/>
              <a:gd name="T56" fmla="*/ 210 w 268"/>
              <a:gd name="T57" fmla="*/ 129 h 362"/>
              <a:gd name="T58" fmla="*/ 210 w 268"/>
              <a:gd name="T59" fmla="*/ 142 h 362"/>
              <a:gd name="T60" fmla="*/ 57 w 268"/>
              <a:gd name="T61" fmla="*/ 142 h 362"/>
              <a:gd name="T62" fmla="*/ 57 w 268"/>
              <a:gd name="T63" fmla="*/ 129 h 362"/>
              <a:gd name="T64" fmla="*/ 210 w 268"/>
              <a:gd name="T65" fmla="*/ 129 h 362"/>
              <a:gd name="T66" fmla="*/ 185 w 268"/>
              <a:gd name="T67" fmla="*/ 12 h 362"/>
              <a:gd name="T68" fmla="*/ 83 w 268"/>
              <a:gd name="T69" fmla="*/ 12 h 362"/>
              <a:gd name="T70" fmla="*/ 83 w 268"/>
              <a:gd name="T71" fmla="*/ 51 h 362"/>
              <a:gd name="T72" fmla="*/ 185 w 268"/>
              <a:gd name="T73" fmla="*/ 51 h 362"/>
              <a:gd name="T74" fmla="*/ 185 w 268"/>
              <a:gd name="T75" fmla="*/ 12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68" h="362">
                <a:moveTo>
                  <a:pt x="197" y="0"/>
                </a:moveTo>
                <a:lnTo>
                  <a:pt x="197" y="25"/>
                </a:lnTo>
                <a:lnTo>
                  <a:pt x="268" y="25"/>
                </a:lnTo>
                <a:lnTo>
                  <a:pt x="268" y="362"/>
                </a:lnTo>
                <a:lnTo>
                  <a:pt x="0" y="362"/>
                </a:lnTo>
                <a:lnTo>
                  <a:pt x="0" y="25"/>
                </a:lnTo>
                <a:lnTo>
                  <a:pt x="70" y="25"/>
                </a:lnTo>
                <a:lnTo>
                  <a:pt x="70" y="0"/>
                </a:lnTo>
                <a:lnTo>
                  <a:pt x="197" y="0"/>
                </a:lnTo>
                <a:close/>
                <a:moveTo>
                  <a:pt x="70" y="38"/>
                </a:moveTo>
                <a:lnTo>
                  <a:pt x="12" y="38"/>
                </a:lnTo>
                <a:lnTo>
                  <a:pt x="12" y="349"/>
                </a:lnTo>
                <a:lnTo>
                  <a:pt x="255" y="349"/>
                </a:lnTo>
                <a:lnTo>
                  <a:pt x="255" y="38"/>
                </a:lnTo>
                <a:lnTo>
                  <a:pt x="197" y="38"/>
                </a:lnTo>
                <a:lnTo>
                  <a:pt x="197" y="64"/>
                </a:lnTo>
                <a:lnTo>
                  <a:pt x="70" y="64"/>
                </a:lnTo>
                <a:lnTo>
                  <a:pt x="70" y="38"/>
                </a:lnTo>
                <a:close/>
                <a:moveTo>
                  <a:pt x="134" y="233"/>
                </a:moveTo>
                <a:lnTo>
                  <a:pt x="134" y="246"/>
                </a:lnTo>
                <a:lnTo>
                  <a:pt x="57" y="246"/>
                </a:lnTo>
                <a:lnTo>
                  <a:pt x="57" y="233"/>
                </a:lnTo>
                <a:lnTo>
                  <a:pt x="134" y="233"/>
                </a:lnTo>
                <a:close/>
                <a:moveTo>
                  <a:pt x="210" y="181"/>
                </a:moveTo>
                <a:lnTo>
                  <a:pt x="210" y="194"/>
                </a:lnTo>
                <a:lnTo>
                  <a:pt x="57" y="194"/>
                </a:lnTo>
                <a:lnTo>
                  <a:pt x="57" y="181"/>
                </a:lnTo>
                <a:lnTo>
                  <a:pt x="210" y="181"/>
                </a:lnTo>
                <a:close/>
                <a:moveTo>
                  <a:pt x="210" y="129"/>
                </a:moveTo>
                <a:lnTo>
                  <a:pt x="210" y="142"/>
                </a:lnTo>
                <a:lnTo>
                  <a:pt x="57" y="142"/>
                </a:lnTo>
                <a:lnTo>
                  <a:pt x="57" y="129"/>
                </a:lnTo>
                <a:lnTo>
                  <a:pt x="210" y="129"/>
                </a:lnTo>
                <a:close/>
                <a:moveTo>
                  <a:pt x="185" y="12"/>
                </a:moveTo>
                <a:lnTo>
                  <a:pt x="83" y="12"/>
                </a:lnTo>
                <a:lnTo>
                  <a:pt x="83" y="51"/>
                </a:lnTo>
                <a:lnTo>
                  <a:pt x="185" y="51"/>
                </a:lnTo>
                <a:lnTo>
                  <a:pt x="185" y="12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51" name="iš1îḋé">
            <a:extLst>
              <a:ext uri="{FF2B5EF4-FFF2-40B4-BE49-F238E27FC236}">
                <a16:creationId xmlns:a16="http://schemas.microsoft.com/office/drawing/2014/main" id="{AA40D468-8922-4F8A-94C2-8BCE25C456B8}"/>
              </a:ext>
            </a:extLst>
          </p:cNvPr>
          <p:cNvSpPr/>
          <p:nvPr/>
        </p:nvSpPr>
        <p:spPr bwMode="auto">
          <a:xfrm>
            <a:off x="4486691" y="5361651"/>
            <a:ext cx="3205920" cy="77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Copy paste fonts. Choose the only option to retain text. 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152" name="ïslîḍé">
            <a:extLst>
              <a:ext uri="{FF2B5EF4-FFF2-40B4-BE49-F238E27FC236}">
                <a16:creationId xmlns:a16="http://schemas.microsoft.com/office/drawing/2014/main" id="{3434DC10-7331-4024-923E-B03E92F6469E}"/>
              </a:ext>
            </a:extLst>
          </p:cNvPr>
          <p:cNvSpPr txBox="1"/>
          <p:nvPr/>
        </p:nvSpPr>
        <p:spPr bwMode="auto">
          <a:xfrm>
            <a:off x="4486691" y="4875272"/>
            <a:ext cx="3205920" cy="48637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i="1" dirty="0"/>
              <a:t>Text here</a:t>
            </a:r>
          </a:p>
        </p:txBody>
      </p:sp>
      <p:sp>
        <p:nvSpPr>
          <p:cNvPr id="153" name="îšlïḓê">
            <a:extLst>
              <a:ext uri="{FF2B5EF4-FFF2-40B4-BE49-F238E27FC236}">
                <a16:creationId xmlns:a16="http://schemas.microsoft.com/office/drawing/2014/main" id="{CCDE6CFA-2F65-4061-9B9B-DA292C316667}"/>
              </a:ext>
            </a:extLst>
          </p:cNvPr>
          <p:cNvSpPr/>
          <p:nvPr/>
        </p:nvSpPr>
        <p:spPr bwMode="auto">
          <a:xfrm>
            <a:off x="8312981" y="5361651"/>
            <a:ext cx="3205920" cy="77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Copy paste fonts. Choose the only option to retain text. 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154" name="ïşľîďé">
            <a:extLst>
              <a:ext uri="{FF2B5EF4-FFF2-40B4-BE49-F238E27FC236}">
                <a16:creationId xmlns:a16="http://schemas.microsoft.com/office/drawing/2014/main" id="{ED3F441D-FF99-4875-98D2-48BB188439AE}"/>
              </a:ext>
            </a:extLst>
          </p:cNvPr>
          <p:cNvSpPr txBox="1"/>
          <p:nvPr/>
        </p:nvSpPr>
        <p:spPr bwMode="auto">
          <a:xfrm>
            <a:off x="8312981" y="4875272"/>
            <a:ext cx="3205920" cy="48637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i="1" dirty="0"/>
              <a:t>Text here</a:t>
            </a:r>
          </a:p>
        </p:txBody>
      </p:sp>
      <p:sp>
        <p:nvSpPr>
          <p:cNvPr id="155" name="ïṡḷiḑê">
            <a:extLst>
              <a:ext uri="{FF2B5EF4-FFF2-40B4-BE49-F238E27FC236}">
                <a16:creationId xmlns:a16="http://schemas.microsoft.com/office/drawing/2014/main" id="{4494E7BF-ED92-4626-AE52-748CAC3C7EDA}"/>
              </a:ext>
            </a:extLst>
          </p:cNvPr>
          <p:cNvSpPr/>
          <p:nvPr/>
        </p:nvSpPr>
        <p:spPr bwMode="auto">
          <a:xfrm>
            <a:off x="660400" y="5361651"/>
            <a:ext cx="3205920" cy="77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Copy paste fonts. Choose the only option to retain text. 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156" name="îS1íḓê">
            <a:extLst>
              <a:ext uri="{FF2B5EF4-FFF2-40B4-BE49-F238E27FC236}">
                <a16:creationId xmlns:a16="http://schemas.microsoft.com/office/drawing/2014/main" id="{7953822E-F0C4-4375-8659-B8240727C3AD}"/>
              </a:ext>
            </a:extLst>
          </p:cNvPr>
          <p:cNvSpPr txBox="1"/>
          <p:nvPr/>
        </p:nvSpPr>
        <p:spPr bwMode="auto">
          <a:xfrm>
            <a:off x="660400" y="4875272"/>
            <a:ext cx="3205920" cy="48637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i="1" dirty="0"/>
              <a:t>Text her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595696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F32580F-AFD2-4C16-97E6-D414440D2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ED8BBD0-B1E6-4BA4-9D73-693F51A93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B6DAE02-643D-472B-BA58-DD49BDF333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pSp>
        <p:nvGrpSpPr>
          <p:cNvPr id="79" name="21646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E92D0E8-DB7D-4EF5-8566-15D3256EF5B7}"/>
              </a:ext>
            </a:extLst>
          </p:cNvPr>
          <p:cNvGrpSpPr>
            <a:grpSpLocks noChangeAspect="1"/>
          </p:cNvGrpSpPr>
          <p:nvPr/>
        </p:nvGrpSpPr>
        <p:grpSpPr>
          <a:xfrm>
            <a:off x="1684562" y="1222824"/>
            <a:ext cx="8822877" cy="4923976"/>
            <a:chOff x="1684562" y="1222824"/>
            <a:chExt cx="8822877" cy="4923976"/>
          </a:xfrm>
        </p:grpSpPr>
        <p:grpSp>
          <p:nvGrpSpPr>
            <p:cNvPr id="80" name="ïŝļiḍè">
              <a:extLst>
                <a:ext uri="{FF2B5EF4-FFF2-40B4-BE49-F238E27FC236}">
                  <a16:creationId xmlns:a16="http://schemas.microsoft.com/office/drawing/2014/main" id="{676550DE-371D-4198-BAC2-D16FDD5B6F1F}"/>
                </a:ext>
              </a:extLst>
            </p:cNvPr>
            <p:cNvGrpSpPr/>
            <p:nvPr/>
          </p:nvGrpSpPr>
          <p:grpSpPr>
            <a:xfrm>
              <a:off x="8240697" y="1222824"/>
              <a:ext cx="2266742" cy="4923976"/>
              <a:chOff x="9180333" y="1222824"/>
              <a:chExt cx="2266742" cy="4923976"/>
            </a:xfrm>
          </p:grpSpPr>
          <p:sp>
            <p:nvSpPr>
              <p:cNvPr id="93" name="iŝḻîďê">
                <a:extLst>
                  <a:ext uri="{FF2B5EF4-FFF2-40B4-BE49-F238E27FC236}">
                    <a16:creationId xmlns:a16="http://schemas.microsoft.com/office/drawing/2014/main" id="{3E421982-CD10-4651-AB2B-491A84A3CD6F}"/>
                  </a:ext>
                </a:extLst>
              </p:cNvPr>
              <p:cNvSpPr/>
              <p:nvPr/>
            </p:nvSpPr>
            <p:spPr>
              <a:xfrm flipH="1">
                <a:off x="10783882" y="3823950"/>
                <a:ext cx="107755" cy="148302"/>
              </a:xfrm>
              <a:custGeom>
                <a:avLst/>
                <a:gdLst/>
                <a:ahLst/>
                <a:cxnLst/>
                <a:rect l="l" t="t" r="r" b="b"/>
                <a:pathLst>
                  <a:path w="82" h="113" extrusionOk="0">
                    <a:moveTo>
                      <a:pt x="81" y="107"/>
                    </a:moveTo>
                    <a:cubicBezTo>
                      <a:pt x="81" y="109"/>
                      <a:pt x="80" y="110"/>
                      <a:pt x="79" y="111"/>
                    </a:cubicBezTo>
                    <a:cubicBezTo>
                      <a:pt x="78" y="112"/>
                      <a:pt x="77" y="113"/>
                      <a:pt x="75" y="113"/>
                    </a:cubicBezTo>
                    <a:cubicBezTo>
                      <a:pt x="74" y="113"/>
                      <a:pt x="74" y="113"/>
                      <a:pt x="73" y="113"/>
                    </a:cubicBezTo>
                    <a:cubicBezTo>
                      <a:pt x="72" y="113"/>
                      <a:pt x="71" y="113"/>
                      <a:pt x="70" y="113"/>
                    </a:cubicBezTo>
                    <a:cubicBezTo>
                      <a:pt x="70" y="113"/>
                      <a:pt x="69" y="112"/>
                      <a:pt x="68" y="112"/>
                    </a:cubicBezTo>
                    <a:cubicBezTo>
                      <a:pt x="68" y="112"/>
                      <a:pt x="67" y="111"/>
                      <a:pt x="67" y="110"/>
                    </a:cubicBezTo>
                    <a:cubicBezTo>
                      <a:pt x="66" y="109"/>
                      <a:pt x="65" y="108"/>
                      <a:pt x="65" y="106"/>
                    </a:cubicBezTo>
                    <a:cubicBezTo>
                      <a:pt x="65" y="104"/>
                      <a:pt x="65" y="103"/>
                      <a:pt x="64" y="101"/>
                    </a:cubicBezTo>
                    <a:cubicBezTo>
                      <a:pt x="64" y="99"/>
                      <a:pt x="64" y="97"/>
                      <a:pt x="64" y="95"/>
                    </a:cubicBezTo>
                    <a:cubicBezTo>
                      <a:pt x="63" y="93"/>
                      <a:pt x="63" y="91"/>
                      <a:pt x="63" y="89"/>
                    </a:cubicBezTo>
                    <a:cubicBezTo>
                      <a:pt x="62" y="88"/>
                      <a:pt x="60" y="88"/>
                      <a:pt x="59" y="87"/>
                    </a:cubicBezTo>
                    <a:cubicBezTo>
                      <a:pt x="58" y="87"/>
                      <a:pt x="56" y="87"/>
                      <a:pt x="55" y="87"/>
                    </a:cubicBezTo>
                    <a:cubicBezTo>
                      <a:pt x="52" y="87"/>
                      <a:pt x="49" y="87"/>
                      <a:pt x="46" y="87"/>
                    </a:cubicBezTo>
                    <a:cubicBezTo>
                      <a:pt x="43" y="88"/>
                      <a:pt x="40" y="88"/>
                      <a:pt x="37" y="89"/>
                    </a:cubicBezTo>
                    <a:cubicBezTo>
                      <a:pt x="34" y="89"/>
                      <a:pt x="32" y="90"/>
                      <a:pt x="29" y="91"/>
                    </a:cubicBezTo>
                    <a:cubicBezTo>
                      <a:pt x="27" y="92"/>
                      <a:pt x="24" y="93"/>
                      <a:pt x="22" y="94"/>
                    </a:cubicBezTo>
                    <a:cubicBezTo>
                      <a:pt x="20" y="96"/>
                      <a:pt x="19" y="98"/>
                      <a:pt x="19" y="100"/>
                    </a:cubicBezTo>
                    <a:cubicBezTo>
                      <a:pt x="18" y="102"/>
                      <a:pt x="18" y="104"/>
                      <a:pt x="18" y="106"/>
                    </a:cubicBezTo>
                    <a:cubicBezTo>
                      <a:pt x="18" y="107"/>
                      <a:pt x="17" y="108"/>
                      <a:pt x="17" y="109"/>
                    </a:cubicBezTo>
                    <a:cubicBezTo>
                      <a:pt x="17" y="110"/>
                      <a:pt x="16" y="110"/>
                      <a:pt x="16" y="111"/>
                    </a:cubicBezTo>
                    <a:cubicBezTo>
                      <a:pt x="15" y="112"/>
                      <a:pt x="14" y="112"/>
                      <a:pt x="13" y="113"/>
                    </a:cubicBezTo>
                    <a:cubicBezTo>
                      <a:pt x="13" y="113"/>
                      <a:pt x="12" y="113"/>
                      <a:pt x="11" y="113"/>
                    </a:cubicBezTo>
                    <a:cubicBezTo>
                      <a:pt x="9" y="113"/>
                      <a:pt x="7" y="112"/>
                      <a:pt x="6" y="111"/>
                    </a:cubicBezTo>
                    <a:cubicBezTo>
                      <a:pt x="5" y="110"/>
                      <a:pt x="4" y="109"/>
                      <a:pt x="3" y="107"/>
                    </a:cubicBezTo>
                    <a:cubicBezTo>
                      <a:pt x="1" y="104"/>
                      <a:pt x="0" y="101"/>
                      <a:pt x="0" y="98"/>
                    </a:cubicBezTo>
                    <a:cubicBezTo>
                      <a:pt x="0" y="94"/>
                      <a:pt x="1" y="91"/>
                      <a:pt x="2" y="88"/>
                    </a:cubicBezTo>
                    <a:cubicBezTo>
                      <a:pt x="3" y="84"/>
                      <a:pt x="4" y="81"/>
                      <a:pt x="6" y="78"/>
                    </a:cubicBezTo>
                    <a:cubicBezTo>
                      <a:pt x="7" y="75"/>
                      <a:pt x="9" y="71"/>
                      <a:pt x="11" y="67"/>
                    </a:cubicBezTo>
                    <a:cubicBezTo>
                      <a:pt x="12" y="64"/>
                      <a:pt x="14" y="60"/>
                      <a:pt x="16" y="57"/>
                    </a:cubicBezTo>
                    <a:cubicBezTo>
                      <a:pt x="17" y="51"/>
                      <a:pt x="19" y="46"/>
                      <a:pt x="21" y="40"/>
                    </a:cubicBezTo>
                    <a:cubicBezTo>
                      <a:pt x="23" y="35"/>
                      <a:pt x="25" y="30"/>
                      <a:pt x="27" y="24"/>
                    </a:cubicBezTo>
                    <a:cubicBezTo>
                      <a:pt x="28" y="22"/>
                      <a:pt x="29" y="20"/>
                      <a:pt x="30" y="17"/>
                    </a:cubicBezTo>
                    <a:cubicBezTo>
                      <a:pt x="31" y="14"/>
                      <a:pt x="33" y="12"/>
                      <a:pt x="34" y="10"/>
                    </a:cubicBezTo>
                    <a:cubicBezTo>
                      <a:pt x="35" y="7"/>
                      <a:pt x="37" y="5"/>
                      <a:pt x="39" y="4"/>
                    </a:cubicBezTo>
                    <a:cubicBezTo>
                      <a:pt x="41" y="2"/>
                      <a:pt x="43" y="1"/>
                      <a:pt x="46" y="0"/>
                    </a:cubicBezTo>
                    <a:cubicBezTo>
                      <a:pt x="48" y="0"/>
                      <a:pt x="51" y="0"/>
                      <a:pt x="53" y="1"/>
                    </a:cubicBezTo>
                    <a:cubicBezTo>
                      <a:pt x="55" y="3"/>
                      <a:pt x="57" y="4"/>
                      <a:pt x="58" y="5"/>
                    </a:cubicBezTo>
                    <a:cubicBezTo>
                      <a:pt x="60" y="7"/>
                      <a:pt x="62" y="9"/>
                      <a:pt x="63" y="11"/>
                    </a:cubicBezTo>
                    <a:cubicBezTo>
                      <a:pt x="64" y="13"/>
                      <a:pt x="65" y="15"/>
                      <a:pt x="66" y="17"/>
                    </a:cubicBezTo>
                    <a:cubicBezTo>
                      <a:pt x="67" y="19"/>
                      <a:pt x="67" y="22"/>
                      <a:pt x="68" y="24"/>
                    </a:cubicBezTo>
                    <a:cubicBezTo>
                      <a:pt x="68" y="26"/>
                      <a:pt x="69" y="29"/>
                      <a:pt x="69" y="31"/>
                    </a:cubicBezTo>
                    <a:cubicBezTo>
                      <a:pt x="71" y="40"/>
                      <a:pt x="73" y="50"/>
                      <a:pt x="75" y="59"/>
                    </a:cubicBezTo>
                    <a:cubicBezTo>
                      <a:pt x="77" y="68"/>
                      <a:pt x="78" y="78"/>
                      <a:pt x="80" y="87"/>
                    </a:cubicBezTo>
                    <a:cubicBezTo>
                      <a:pt x="80" y="89"/>
                      <a:pt x="80" y="90"/>
                      <a:pt x="80" y="92"/>
                    </a:cubicBezTo>
                    <a:cubicBezTo>
                      <a:pt x="81" y="93"/>
                      <a:pt x="81" y="95"/>
                      <a:pt x="81" y="97"/>
                    </a:cubicBezTo>
                    <a:cubicBezTo>
                      <a:pt x="81" y="98"/>
                      <a:pt x="82" y="100"/>
                      <a:pt x="82" y="102"/>
                    </a:cubicBezTo>
                    <a:cubicBezTo>
                      <a:pt x="82" y="103"/>
                      <a:pt x="82" y="105"/>
                      <a:pt x="81" y="107"/>
                    </a:cubicBezTo>
                    <a:close/>
                    <a:moveTo>
                      <a:pt x="56" y="61"/>
                    </a:moveTo>
                    <a:cubicBezTo>
                      <a:pt x="56" y="58"/>
                      <a:pt x="55" y="55"/>
                      <a:pt x="55" y="52"/>
                    </a:cubicBezTo>
                    <a:cubicBezTo>
                      <a:pt x="54" y="48"/>
                      <a:pt x="54" y="45"/>
                      <a:pt x="53" y="42"/>
                    </a:cubicBezTo>
                    <a:cubicBezTo>
                      <a:pt x="52" y="39"/>
                      <a:pt x="51" y="36"/>
                      <a:pt x="51" y="33"/>
                    </a:cubicBezTo>
                    <a:cubicBezTo>
                      <a:pt x="50" y="30"/>
                      <a:pt x="49" y="26"/>
                      <a:pt x="48" y="23"/>
                    </a:cubicBezTo>
                    <a:cubicBezTo>
                      <a:pt x="45" y="26"/>
                      <a:pt x="43" y="29"/>
                      <a:pt x="41" y="32"/>
                    </a:cubicBezTo>
                    <a:cubicBezTo>
                      <a:pt x="40" y="35"/>
                      <a:pt x="38" y="39"/>
                      <a:pt x="37" y="42"/>
                    </a:cubicBezTo>
                    <a:cubicBezTo>
                      <a:pt x="35" y="45"/>
                      <a:pt x="34" y="49"/>
                      <a:pt x="33" y="52"/>
                    </a:cubicBezTo>
                    <a:cubicBezTo>
                      <a:pt x="32" y="56"/>
                      <a:pt x="31" y="59"/>
                      <a:pt x="31" y="63"/>
                    </a:cubicBezTo>
                    <a:cubicBezTo>
                      <a:pt x="31" y="64"/>
                      <a:pt x="31" y="64"/>
                      <a:pt x="31" y="64"/>
                    </a:cubicBezTo>
                    <a:cubicBezTo>
                      <a:pt x="31" y="65"/>
                      <a:pt x="31" y="65"/>
                      <a:pt x="31" y="65"/>
                    </a:cubicBezTo>
                    <a:cubicBezTo>
                      <a:pt x="31" y="66"/>
                      <a:pt x="31" y="66"/>
                      <a:pt x="31" y="66"/>
                    </a:cubicBezTo>
                    <a:cubicBezTo>
                      <a:pt x="31" y="67"/>
                      <a:pt x="30" y="67"/>
                      <a:pt x="30" y="68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1" y="69"/>
                      <a:pt x="32" y="69"/>
                      <a:pt x="33" y="69"/>
                    </a:cubicBezTo>
                    <a:cubicBezTo>
                      <a:pt x="34" y="69"/>
                      <a:pt x="35" y="69"/>
                      <a:pt x="36" y="69"/>
                    </a:cubicBezTo>
                    <a:cubicBezTo>
                      <a:pt x="37" y="69"/>
                      <a:pt x="38" y="69"/>
                      <a:pt x="39" y="69"/>
                    </a:cubicBezTo>
                    <a:cubicBezTo>
                      <a:pt x="40" y="69"/>
                      <a:pt x="41" y="69"/>
                      <a:pt x="42" y="69"/>
                    </a:cubicBezTo>
                    <a:cubicBezTo>
                      <a:pt x="44" y="69"/>
                      <a:pt x="45" y="69"/>
                      <a:pt x="46" y="69"/>
                    </a:cubicBezTo>
                    <a:cubicBezTo>
                      <a:pt x="48" y="69"/>
                      <a:pt x="49" y="68"/>
                      <a:pt x="51" y="68"/>
                    </a:cubicBezTo>
                    <a:cubicBezTo>
                      <a:pt x="52" y="67"/>
                      <a:pt x="53" y="66"/>
                      <a:pt x="54" y="65"/>
                    </a:cubicBezTo>
                    <a:cubicBezTo>
                      <a:pt x="55" y="64"/>
                      <a:pt x="55" y="63"/>
                      <a:pt x="56" y="6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94" name="iṣḷîḓe">
                <a:extLst>
                  <a:ext uri="{FF2B5EF4-FFF2-40B4-BE49-F238E27FC236}">
                    <a16:creationId xmlns:a16="http://schemas.microsoft.com/office/drawing/2014/main" id="{FA076FF2-1703-4A98-99BE-FF1DCA50839A}"/>
                  </a:ext>
                </a:extLst>
              </p:cNvPr>
              <p:cNvSpPr/>
              <p:nvPr/>
            </p:nvSpPr>
            <p:spPr>
              <a:xfrm flipH="1">
                <a:off x="10539489" y="4051125"/>
                <a:ext cx="172185" cy="224397"/>
              </a:xfrm>
              <a:custGeom>
                <a:avLst/>
                <a:gdLst/>
                <a:ahLst/>
                <a:cxnLst/>
                <a:rect l="l" t="t" r="r" b="b"/>
                <a:pathLst>
                  <a:path w="131" h="171" extrusionOk="0">
                    <a:moveTo>
                      <a:pt x="129" y="75"/>
                    </a:moveTo>
                    <a:cubicBezTo>
                      <a:pt x="131" y="80"/>
                      <a:pt x="131" y="85"/>
                      <a:pt x="131" y="89"/>
                    </a:cubicBezTo>
                    <a:cubicBezTo>
                      <a:pt x="130" y="94"/>
                      <a:pt x="129" y="99"/>
                      <a:pt x="127" y="103"/>
                    </a:cubicBezTo>
                    <a:cubicBezTo>
                      <a:pt x="126" y="108"/>
                      <a:pt x="124" y="112"/>
                      <a:pt x="121" y="117"/>
                    </a:cubicBezTo>
                    <a:cubicBezTo>
                      <a:pt x="118" y="121"/>
                      <a:pt x="115" y="125"/>
                      <a:pt x="113" y="128"/>
                    </a:cubicBezTo>
                    <a:cubicBezTo>
                      <a:pt x="109" y="133"/>
                      <a:pt x="106" y="137"/>
                      <a:pt x="102" y="141"/>
                    </a:cubicBezTo>
                    <a:cubicBezTo>
                      <a:pt x="98" y="145"/>
                      <a:pt x="94" y="149"/>
                      <a:pt x="90" y="153"/>
                    </a:cubicBezTo>
                    <a:cubicBezTo>
                      <a:pt x="86" y="156"/>
                      <a:pt x="82" y="159"/>
                      <a:pt x="78" y="163"/>
                    </a:cubicBezTo>
                    <a:cubicBezTo>
                      <a:pt x="74" y="166"/>
                      <a:pt x="70" y="168"/>
                      <a:pt x="65" y="170"/>
                    </a:cubicBezTo>
                    <a:cubicBezTo>
                      <a:pt x="60" y="171"/>
                      <a:pt x="56" y="170"/>
                      <a:pt x="52" y="168"/>
                    </a:cubicBezTo>
                    <a:cubicBezTo>
                      <a:pt x="48" y="167"/>
                      <a:pt x="44" y="164"/>
                      <a:pt x="41" y="160"/>
                    </a:cubicBezTo>
                    <a:cubicBezTo>
                      <a:pt x="38" y="157"/>
                      <a:pt x="35" y="153"/>
                      <a:pt x="33" y="148"/>
                    </a:cubicBezTo>
                    <a:cubicBezTo>
                      <a:pt x="31" y="144"/>
                      <a:pt x="29" y="140"/>
                      <a:pt x="27" y="136"/>
                    </a:cubicBezTo>
                    <a:cubicBezTo>
                      <a:pt x="25" y="132"/>
                      <a:pt x="24" y="127"/>
                      <a:pt x="23" y="122"/>
                    </a:cubicBezTo>
                    <a:cubicBezTo>
                      <a:pt x="21" y="118"/>
                      <a:pt x="20" y="113"/>
                      <a:pt x="19" y="109"/>
                    </a:cubicBezTo>
                    <a:cubicBezTo>
                      <a:pt x="18" y="104"/>
                      <a:pt x="17" y="99"/>
                      <a:pt x="16" y="94"/>
                    </a:cubicBezTo>
                    <a:cubicBezTo>
                      <a:pt x="15" y="90"/>
                      <a:pt x="13" y="85"/>
                      <a:pt x="12" y="80"/>
                    </a:cubicBezTo>
                    <a:cubicBezTo>
                      <a:pt x="11" y="77"/>
                      <a:pt x="10" y="75"/>
                      <a:pt x="9" y="72"/>
                    </a:cubicBezTo>
                    <a:cubicBezTo>
                      <a:pt x="8" y="70"/>
                      <a:pt x="7" y="67"/>
                      <a:pt x="6" y="65"/>
                    </a:cubicBezTo>
                    <a:cubicBezTo>
                      <a:pt x="5" y="62"/>
                      <a:pt x="4" y="59"/>
                      <a:pt x="3" y="57"/>
                    </a:cubicBezTo>
                    <a:cubicBezTo>
                      <a:pt x="2" y="54"/>
                      <a:pt x="1" y="51"/>
                      <a:pt x="0" y="49"/>
                    </a:cubicBezTo>
                    <a:cubicBezTo>
                      <a:pt x="0" y="43"/>
                      <a:pt x="0" y="39"/>
                      <a:pt x="2" y="34"/>
                    </a:cubicBezTo>
                    <a:cubicBezTo>
                      <a:pt x="4" y="30"/>
                      <a:pt x="7" y="26"/>
                      <a:pt x="10" y="23"/>
                    </a:cubicBezTo>
                    <a:cubicBezTo>
                      <a:pt x="13" y="19"/>
                      <a:pt x="17" y="16"/>
                      <a:pt x="21" y="14"/>
                    </a:cubicBezTo>
                    <a:cubicBezTo>
                      <a:pt x="25" y="11"/>
                      <a:pt x="29" y="9"/>
                      <a:pt x="33" y="7"/>
                    </a:cubicBezTo>
                    <a:cubicBezTo>
                      <a:pt x="38" y="5"/>
                      <a:pt x="42" y="3"/>
                      <a:pt x="47" y="2"/>
                    </a:cubicBezTo>
                    <a:cubicBezTo>
                      <a:pt x="52" y="1"/>
                      <a:pt x="56" y="0"/>
                      <a:pt x="61" y="0"/>
                    </a:cubicBezTo>
                    <a:cubicBezTo>
                      <a:pt x="63" y="0"/>
                      <a:pt x="66" y="0"/>
                      <a:pt x="68" y="1"/>
                    </a:cubicBezTo>
                    <a:cubicBezTo>
                      <a:pt x="70" y="1"/>
                      <a:pt x="73" y="2"/>
                      <a:pt x="75" y="3"/>
                    </a:cubicBezTo>
                    <a:cubicBezTo>
                      <a:pt x="77" y="4"/>
                      <a:pt x="79" y="5"/>
                      <a:pt x="80" y="7"/>
                    </a:cubicBezTo>
                    <a:cubicBezTo>
                      <a:pt x="82" y="9"/>
                      <a:pt x="83" y="11"/>
                      <a:pt x="84" y="13"/>
                    </a:cubicBezTo>
                    <a:cubicBezTo>
                      <a:pt x="85" y="15"/>
                      <a:pt x="86" y="18"/>
                      <a:pt x="87" y="21"/>
                    </a:cubicBezTo>
                    <a:cubicBezTo>
                      <a:pt x="88" y="23"/>
                      <a:pt x="88" y="26"/>
                      <a:pt x="88" y="29"/>
                    </a:cubicBezTo>
                    <a:cubicBezTo>
                      <a:pt x="88" y="32"/>
                      <a:pt x="87" y="34"/>
                      <a:pt x="87" y="37"/>
                    </a:cubicBezTo>
                    <a:cubicBezTo>
                      <a:pt x="86" y="39"/>
                      <a:pt x="86" y="42"/>
                      <a:pt x="85" y="45"/>
                    </a:cubicBezTo>
                    <a:cubicBezTo>
                      <a:pt x="90" y="44"/>
                      <a:pt x="95" y="44"/>
                      <a:pt x="99" y="46"/>
                    </a:cubicBezTo>
                    <a:cubicBezTo>
                      <a:pt x="104" y="47"/>
                      <a:pt x="108" y="50"/>
                      <a:pt x="112" y="53"/>
                    </a:cubicBezTo>
                    <a:cubicBezTo>
                      <a:pt x="116" y="56"/>
                      <a:pt x="119" y="59"/>
                      <a:pt x="122" y="63"/>
                    </a:cubicBezTo>
                    <a:cubicBezTo>
                      <a:pt x="126" y="66"/>
                      <a:pt x="128" y="70"/>
                      <a:pt x="129" y="75"/>
                    </a:cubicBezTo>
                    <a:close/>
                    <a:moveTo>
                      <a:pt x="99" y="81"/>
                    </a:moveTo>
                    <a:cubicBezTo>
                      <a:pt x="98" y="78"/>
                      <a:pt x="96" y="76"/>
                      <a:pt x="94" y="74"/>
                    </a:cubicBezTo>
                    <a:cubicBezTo>
                      <a:pt x="92" y="72"/>
                      <a:pt x="89" y="70"/>
                      <a:pt x="87" y="69"/>
                    </a:cubicBezTo>
                    <a:cubicBezTo>
                      <a:pt x="85" y="69"/>
                      <a:pt x="84" y="69"/>
                      <a:pt x="84" y="69"/>
                    </a:cubicBezTo>
                    <a:cubicBezTo>
                      <a:pt x="84" y="69"/>
                      <a:pt x="83" y="69"/>
                      <a:pt x="83" y="69"/>
                    </a:cubicBezTo>
                    <a:cubicBezTo>
                      <a:pt x="80" y="70"/>
                      <a:pt x="77" y="71"/>
                      <a:pt x="75" y="73"/>
                    </a:cubicBezTo>
                    <a:cubicBezTo>
                      <a:pt x="72" y="74"/>
                      <a:pt x="69" y="76"/>
                      <a:pt x="67" y="78"/>
                    </a:cubicBezTo>
                    <a:cubicBezTo>
                      <a:pt x="64" y="80"/>
                      <a:pt x="62" y="82"/>
                      <a:pt x="60" y="84"/>
                    </a:cubicBezTo>
                    <a:cubicBezTo>
                      <a:pt x="58" y="87"/>
                      <a:pt x="56" y="89"/>
                      <a:pt x="54" y="92"/>
                    </a:cubicBezTo>
                    <a:cubicBezTo>
                      <a:pt x="53" y="95"/>
                      <a:pt x="51" y="97"/>
                      <a:pt x="50" y="100"/>
                    </a:cubicBezTo>
                    <a:cubicBezTo>
                      <a:pt x="49" y="103"/>
                      <a:pt x="49" y="106"/>
                      <a:pt x="49" y="109"/>
                    </a:cubicBezTo>
                    <a:cubicBezTo>
                      <a:pt x="48" y="112"/>
                      <a:pt x="49" y="115"/>
                      <a:pt x="49" y="118"/>
                    </a:cubicBezTo>
                    <a:cubicBezTo>
                      <a:pt x="50" y="121"/>
                      <a:pt x="50" y="124"/>
                      <a:pt x="52" y="127"/>
                    </a:cubicBezTo>
                    <a:cubicBezTo>
                      <a:pt x="52" y="129"/>
                      <a:pt x="53" y="130"/>
                      <a:pt x="54" y="132"/>
                    </a:cubicBezTo>
                    <a:cubicBezTo>
                      <a:pt x="55" y="133"/>
                      <a:pt x="57" y="134"/>
                      <a:pt x="58" y="135"/>
                    </a:cubicBezTo>
                    <a:cubicBezTo>
                      <a:pt x="60" y="136"/>
                      <a:pt x="61" y="136"/>
                      <a:pt x="63" y="137"/>
                    </a:cubicBezTo>
                    <a:cubicBezTo>
                      <a:pt x="65" y="137"/>
                      <a:pt x="67" y="136"/>
                      <a:pt x="69" y="135"/>
                    </a:cubicBezTo>
                    <a:cubicBezTo>
                      <a:pt x="74" y="133"/>
                      <a:pt x="78" y="130"/>
                      <a:pt x="82" y="126"/>
                    </a:cubicBezTo>
                    <a:cubicBezTo>
                      <a:pt x="86" y="122"/>
                      <a:pt x="90" y="118"/>
                      <a:pt x="93" y="113"/>
                    </a:cubicBezTo>
                    <a:cubicBezTo>
                      <a:pt x="94" y="110"/>
                      <a:pt x="96" y="108"/>
                      <a:pt x="97" y="105"/>
                    </a:cubicBezTo>
                    <a:cubicBezTo>
                      <a:pt x="98" y="103"/>
                      <a:pt x="99" y="100"/>
                      <a:pt x="99" y="97"/>
                    </a:cubicBezTo>
                    <a:cubicBezTo>
                      <a:pt x="100" y="95"/>
                      <a:pt x="100" y="92"/>
                      <a:pt x="100" y="89"/>
                    </a:cubicBezTo>
                    <a:cubicBezTo>
                      <a:pt x="100" y="87"/>
                      <a:pt x="100" y="84"/>
                      <a:pt x="99" y="81"/>
                    </a:cubicBezTo>
                    <a:close/>
                    <a:moveTo>
                      <a:pt x="62" y="34"/>
                    </a:moveTo>
                    <a:cubicBezTo>
                      <a:pt x="61" y="32"/>
                      <a:pt x="60" y="31"/>
                      <a:pt x="59" y="30"/>
                    </a:cubicBezTo>
                    <a:cubicBezTo>
                      <a:pt x="57" y="28"/>
                      <a:pt x="55" y="28"/>
                      <a:pt x="54" y="27"/>
                    </a:cubicBezTo>
                    <a:cubicBezTo>
                      <a:pt x="52" y="27"/>
                      <a:pt x="50" y="27"/>
                      <a:pt x="48" y="28"/>
                    </a:cubicBezTo>
                    <a:cubicBezTo>
                      <a:pt x="46" y="28"/>
                      <a:pt x="44" y="29"/>
                      <a:pt x="42" y="30"/>
                    </a:cubicBezTo>
                    <a:cubicBezTo>
                      <a:pt x="40" y="31"/>
                      <a:pt x="38" y="32"/>
                      <a:pt x="36" y="33"/>
                    </a:cubicBezTo>
                    <a:cubicBezTo>
                      <a:pt x="34" y="35"/>
                      <a:pt x="33" y="36"/>
                      <a:pt x="32" y="38"/>
                    </a:cubicBezTo>
                    <a:cubicBezTo>
                      <a:pt x="30" y="40"/>
                      <a:pt x="29" y="42"/>
                      <a:pt x="29" y="45"/>
                    </a:cubicBezTo>
                    <a:cubicBezTo>
                      <a:pt x="28" y="47"/>
                      <a:pt x="28" y="50"/>
                      <a:pt x="29" y="52"/>
                    </a:cubicBezTo>
                    <a:cubicBezTo>
                      <a:pt x="29" y="54"/>
                      <a:pt x="30" y="56"/>
                      <a:pt x="31" y="58"/>
                    </a:cubicBezTo>
                    <a:cubicBezTo>
                      <a:pt x="31" y="60"/>
                      <a:pt x="32" y="63"/>
                      <a:pt x="32" y="65"/>
                    </a:cubicBezTo>
                    <a:cubicBezTo>
                      <a:pt x="33" y="67"/>
                      <a:pt x="34" y="68"/>
                      <a:pt x="35" y="70"/>
                    </a:cubicBezTo>
                    <a:cubicBezTo>
                      <a:pt x="35" y="72"/>
                      <a:pt x="36" y="73"/>
                      <a:pt x="37" y="75"/>
                    </a:cubicBezTo>
                    <a:cubicBezTo>
                      <a:pt x="41" y="73"/>
                      <a:pt x="44" y="70"/>
                      <a:pt x="47" y="67"/>
                    </a:cubicBezTo>
                    <a:cubicBezTo>
                      <a:pt x="50" y="64"/>
                      <a:pt x="53" y="60"/>
                      <a:pt x="55" y="57"/>
                    </a:cubicBezTo>
                    <a:cubicBezTo>
                      <a:pt x="56" y="55"/>
                      <a:pt x="57" y="54"/>
                      <a:pt x="58" y="52"/>
                    </a:cubicBezTo>
                    <a:cubicBezTo>
                      <a:pt x="59" y="50"/>
                      <a:pt x="60" y="48"/>
                      <a:pt x="61" y="46"/>
                    </a:cubicBezTo>
                    <a:cubicBezTo>
                      <a:pt x="62" y="44"/>
                      <a:pt x="62" y="42"/>
                      <a:pt x="63" y="40"/>
                    </a:cubicBezTo>
                    <a:cubicBezTo>
                      <a:pt x="63" y="38"/>
                      <a:pt x="63" y="36"/>
                      <a:pt x="62" y="3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95" name="i$1iḍè">
                <a:extLst>
                  <a:ext uri="{FF2B5EF4-FFF2-40B4-BE49-F238E27FC236}">
                    <a16:creationId xmlns:a16="http://schemas.microsoft.com/office/drawing/2014/main" id="{084CDDA8-2523-4DF6-BDA9-8CFACD7025CB}"/>
                  </a:ext>
                </a:extLst>
              </p:cNvPr>
              <p:cNvSpPr/>
              <p:nvPr/>
            </p:nvSpPr>
            <p:spPr>
              <a:xfrm flipH="1">
                <a:off x="10253439" y="3922263"/>
                <a:ext cx="79983" cy="85538"/>
              </a:xfrm>
              <a:custGeom>
                <a:avLst/>
                <a:gdLst/>
                <a:ahLst/>
                <a:cxnLst/>
                <a:rect l="l" t="t" r="r" b="b"/>
                <a:pathLst>
                  <a:path w="61" h="65" extrusionOk="0">
                    <a:moveTo>
                      <a:pt x="41" y="5"/>
                    </a:moveTo>
                    <a:cubicBezTo>
                      <a:pt x="44" y="7"/>
                      <a:pt x="46" y="8"/>
                      <a:pt x="47" y="10"/>
                    </a:cubicBezTo>
                    <a:cubicBezTo>
                      <a:pt x="49" y="12"/>
                      <a:pt x="51" y="14"/>
                      <a:pt x="52" y="17"/>
                    </a:cubicBezTo>
                    <a:cubicBezTo>
                      <a:pt x="54" y="19"/>
                      <a:pt x="55" y="21"/>
                      <a:pt x="56" y="24"/>
                    </a:cubicBezTo>
                    <a:cubicBezTo>
                      <a:pt x="57" y="26"/>
                      <a:pt x="58" y="29"/>
                      <a:pt x="59" y="31"/>
                    </a:cubicBezTo>
                    <a:cubicBezTo>
                      <a:pt x="60" y="34"/>
                      <a:pt x="60" y="36"/>
                      <a:pt x="61" y="39"/>
                    </a:cubicBezTo>
                    <a:cubicBezTo>
                      <a:pt x="61" y="42"/>
                      <a:pt x="61" y="44"/>
                      <a:pt x="61" y="47"/>
                    </a:cubicBezTo>
                    <a:cubicBezTo>
                      <a:pt x="61" y="49"/>
                      <a:pt x="60" y="52"/>
                      <a:pt x="59" y="54"/>
                    </a:cubicBezTo>
                    <a:cubicBezTo>
                      <a:pt x="59" y="57"/>
                      <a:pt x="57" y="59"/>
                      <a:pt x="56" y="61"/>
                    </a:cubicBezTo>
                    <a:cubicBezTo>
                      <a:pt x="55" y="62"/>
                      <a:pt x="54" y="63"/>
                      <a:pt x="53" y="64"/>
                    </a:cubicBezTo>
                    <a:cubicBezTo>
                      <a:pt x="52" y="64"/>
                      <a:pt x="51" y="65"/>
                      <a:pt x="50" y="65"/>
                    </a:cubicBezTo>
                    <a:cubicBezTo>
                      <a:pt x="48" y="65"/>
                      <a:pt x="47" y="65"/>
                      <a:pt x="46" y="65"/>
                    </a:cubicBezTo>
                    <a:cubicBezTo>
                      <a:pt x="45" y="64"/>
                      <a:pt x="44" y="64"/>
                      <a:pt x="43" y="63"/>
                    </a:cubicBezTo>
                    <a:cubicBezTo>
                      <a:pt x="42" y="63"/>
                      <a:pt x="41" y="62"/>
                      <a:pt x="41" y="62"/>
                    </a:cubicBezTo>
                    <a:cubicBezTo>
                      <a:pt x="40" y="61"/>
                      <a:pt x="39" y="61"/>
                      <a:pt x="39" y="60"/>
                    </a:cubicBezTo>
                    <a:cubicBezTo>
                      <a:pt x="38" y="60"/>
                      <a:pt x="37" y="59"/>
                      <a:pt x="37" y="59"/>
                    </a:cubicBezTo>
                    <a:cubicBezTo>
                      <a:pt x="36" y="58"/>
                      <a:pt x="35" y="58"/>
                      <a:pt x="35" y="57"/>
                    </a:cubicBezTo>
                    <a:cubicBezTo>
                      <a:pt x="34" y="57"/>
                      <a:pt x="33" y="56"/>
                      <a:pt x="33" y="56"/>
                    </a:cubicBezTo>
                    <a:cubicBezTo>
                      <a:pt x="32" y="55"/>
                      <a:pt x="31" y="55"/>
                      <a:pt x="30" y="54"/>
                    </a:cubicBezTo>
                    <a:cubicBezTo>
                      <a:pt x="29" y="53"/>
                      <a:pt x="28" y="53"/>
                      <a:pt x="27" y="52"/>
                    </a:cubicBezTo>
                    <a:cubicBezTo>
                      <a:pt x="26" y="51"/>
                      <a:pt x="25" y="50"/>
                      <a:pt x="24" y="49"/>
                    </a:cubicBezTo>
                    <a:cubicBezTo>
                      <a:pt x="23" y="49"/>
                      <a:pt x="21" y="48"/>
                      <a:pt x="20" y="47"/>
                    </a:cubicBezTo>
                    <a:cubicBezTo>
                      <a:pt x="19" y="46"/>
                      <a:pt x="18" y="45"/>
                      <a:pt x="17" y="45"/>
                    </a:cubicBezTo>
                    <a:cubicBezTo>
                      <a:pt x="16" y="43"/>
                      <a:pt x="14" y="42"/>
                      <a:pt x="13" y="41"/>
                    </a:cubicBezTo>
                    <a:cubicBezTo>
                      <a:pt x="11" y="40"/>
                      <a:pt x="10" y="38"/>
                      <a:pt x="8" y="37"/>
                    </a:cubicBezTo>
                    <a:cubicBezTo>
                      <a:pt x="7" y="36"/>
                      <a:pt x="5" y="35"/>
                      <a:pt x="4" y="33"/>
                    </a:cubicBezTo>
                    <a:cubicBezTo>
                      <a:pt x="2" y="32"/>
                      <a:pt x="1" y="30"/>
                      <a:pt x="0" y="29"/>
                    </a:cubicBezTo>
                    <a:cubicBezTo>
                      <a:pt x="0" y="27"/>
                      <a:pt x="1" y="26"/>
                      <a:pt x="1" y="25"/>
                    </a:cubicBezTo>
                    <a:cubicBezTo>
                      <a:pt x="2" y="23"/>
                      <a:pt x="2" y="22"/>
                      <a:pt x="3" y="21"/>
                    </a:cubicBezTo>
                    <a:cubicBezTo>
                      <a:pt x="3" y="19"/>
                      <a:pt x="4" y="18"/>
                      <a:pt x="5" y="16"/>
                    </a:cubicBezTo>
                    <a:cubicBezTo>
                      <a:pt x="5" y="15"/>
                      <a:pt x="6" y="13"/>
                      <a:pt x="7" y="12"/>
                    </a:cubicBezTo>
                    <a:cubicBezTo>
                      <a:pt x="8" y="10"/>
                      <a:pt x="9" y="8"/>
                      <a:pt x="11" y="6"/>
                    </a:cubicBezTo>
                    <a:cubicBezTo>
                      <a:pt x="12" y="5"/>
                      <a:pt x="14" y="4"/>
                      <a:pt x="16" y="3"/>
                    </a:cubicBezTo>
                    <a:cubicBezTo>
                      <a:pt x="18" y="2"/>
                      <a:pt x="20" y="1"/>
                      <a:pt x="22" y="1"/>
                    </a:cubicBezTo>
                    <a:cubicBezTo>
                      <a:pt x="25" y="0"/>
                      <a:pt x="27" y="0"/>
                      <a:pt x="29" y="0"/>
                    </a:cubicBezTo>
                    <a:cubicBezTo>
                      <a:pt x="31" y="1"/>
                      <a:pt x="33" y="1"/>
                      <a:pt x="35" y="2"/>
                    </a:cubicBezTo>
                    <a:cubicBezTo>
                      <a:pt x="38" y="3"/>
                      <a:pt x="40" y="4"/>
                      <a:pt x="41" y="5"/>
                    </a:cubicBezTo>
                    <a:close/>
                    <a:moveTo>
                      <a:pt x="34" y="13"/>
                    </a:moveTo>
                    <a:cubicBezTo>
                      <a:pt x="32" y="12"/>
                      <a:pt x="31" y="11"/>
                      <a:pt x="30" y="10"/>
                    </a:cubicBezTo>
                    <a:cubicBezTo>
                      <a:pt x="28" y="9"/>
                      <a:pt x="26" y="9"/>
                      <a:pt x="25" y="9"/>
                    </a:cubicBezTo>
                    <a:cubicBezTo>
                      <a:pt x="24" y="9"/>
                      <a:pt x="23" y="9"/>
                      <a:pt x="23" y="10"/>
                    </a:cubicBezTo>
                    <a:cubicBezTo>
                      <a:pt x="22" y="10"/>
                      <a:pt x="21" y="11"/>
                      <a:pt x="21" y="11"/>
                    </a:cubicBezTo>
                    <a:cubicBezTo>
                      <a:pt x="20" y="12"/>
                      <a:pt x="20" y="12"/>
                      <a:pt x="19" y="13"/>
                    </a:cubicBezTo>
                    <a:cubicBezTo>
                      <a:pt x="19" y="14"/>
                      <a:pt x="18" y="14"/>
                      <a:pt x="18" y="15"/>
                    </a:cubicBezTo>
                    <a:cubicBezTo>
                      <a:pt x="17" y="16"/>
                      <a:pt x="17" y="17"/>
                      <a:pt x="16" y="17"/>
                    </a:cubicBezTo>
                    <a:cubicBezTo>
                      <a:pt x="16" y="18"/>
                      <a:pt x="16" y="19"/>
                      <a:pt x="15" y="20"/>
                    </a:cubicBezTo>
                    <a:cubicBezTo>
                      <a:pt x="15" y="20"/>
                      <a:pt x="14" y="21"/>
                      <a:pt x="14" y="22"/>
                    </a:cubicBezTo>
                    <a:cubicBezTo>
                      <a:pt x="14" y="22"/>
                      <a:pt x="13" y="23"/>
                      <a:pt x="13" y="24"/>
                    </a:cubicBezTo>
                    <a:cubicBezTo>
                      <a:pt x="13" y="26"/>
                      <a:pt x="14" y="28"/>
                      <a:pt x="16" y="29"/>
                    </a:cubicBezTo>
                    <a:cubicBezTo>
                      <a:pt x="17" y="31"/>
                      <a:pt x="18" y="32"/>
                      <a:pt x="20" y="34"/>
                    </a:cubicBezTo>
                    <a:cubicBezTo>
                      <a:pt x="22" y="35"/>
                      <a:pt x="23" y="36"/>
                      <a:pt x="25" y="37"/>
                    </a:cubicBezTo>
                    <a:cubicBezTo>
                      <a:pt x="27" y="39"/>
                      <a:pt x="28" y="40"/>
                      <a:pt x="30" y="41"/>
                    </a:cubicBezTo>
                    <a:cubicBezTo>
                      <a:pt x="32" y="43"/>
                      <a:pt x="35" y="45"/>
                      <a:pt x="38" y="46"/>
                    </a:cubicBezTo>
                    <a:cubicBezTo>
                      <a:pt x="40" y="48"/>
                      <a:pt x="43" y="50"/>
                      <a:pt x="46" y="51"/>
                    </a:cubicBezTo>
                    <a:cubicBezTo>
                      <a:pt x="47" y="49"/>
                      <a:pt x="48" y="48"/>
                      <a:pt x="48" y="46"/>
                    </a:cubicBezTo>
                    <a:cubicBezTo>
                      <a:pt x="48" y="44"/>
                      <a:pt x="48" y="42"/>
                      <a:pt x="48" y="41"/>
                    </a:cubicBezTo>
                    <a:cubicBezTo>
                      <a:pt x="48" y="39"/>
                      <a:pt x="47" y="37"/>
                      <a:pt x="47" y="35"/>
                    </a:cubicBezTo>
                    <a:cubicBezTo>
                      <a:pt x="46" y="34"/>
                      <a:pt x="46" y="32"/>
                      <a:pt x="45" y="30"/>
                    </a:cubicBezTo>
                    <a:cubicBezTo>
                      <a:pt x="45" y="29"/>
                      <a:pt x="44" y="27"/>
                      <a:pt x="43" y="25"/>
                    </a:cubicBezTo>
                    <a:cubicBezTo>
                      <a:pt x="43" y="24"/>
                      <a:pt x="42" y="22"/>
                      <a:pt x="41" y="21"/>
                    </a:cubicBezTo>
                    <a:cubicBezTo>
                      <a:pt x="40" y="19"/>
                      <a:pt x="39" y="18"/>
                      <a:pt x="38" y="16"/>
                    </a:cubicBezTo>
                    <a:cubicBezTo>
                      <a:pt x="37" y="15"/>
                      <a:pt x="35" y="14"/>
                      <a:pt x="34" y="1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96" name="işḻîďê">
                <a:extLst>
                  <a:ext uri="{FF2B5EF4-FFF2-40B4-BE49-F238E27FC236}">
                    <a16:creationId xmlns:a16="http://schemas.microsoft.com/office/drawing/2014/main" id="{78859E0C-45B8-407D-B98F-302D961F60BD}"/>
                  </a:ext>
                </a:extLst>
              </p:cNvPr>
              <p:cNvSpPr/>
              <p:nvPr/>
            </p:nvSpPr>
            <p:spPr>
              <a:xfrm flipH="1">
                <a:off x="10876084" y="3742300"/>
                <a:ext cx="81094" cy="115532"/>
              </a:xfrm>
              <a:custGeom>
                <a:avLst/>
                <a:gdLst/>
                <a:ahLst/>
                <a:cxnLst/>
                <a:rect l="l" t="t" r="r" b="b"/>
                <a:pathLst>
                  <a:path w="62" h="88" extrusionOk="0">
                    <a:moveTo>
                      <a:pt x="62" y="27"/>
                    </a:moveTo>
                    <a:cubicBezTo>
                      <a:pt x="62" y="28"/>
                      <a:pt x="62" y="29"/>
                      <a:pt x="61" y="30"/>
                    </a:cubicBezTo>
                    <a:cubicBezTo>
                      <a:pt x="61" y="30"/>
                      <a:pt x="60" y="31"/>
                      <a:pt x="60" y="31"/>
                    </a:cubicBezTo>
                    <a:cubicBezTo>
                      <a:pt x="59" y="32"/>
                      <a:pt x="58" y="32"/>
                      <a:pt x="57" y="32"/>
                    </a:cubicBezTo>
                    <a:cubicBezTo>
                      <a:pt x="57" y="32"/>
                      <a:pt x="56" y="32"/>
                      <a:pt x="55" y="32"/>
                    </a:cubicBezTo>
                    <a:cubicBezTo>
                      <a:pt x="54" y="32"/>
                      <a:pt x="52" y="32"/>
                      <a:pt x="51" y="31"/>
                    </a:cubicBezTo>
                    <a:cubicBezTo>
                      <a:pt x="50" y="30"/>
                      <a:pt x="49" y="29"/>
                      <a:pt x="49" y="27"/>
                    </a:cubicBezTo>
                    <a:cubicBezTo>
                      <a:pt x="48" y="26"/>
                      <a:pt x="48" y="24"/>
                      <a:pt x="47" y="23"/>
                    </a:cubicBezTo>
                    <a:cubicBezTo>
                      <a:pt x="46" y="21"/>
                      <a:pt x="46" y="20"/>
                      <a:pt x="46" y="18"/>
                    </a:cubicBezTo>
                    <a:cubicBezTo>
                      <a:pt x="45" y="17"/>
                      <a:pt x="44" y="16"/>
                      <a:pt x="43" y="15"/>
                    </a:cubicBezTo>
                    <a:cubicBezTo>
                      <a:pt x="42" y="14"/>
                      <a:pt x="41" y="14"/>
                      <a:pt x="39" y="14"/>
                    </a:cubicBezTo>
                    <a:cubicBezTo>
                      <a:pt x="37" y="14"/>
                      <a:pt x="35" y="14"/>
                      <a:pt x="34" y="15"/>
                    </a:cubicBezTo>
                    <a:cubicBezTo>
                      <a:pt x="32" y="16"/>
                      <a:pt x="30" y="17"/>
                      <a:pt x="29" y="18"/>
                    </a:cubicBezTo>
                    <a:cubicBezTo>
                      <a:pt x="27" y="19"/>
                      <a:pt x="26" y="21"/>
                      <a:pt x="25" y="22"/>
                    </a:cubicBezTo>
                    <a:cubicBezTo>
                      <a:pt x="24" y="24"/>
                      <a:pt x="23" y="26"/>
                      <a:pt x="22" y="27"/>
                    </a:cubicBezTo>
                    <a:cubicBezTo>
                      <a:pt x="20" y="31"/>
                      <a:pt x="18" y="35"/>
                      <a:pt x="17" y="38"/>
                    </a:cubicBezTo>
                    <a:cubicBezTo>
                      <a:pt x="16" y="42"/>
                      <a:pt x="15" y="46"/>
                      <a:pt x="15" y="50"/>
                    </a:cubicBezTo>
                    <a:cubicBezTo>
                      <a:pt x="15" y="53"/>
                      <a:pt x="15" y="55"/>
                      <a:pt x="16" y="58"/>
                    </a:cubicBezTo>
                    <a:cubicBezTo>
                      <a:pt x="16" y="61"/>
                      <a:pt x="17" y="63"/>
                      <a:pt x="19" y="66"/>
                    </a:cubicBezTo>
                    <a:cubicBezTo>
                      <a:pt x="20" y="68"/>
                      <a:pt x="22" y="70"/>
                      <a:pt x="25" y="71"/>
                    </a:cubicBezTo>
                    <a:cubicBezTo>
                      <a:pt x="27" y="72"/>
                      <a:pt x="30" y="73"/>
                      <a:pt x="33" y="73"/>
                    </a:cubicBezTo>
                    <a:cubicBezTo>
                      <a:pt x="35" y="73"/>
                      <a:pt x="36" y="73"/>
                      <a:pt x="38" y="72"/>
                    </a:cubicBezTo>
                    <a:cubicBezTo>
                      <a:pt x="39" y="72"/>
                      <a:pt x="41" y="71"/>
                      <a:pt x="42" y="70"/>
                    </a:cubicBezTo>
                    <a:cubicBezTo>
                      <a:pt x="43" y="70"/>
                      <a:pt x="45" y="69"/>
                      <a:pt x="46" y="68"/>
                    </a:cubicBezTo>
                    <a:cubicBezTo>
                      <a:pt x="47" y="67"/>
                      <a:pt x="48" y="66"/>
                      <a:pt x="49" y="66"/>
                    </a:cubicBezTo>
                    <a:cubicBezTo>
                      <a:pt x="49" y="65"/>
                      <a:pt x="50" y="65"/>
                      <a:pt x="51" y="64"/>
                    </a:cubicBezTo>
                    <a:cubicBezTo>
                      <a:pt x="51" y="63"/>
                      <a:pt x="52" y="63"/>
                      <a:pt x="53" y="63"/>
                    </a:cubicBezTo>
                    <a:cubicBezTo>
                      <a:pt x="54" y="63"/>
                      <a:pt x="54" y="63"/>
                      <a:pt x="55" y="64"/>
                    </a:cubicBezTo>
                    <a:cubicBezTo>
                      <a:pt x="55" y="64"/>
                      <a:pt x="56" y="65"/>
                      <a:pt x="56" y="65"/>
                    </a:cubicBezTo>
                    <a:cubicBezTo>
                      <a:pt x="56" y="66"/>
                      <a:pt x="56" y="67"/>
                      <a:pt x="56" y="68"/>
                    </a:cubicBezTo>
                    <a:cubicBezTo>
                      <a:pt x="56" y="68"/>
                      <a:pt x="56" y="69"/>
                      <a:pt x="56" y="70"/>
                    </a:cubicBezTo>
                    <a:cubicBezTo>
                      <a:pt x="56" y="72"/>
                      <a:pt x="55" y="74"/>
                      <a:pt x="53" y="76"/>
                    </a:cubicBezTo>
                    <a:cubicBezTo>
                      <a:pt x="52" y="78"/>
                      <a:pt x="50" y="80"/>
                      <a:pt x="48" y="82"/>
                    </a:cubicBezTo>
                    <a:cubicBezTo>
                      <a:pt x="46" y="83"/>
                      <a:pt x="44" y="85"/>
                      <a:pt x="42" y="86"/>
                    </a:cubicBezTo>
                    <a:cubicBezTo>
                      <a:pt x="40" y="87"/>
                      <a:pt x="37" y="87"/>
                      <a:pt x="35" y="87"/>
                    </a:cubicBezTo>
                    <a:cubicBezTo>
                      <a:pt x="32" y="88"/>
                      <a:pt x="30" y="88"/>
                      <a:pt x="27" y="87"/>
                    </a:cubicBezTo>
                    <a:cubicBezTo>
                      <a:pt x="25" y="86"/>
                      <a:pt x="22" y="85"/>
                      <a:pt x="20" y="84"/>
                    </a:cubicBezTo>
                    <a:cubicBezTo>
                      <a:pt x="18" y="83"/>
                      <a:pt x="16" y="82"/>
                      <a:pt x="14" y="80"/>
                    </a:cubicBezTo>
                    <a:cubicBezTo>
                      <a:pt x="12" y="78"/>
                      <a:pt x="11" y="77"/>
                      <a:pt x="9" y="75"/>
                    </a:cubicBezTo>
                    <a:cubicBezTo>
                      <a:pt x="6" y="71"/>
                      <a:pt x="4" y="66"/>
                      <a:pt x="2" y="61"/>
                    </a:cubicBezTo>
                    <a:cubicBezTo>
                      <a:pt x="0" y="56"/>
                      <a:pt x="0" y="51"/>
                      <a:pt x="0" y="46"/>
                    </a:cubicBezTo>
                    <a:cubicBezTo>
                      <a:pt x="1" y="41"/>
                      <a:pt x="2" y="36"/>
                      <a:pt x="4" y="31"/>
                    </a:cubicBezTo>
                    <a:cubicBezTo>
                      <a:pt x="6" y="26"/>
                      <a:pt x="8" y="21"/>
                      <a:pt x="11" y="17"/>
                    </a:cubicBezTo>
                    <a:cubicBezTo>
                      <a:pt x="13" y="15"/>
                      <a:pt x="14" y="13"/>
                      <a:pt x="16" y="11"/>
                    </a:cubicBezTo>
                    <a:cubicBezTo>
                      <a:pt x="18" y="9"/>
                      <a:pt x="20" y="7"/>
                      <a:pt x="22" y="5"/>
                    </a:cubicBezTo>
                    <a:cubicBezTo>
                      <a:pt x="24" y="3"/>
                      <a:pt x="26" y="2"/>
                      <a:pt x="28" y="1"/>
                    </a:cubicBezTo>
                    <a:cubicBezTo>
                      <a:pt x="31" y="0"/>
                      <a:pt x="33" y="0"/>
                      <a:pt x="36" y="0"/>
                    </a:cubicBezTo>
                    <a:cubicBezTo>
                      <a:pt x="40" y="0"/>
                      <a:pt x="43" y="1"/>
                      <a:pt x="46" y="2"/>
                    </a:cubicBezTo>
                    <a:cubicBezTo>
                      <a:pt x="49" y="4"/>
                      <a:pt x="52" y="6"/>
                      <a:pt x="54" y="9"/>
                    </a:cubicBezTo>
                    <a:cubicBezTo>
                      <a:pt x="56" y="11"/>
                      <a:pt x="58" y="14"/>
                      <a:pt x="60" y="17"/>
                    </a:cubicBezTo>
                    <a:cubicBezTo>
                      <a:pt x="61" y="20"/>
                      <a:pt x="62" y="24"/>
                      <a:pt x="62" y="2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97" name="íṣļîḋe">
                <a:extLst>
                  <a:ext uri="{FF2B5EF4-FFF2-40B4-BE49-F238E27FC236}">
                    <a16:creationId xmlns:a16="http://schemas.microsoft.com/office/drawing/2014/main" id="{7BDD0CBC-88E8-432B-93EE-64FC0D7C9336}"/>
                  </a:ext>
                </a:extLst>
              </p:cNvPr>
              <p:cNvSpPr/>
              <p:nvPr/>
            </p:nvSpPr>
            <p:spPr>
              <a:xfrm flipH="1">
                <a:off x="10462283" y="3294615"/>
                <a:ext cx="97201" cy="139415"/>
              </a:xfrm>
              <a:custGeom>
                <a:avLst/>
                <a:gdLst/>
                <a:ahLst/>
                <a:cxnLst/>
                <a:rect l="l" t="t" r="r" b="b"/>
                <a:pathLst>
                  <a:path w="74" h="106" extrusionOk="0">
                    <a:moveTo>
                      <a:pt x="74" y="64"/>
                    </a:moveTo>
                    <a:cubicBezTo>
                      <a:pt x="74" y="65"/>
                      <a:pt x="74" y="66"/>
                      <a:pt x="74" y="67"/>
                    </a:cubicBezTo>
                    <a:cubicBezTo>
                      <a:pt x="74" y="68"/>
                      <a:pt x="74" y="70"/>
                      <a:pt x="74" y="71"/>
                    </a:cubicBezTo>
                    <a:cubicBezTo>
                      <a:pt x="72" y="75"/>
                      <a:pt x="69" y="78"/>
                      <a:pt x="66" y="82"/>
                    </a:cubicBezTo>
                    <a:cubicBezTo>
                      <a:pt x="63" y="85"/>
                      <a:pt x="60" y="88"/>
                      <a:pt x="57" y="91"/>
                    </a:cubicBezTo>
                    <a:cubicBezTo>
                      <a:pt x="54" y="94"/>
                      <a:pt x="51" y="97"/>
                      <a:pt x="47" y="99"/>
                    </a:cubicBezTo>
                    <a:cubicBezTo>
                      <a:pt x="44" y="102"/>
                      <a:pt x="40" y="104"/>
                      <a:pt x="36" y="105"/>
                    </a:cubicBezTo>
                    <a:cubicBezTo>
                      <a:pt x="35" y="106"/>
                      <a:pt x="33" y="106"/>
                      <a:pt x="32" y="106"/>
                    </a:cubicBezTo>
                    <a:cubicBezTo>
                      <a:pt x="30" y="106"/>
                      <a:pt x="29" y="106"/>
                      <a:pt x="28" y="105"/>
                    </a:cubicBezTo>
                    <a:cubicBezTo>
                      <a:pt x="26" y="104"/>
                      <a:pt x="25" y="103"/>
                      <a:pt x="24" y="102"/>
                    </a:cubicBezTo>
                    <a:cubicBezTo>
                      <a:pt x="23" y="101"/>
                      <a:pt x="22" y="100"/>
                      <a:pt x="21" y="99"/>
                    </a:cubicBezTo>
                    <a:cubicBezTo>
                      <a:pt x="19" y="96"/>
                      <a:pt x="18" y="94"/>
                      <a:pt x="17" y="92"/>
                    </a:cubicBezTo>
                    <a:cubicBezTo>
                      <a:pt x="16" y="89"/>
                      <a:pt x="15" y="86"/>
                      <a:pt x="14" y="84"/>
                    </a:cubicBezTo>
                    <a:cubicBezTo>
                      <a:pt x="13" y="81"/>
                      <a:pt x="12" y="79"/>
                      <a:pt x="11" y="76"/>
                    </a:cubicBezTo>
                    <a:cubicBezTo>
                      <a:pt x="10" y="73"/>
                      <a:pt x="9" y="71"/>
                      <a:pt x="8" y="68"/>
                    </a:cubicBezTo>
                    <a:cubicBezTo>
                      <a:pt x="7" y="64"/>
                      <a:pt x="6" y="60"/>
                      <a:pt x="5" y="56"/>
                    </a:cubicBezTo>
                    <a:cubicBezTo>
                      <a:pt x="4" y="52"/>
                      <a:pt x="3" y="48"/>
                      <a:pt x="2" y="44"/>
                    </a:cubicBezTo>
                    <a:cubicBezTo>
                      <a:pt x="2" y="40"/>
                      <a:pt x="1" y="36"/>
                      <a:pt x="1" y="32"/>
                    </a:cubicBezTo>
                    <a:cubicBezTo>
                      <a:pt x="0" y="28"/>
                      <a:pt x="1" y="24"/>
                      <a:pt x="2" y="19"/>
                    </a:cubicBezTo>
                    <a:cubicBezTo>
                      <a:pt x="4" y="17"/>
                      <a:pt x="7" y="15"/>
                      <a:pt x="10" y="14"/>
                    </a:cubicBezTo>
                    <a:cubicBezTo>
                      <a:pt x="13" y="12"/>
                      <a:pt x="16" y="10"/>
                      <a:pt x="19" y="9"/>
                    </a:cubicBezTo>
                    <a:cubicBezTo>
                      <a:pt x="22" y="7"/>
                      <a:pt x="25" y="6"/>
                      <a:pt x="29" y="4"/>
                    </a:cubicBezTo>
                    <a:cubicBezTo>
                      <a:pt x="32" y="3"/>
                      <a:pt x="36" y="2"/>
                      <a:pt x="40" y="1"/>
                    </a:cubicBezTo>
                    <a:cubicBezTo>
                      <a:pt x="41" y="0"/>
                      <a:pt x="42" y="0"/>
                      <a:pt x="43" y="0"/>
                    </a:cubicBezTo>
                    <a:cubicBezTo>
                      <a:pt x="44" y="0"/>
                      <a:pt x="45" y="1"/>
                      <a:pt x="47" y="1"/>
                    </a:cubicBezTo>
                    <a:cubicBezTo>
                      <a:pt x="48" y="2"/>
                      <a:pt x="48" y="2"/>
                      <a:pt x="49" y="3"/>
                    </a:cubicBezTo>
                    <a:cubicBezTo>
                      <a:pt x="50" y="4"/>
                      <a:pt x="50" y="5"/>
                      <a:pt x="51" y="7"/>
                    </a:cubicBezTo>
                    <a:cubicBezTo>
                      <a:pt x="51" y="7"/>
                      <a:pt x="51" y="8"/>
                      <a:pt x="51" y="9"/>
                    </a:cubicBezTo>
                    <a:cubicBezTo>
                      <a:pt x="52" y="9"/>
                      <a:pt x="52" y="10"/>
                      <a:pt x="52" y="11"/>
                    </a:cubicBezTo>
                    <a:cubicBezTo>
                      <a:pt x="52" y="12"/>
                      <a:pt x="51" y="12"/>
                      <a:pt x="51" y="13"/>
                    </a:cubicBezTo>
                    <a:cubicBezTo>
                      <a:pt x="51" y="13"/>
                      <a:pt x="50" y="14"/>
                      <a:pt x="49" y="14"/>
                    </a:cubicBezTo>
                    <a:cubicBezTo>
                      <a:pt x="44" y="15"/>
                      <a:pt x="38" y="17"/>
                      <a:pt x="33" y="19"/>
                    </a:cubicBezTo>
                    <a:cubicBezTo>
                      <a:pt x="28" y="21"/>
                      <a:pt x="22" y="23"/>
                      <a:pt x="17" y="26"/>
                    </a:cubicBezTo>
                    <a:cubicBezTo>
                      <a:pt x="17" y="28"/>
                      <a:pt x="17" y="30"/>
                      <a:pt x="17" y="32"/>
                    </a:cubicBezTo>
                    <a:cubicBezTo>
                      <a:pt x="17" y="34"/>
                      <a:pt x="17" y="37"/>
                      <a:pt x="18" y="38"/>
                    </a:cubicBezTo>
                    <a:cubicBezTo>
                      <a:pt x="18" y="39"/>
                      <a:pt x="18" y="39"/>
                      <a:pt x="19" y="40"/>
                    </a:cubicBezTo>
                    <a:cubicBezTo>
                      <a:pt x="19" y="41"/>
                      <a:pt x="19" y="41"/>
                      <a:pt x="19" y="42"/>
                    </a:cubicBezTo>
                    <a:cubicBezTo>
                      <a:pt x="22" y="41"/>
                      <a:pt x="25" y="39"/>
                      <a:pt x="27" y="38"/>
                    </a:cubicBezTo>
                    <a:cubicBezTo>
                      <a:pt x="29" y="37"/>
                      <a:pt x="32" y="36"/>
                      <a:pt x="34" y="35"/>
                    </a:cubicBezTo>
                    <a:cubicBezTo>
                      <a:pt x="37" y="33"/>
                      <a:pt x="39" y="32"/>
                      <a:pt x="42" y="31"/>
                    </a:cubicBezTo>
                    <a:cubicBezTo>
                      <a:pt x="45" y="30"/>
                      <a:pt x="47" y="29"/>
                      <a:pt x="50" y="28"/>
                    </a:cubicBezTo>
                    <a:cubicBezTo>
                      <a:pt x="51" y="27"/>
                      <a:pt x="52" y="27"/>
                      <a:pt x="53" y="27"/>
                    </a:cubicBezTo>
                    <a:cubicBezTo>
                      <a:pt x="55" y="27"/>
                      <a:pt x="56" y="27"/>
                      <a:pt x="57" y="28"/>
                    </a:cubicBezTo>
                    <a:cubicBezTo>
                      <a:pt x="58" y="28"/>
                      <a:pt x="59" y="29"/>
                      <a:pt x="60" y="30"/>
                    </a:cubicBezTo>
                    <a:cubicBezTo>
                      <a:pt x="61" y="31"/>
                      <a:pt x="61" y="32"/>
                      <a:pt x="62" y="33"/>
                    </a:cubicBezTo>
                    <a:cubicBezTo>
                      <a:pt x="62" y="34"/>
                      <a:pt x="62" y="36"/>
                      <a:pt x="61" y="37"/>
                    </a:cubicBezTo>
                    <a:cubicBezTo>
                      <a:pt x="61" y="38"/>
                      <a:pt x="60" y="39"/>
                      <a:pt x="59" y="40"/>
                    </a:cubicBezTo>
                    <a:cubicBezTo>
                      <a:pt x="58" y="40"/>
                      <a:pt x="57" y="41"/>
                      <a:pt x="56" y="42"/>
                    </a:cubicBezTo>
                    <a:cubicBezTo>
                      <a:pt x="55" y="42"/>
                      <a:pt x="54" y="43"/>
                      <a:pt x="53" y="43"/>
                    </a:cubicBezTo>
                    <a:cubicBezTo>
                      <a:pt x="49" y="45"/>
                      <a:pt x="46" y="47"/>
                      <a:pt x="43" y="49"/>
                    </a:cubicBezTo>
                    <a:cubicBezTo>
                      <a:pt x="39" y="50"/>
                      <a:pt x="36" y="52"/>
                      <a:pt x="33" y="54"/>
                    </a:cubicBezTo>
                    <a:cubicBezTo>
                      <a:pt x="31" y="55"/>
                      <a:pt x="30" y="57"/>
                      <a:pt x="29" y="58"/>
                    </a:cubicBezTo>
                    <a:cubicBezTo>
                      <a:pt x="28" y="60"/>
                      <a:pt x="27" y="62"/>
                      <a:pt x="26" y="63"/>
                    </a:cubicBezTo>
                    <a:cubicBezTo>
                      <a:pt x="25" y="65"/>
                      <a:pt x="25" y="67"/>
                      <a:pt x="25" y="69"/>
                    </a:cubicBezTo>
                    <a:cubicBezTo>
                      <a:pt x="25" y="71"/>
                      <a:pt x="25" y="73"/>
                      <a:pt x="26" y="74"/>
                    </a:cubicBezTo>
                    <a:cubicBezTo>
                      <a:pt x="27" y="77"/>
                      <a:pt x="28" y="79"/>
                      <a:pt x="29" y="81"/>
                    </a:cubicBezTo>
                    <a:cubicBezTo>
                      <a:pt x="31" y="83"/>
                      <a:pt x="32" y="85"/>
                      <a:pt x="34" y="87"/>
                    </a:cubicBezTo>
                    <a:cubicBezTo>
                      <a:pt x="35" y="87"/>
                      <a:pt x="37" y="86"/>
                      <a:pt x="39" y="85"/>
                    </a:cubicBezTo>
                    <a:cubicBezTo>
                      <a:pt x="40" y="84"/>
                      <a:pt x="41" y="83"/>
                      <a:pt x="43" y="81"/>
                    </a:cubicBezTo>
                    <a:cubicBezTo>
                      <a:pt x="44" y="80"/>
                      <a:pt x="45" y="79"/>
                      <a:pt x="47" y="78"/>
                    </a:cubicBezTo>
                    <a:cubicBezTo>
                      <a:pt x="48" y="76"/>
                      <a:pt x="49" y="75"/>
                      <a:pt x="51" y="73"/>
                    </a:cubicBezTo>
                    <a:cubicBezTo>
                      <a:pt x="53" y="71"/>
                      <a:pt x="55" y="68"/>
                      <a:pt x="58" y="65"/>
                    </a:cubicBezTo>
                    <a:cubicBezTo>
                      <a:pt x="60" y="63"/>
                      <a:pt x="63" y="61"/>
                      <a:pt x="67" y="59"/>
                    </a:cubicBezTo>
                    <a:cubicBezTo>
                      <a:pt x="68" y="58"/>
                      <a:pt x="69" y="58"/>
                      <a:pt x="69" y="58"/>
                    </a:cubicBezTo>
                    <a:cubicBezTo>
                      <a:pt x="70" y="58"/>
                      <a:pt x="71" y="59"/>
                      <a:pt x="72" y="59"/>
                    </a:cubicBezTo>
                    <a:cubicBezTo>
                      <a:pt x="72" y="60"/>
                      <a:pt x="73" y="61"/>
                      <a:pt x="73" y="61"/>
                    </a:cubicBezTo>
                    <a:cubicBezTo>
                      <a:pt x="74" y="62"/>
                      <a:pt x="74" y="63"/>
                      <a:pt x="74" y="6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98" name="ïšḷidé">
                <a:extLst>
                  <a:ext uri="{FF2B5EF4-FFF2-40B4-BE49-F238E27FC236}">
                    <a16:creationId xmlns:a16="http://schemas.microsoft.com/office/drawing/2014/main" id="{D5CACD6E-FC61-4186-BEE1-C0CB821CF9A5}"/>
                  </a:ext>
                </a:extLst>
              </p:cNvPr>
              <p:cNvSpPr/>
              <p:nvPr/>
            </p:nvSpPr>
            <p:spPr>
              <a:xfrm flipH="1">
                <a:off x="10573926" y="3806731"/>
                <a:ext cx="163854" cy="131639"/>
              </a:xfrm>
              <a:custGeom>
                <a:avLst/>
                <a:gdLst/>
                <a:ahLst/>
                <a:cxnLst/>
                <a:rect l="l" t="t" r="r" b="b"/>
                <a:pathLst>
                  <a:path w="125" h="100" extrusionOk="0">
                    <a:moveTo>
                      <a:pt x="102" y="76"/>
                    </a:moveTo>
                    <a:cubicBezTo>
                      <a:pt x="101" y="77"/>
                      <a:pt x="100" y="78"/>
                      <a:pt x="98" y="79"/>
                    </a:cubicBezTo>
                    <a:cubicBezTo>
                      <a:pt x="97" y="79"/>
                      <a:pt x="96" y="79"/>
                      <a:pt x="94" y="79"/>
                    </a:cubicBezTo>
                    <a:cubicBezTo>
                      <a:pt x="93" y="79"/>
                      <a:pt x="91" y="79"/>
                      <a:pt x="90" y="79"/>
                    </a:cubicBezTo>
                    <a:cubicBezTo>
                      <a:pt x="89" y="78"/>
                      <a:pt x="87" y="78"/>
                      <a:pt x="86" y="77"/>
                    </a:cubicBezTo>
                    <a:cubicBezTo>
                      <a:pt x="82" y="76"/>
                      <a:pt x="78" y="74"/>
                      <a:pt x="74" y="72"/>
                    </a:cubicBezTo>
                    <a:cubicBezTo>
                      <a:pt x="71" y="70"/>
                      <a:pt x="67" y="68"/>
                      <a:pt x="63" y="66"/>
                    </a:cubicBezTo>
                    <a:cubicBezTo>
                      <a:pt x="61" y="66"/>
                      <a:pt x="60" y="65"/>
                      <a:pt x="58" y="64"/>
                    </a:cubicBezTo>
                    <a:cubicBezTo>
                      <a:pt x="57" y="63"/>
                      <a:pt x="55" y="63"/>
                      <a:pt x="53" y="62"/>
                    </a:cubicBezTo>
                    <a:cubicBezTo>
                      <a:pt x="52" y="61"/>
                      <a:pt x="50" y="61"/>
                      <a:pt x="48" y="61"/>
                    </a:cubicBezTo>
                    <a:cubicBezTo>
                      <a:pt x="46" y="60"/>
                      <a:pt x="45" y="60"/>
                      <a:pt x="43" y="60"/>
                    </a:cubicBezTo>
                    <a:cubicBezTo>
                      <a:pt x="42" y="62"/>
                      <a:pt x="40" y="64"/>
                      <a:pt x="39" y="65"/>
                    </a:cubicBezTo>
                    <a:cubicBezTo>
                      <a:pt x="38" y="67"/>
                      <a:pt x="37" y="69"/>
                      <a:pt x="35" y="71"/>
                    </a:cubicBezTo>
                    <a:cubicBezTo>
                      <a:pt x="34" y="73"/>
                      <a:pt x="33" y="75"/>
                      <a:pt x="31" y="77"/>
                    </a:cubicBezTo>
                    <a:cubicBezTo>
                      <a:pt x="30" y="80"/>
                      <a:pt x="28" y="82"/>
                      <a:pt x="27" y="84"/>
                    </a:cubicBezTo>
                    <a:cubicBezTo>
                      <a:pt x="25" y="86"/>
                      <a:pt x="23" y="88"/>
                      <a:pt x="22" y="90"/>
                    </a:cubicBezTo>
                    <a:cubicBezTo>
                      <a:pt x="20" y="92"/>
                      <a:pt x="18" y="94"/>
                      <a:pt x="16" y="96"/>
                    </a:cubicBezTo>
                    <a:cubicBezTo>
                      <a:pt x="14" y="98"/>
                      <a:pt x="11" y="99"/>
                      <a:pt x="9" y="100"/>
                    </a:cubicBezTo>
                    <a:cubicBezTo>
                      <a:pt x="6" y="100"/>
                      <a:pt x="4" y="100"/>
                      <a:pt x="3" y="99"/>
                    </a:cubicBezTo>
                    <a:cubicBezTo>
                      <a:pt x="2" y="98"/>
                      <a:pt x="1" y="97"/>
                      <a:pt x="1" y="96"/>
                    </a:cubicBezTo>
                    <a:cubicBezTo>
                      <a:pt x="0" y="95"/>
                      <a:pt x="0" y="94"/>
                      <a:pt x="0" y="92"/>
                    </a:cubicBezTo>
                    <a:cubicBezTo>
                      <a:pt x="1" y="90"/>
                      <a:pt x="1" y="88"/>
                      <a:pt x="2" y="86"/>
                    </a:cubicBezTo>
                    <a:cubicBezTo>
                      <a:pt x="3" y="84"/>
                      <a:pt x="4" y="81"/>
                      <a:pt x="5" y="79"/>
                    </a:cubicBezTo>
                    <a:cubicBezTo>
                      <a:pt x="6" y="77"/>
                      <a:pt x="7" y="75"/>
                      <a:pt x="8" y="73"/>
                    </a:cubicBezTo>
                    <a:cubicBezTo>
                      <a:pt x="10" y="71"/>
                      <a:pt x="11" y="69"/>
                      <a:pt x="12" y="67"/>
                    </a:cubicBezTo>
                    <a:cubicBezTo>
                      <a:pt x="15" y="62"/>
                      <a:pt x="17" y="58"/>
                      <a:pt x="20" y="53"/>
                    </a:cubicBezTo>
                    <a:cubicBezTo>
                      <a:pt x="23" y="49"/>
                      <a:pt x="26" y="45"/>
                      <a:pt x="29" y="40"/>
                    </a:cubicBezTo>
                    <a:cubicBezTo>
                      <a:pt x="33" y="34"/>
                      <a:pt x="38" y="29"/>
                      <a:pt x="44" y="24"/>
                    </a:cubicBezTo>
                    <a:cubicBezTo>
                      <a:pt x="49" y="18"/>
                      <a:pt x="55" y="13"/>
                      <a:pt x="61" y="8"/>
                    </a:cubicBezTo>
                    <a:cubicBezTo>
                      <a:pt x="62" y="7"/>
                      <a:pt x="64" y="6"/>
                      <a:pt x="65" y="5"/>
                    </a:cubicBezTo>
                    <a:cubicBezTo>
                      <a:pt x="67" y="4"/>
                      <a:pt x="68" y="3"/>
                      <a:pt x="70" y="2"/>
                    </a:cubicBezTo>
                    <a:cubicBezTo>
                      <a:pt x="71" y="1"/>
                      <a:pt x="73" y="1"/>
                      <a:pt x="74" y="1"/>
                    </a:cubicBezTo>
                    <a:cubicBezTo>
                      <a:pt x="76" y="0"/>
                      <a:pt x="77" y="0"/>
                      <a:pt x="79" y="1"/>
                    </a:cubicBezTo>
                    <a:cubicBezTo>
                      <a:pt x="82" y="1"/>
                      <a:pt x="85" y="2"/>
                      <a:pt x="88" y="3"/>
                    </a:cubicBezTo>
                    <a:cubicBezTo>
                      <a:pt x="91" y="4"/>
                      <a:pt x="94" y="6"/>
                      <a:pt x="97" y="7"/>
                    </a:cubicBezTo>
                    <a:cubicBezTo>
                      <a:pt x="101" y="8"/>
                      <a:pt x="104" y="10"/>
                      <a:pt x="107" y="11"/>
                    </a:cubicBezTo>
                    <a:cubicBezTo>
                      <a:pt x="110" y="13"/>
                      <a:pt x="113" y="15"/>
                      <a:pt x="116" y="16"/>
                    </a:cubicBezTo>
                    <a:cubicBezTo>
                      <a:pt x="117" y="18"/>
                      <a:pt x="119" y="19"/>
                      <a:pt x="120" y="21"/>
                    </a:cubicBezTo>
                    <a:cubicBezTo>
                      <a:pt x="122" y="22"/>
                      <a:pt x="123" y="24"/>
                      <a:pt x="124" y="26"/>
                    </a:cubicBezTo>
                    <a:cubicBezTo>
                      <a:pt x="124" y="28"/>
                      <a:pt x="125" y="30"/>
                      <a:pt x="125" y="32"/>
                    </a:cubicBezTo>
                    <a:cubicBezTo>
                      <a:pt x="124" y="34"/>
                      <a:pt x="124" y="36"/>
                      <a:pt x="122" y="38"/>
                    </a:cubicBezTo>
                    <a:cubicBezTo>
                      <a:pt x="121" y="40"/>
                      <a:pt x="120" y="41"/>
                      <a:pt x="118" y="41"/>
                    </a:cubicBezTo>
                    <a:cubicBezTo>
                      <a:pt x="116" y="42"/>
                      <a:pt x="114" y="41"/>
                      <a:pt x="112" y="41"/>
                    </a:cubicBezTo>
                    <a:cubicBezTo>
                      <a:pt x="108" y="39"/>
                      <a:pt x="105" y="38"/>
                      <a:pt x="103" y="37"/>
                    </a:cubicBezTo>
                    <a:cubicBezTo>
                      <a:pt x="101" y="35"/>
                      <a:pt x="98" y="33"/>
                      <a:pt x="96" y="32"/>
                    </a:cubicBezTo>
                    <a:cubicBezTo>
                      <a:pt x="94" y="31"/>
                      <a:pt x="93" y="29"/>
                      <a:pt x="91" y="28"/>
                    </a:cubicBezTo>
                    <a:cubicBezTo>
                      <a:pt x="89" y="27"/>
                      <a:pt x="87" y="26"/>
                      <a:pt x="86" y="25"/>
                    </a:cubicBezTo>
                    <a:cubicBezTo>
                      <a:pt x="85" y="24"/>
                      <a:pt x="84" y="24"/>
                      <a:pt x="83" y="23"/>
                    </a:cubicBezTo>
                    <a:cubicBezTo>
                      <a:pt x="83" y="23"/>
                      <a:pt x="82" y="23"/>
                      <a:pt x="81" y="23"/>
                    </a:cubicBezTo>
                    <a:cubicBezTo>
                      <a:pt x="78" y="24"/>
                      <a:pt x="75" y="26"/>
                      <a:pt x="72" y="28"/>
                    </a:cubicBezTo>
                    <a:cubicBezTo>
                      <a:pt x="70" y="31"/>
                      <a:pt x="68" y="33"/>
                      <a:pt x="65" y="36"/>
                    </a:cubicBezTo>
                    <a:cubicBezTo>
                      <a:pt x="64" y="38"/>
                      <a:pt x="64" y="38"/>
                      <a:pt x="64" y="38"/>
                    </a:cubicBezTo>
                    <a:cubicBezTo>
                      <a:pt x="64" y="39"/>
                      <a:pt x="64" y="39"/>
                      <a:pt x="64" y="39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6" y="41"/>
                      <a:pt x="69" y="43"/>
                      <a:pt x="71" y="44"/>
                    </a:cubicBezTo>
                    <a:cubicBezTo>
                      <a:pt x="74" y="46"/>
                      <a:pt x="77" y="47"/>
                      <a:pt x="80" y="49"/>
                    </a:cubicBezTo>
                    <a:cubicBezTo>
                      <a:pt x="82" y="50"/>
                      <a:pt x="85" y="52"/>
                      <a:pt x="88" y="53"/>
                    </a:cubicBezTo>
                    <a:cubicBezTo>
                      <a:pt x="91" y="54"/>
                      <a:pt x="93" y="56"/>
                      <a:pt x="96" y="58"/>
                    </a:cubicBezTo>
                    <a:cubicBezTo>
                      <a:pt x="97" y="59"/>
                      <a:pt x="98" y="60"/>
                      <a:pt x="99" y="61"/>
                    </a:cubicBezTo>
                    <a:cubicBezTo>
                      <a:pt x="100" y="62"/>
                      <a:pt x="101" y="63"/>
                      <a:pt x="102" y="65"/>
                    </a:cubicBezTo>
                    <a:cubicBezTo>
                      <a:pt x="102" y="66"/>
                      <a:pt x="103" y="68"/>
                      <a:pt x="103" y="69"/>
                    </a:cubicBezTo>
                    <a:cubicBezTo>
                      <a:pt x="103" y="71"/>
                      <a:pt x="103" y="72"/>
                      <a:pt x="103" y="74"/>
                    </a:cubicBezTo>
                    <a:cubicBezTo>
                      <a:pt x="103" y="74"/>
                      <a:pt x="102" y="75"/>
                      <a:pt x="102" y="75"/>
                    </a:cubicBezTo>
                    <a:cubicBezTo>
                      <a:pt x="102" y="75"/>
                      <a:pt x="102" y="76"/>
                      <a:pt x="102" y="7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99" name="îṧḷiḋé">
                <a:extLst>
                  <a:ext uri="{FF2B5EF4-FFF2-40B4-BE49-F238E27FC236}">
                    <a16:creationId xmlns:a16="http://schemas.microsoft.com/office/drawing/2014/main" id="{C3D01A7B-F666-456C-80E8-148EAFD6E763}"/>
                  </a:ext>
                </a:extLst>
              </p:cNvPr>
              <p:cNvSpPr/>
              <p:nvPr/>
            </p:nvSpPr>
            <p:spPr>
              <a:xfrm flipH="1">
                <a:off x="10227333" y="3650653"/>
                <a:ext cx="112754" cy="129973"/>
              </a:xfrm>
              <a:custGeom>
                <a:avLst/>
                <a:gdLst/>
                <a:ahLst/>
                <a:cxnLst/>
                <a:rect l="l" t="t" r="r" b="b"/>
                <a:pathLst>
                  <a:path w="86" h="99" extrusionOk="0">
                    <a:moveTo>
                      <a:pt x="77" y="64"/>
                    </a:moveTo>
                    <a:cubicBezTo>
                      <a:pt x="76" y="65"/>
                      <a:pt x="76" y="67"/>
                      <a:pt x="75" y="68"/>
                    </a:cubicBezTo>
                    <a:cubicBezTo>
                      <a:pt x="74" y="69"/>
                      <a:pt x="74" y="70"/>
                      <a:pt x="73" y="71"/>
                    </a:cubicBezTo>
                    <a:cubicBezTo>
                      <a:pt x="70" y="75"/>
                      <a:pt x="67" y="79"/>
                      <a:pt x="63" y="83"/>
                    </a:cubicBezTo>
                    <a:cubicBezTo>
                      <a:pt x="59" y="87"/>
                      <a:pt x="55" y="90"/>
                      <a:pt x="51" y="93"/>
                    </a:cubicBezTo>
                    <a:cubicBezTo>
                      <a:pt x="48" y="94"/>
                      <a:pt x="46" y="95"/>
                      <a:pt x="44" y="96"/>
                    </a:cubicBezTo>
                    <a:cubicBezTo>
                      <a:pt x="41" y="97"/>
                      <a:pt x="39" y="98"/>
                      <a:pt x="36" y="99"/>
                    </a:cubicBezTo>
                    <a:cubicBezTo>
                      <a:pt x="34" y="99"/>
                      <a:pt x="31" y="99"/>
                      <a:pt x="28" y="99"/>
                    </a:cubicBezTo>
                    <a:cubicBezTo>
                      <a:pt x="26" y="99"/>
                      <a:pt x="23" y="99"/>
                      <a:pt x="21" y="98"/>
                    </a:cubicBezTo>
                    <a:cubicBezTo>
                      <a:pt x="18" y="97"/>
                      <a:pt x="15" y="95"/>
                      <a:pt x="13" y="93"/>
                    </a:cubicBezTo>
                    <a:cubicBezTo>
                      <a:pt x="10" y="91"/>
                      <a:pt x="9" y="89"/>
                      <a:pt x="7" y="86"/>
                    </a:cubicBezTo>
                    <a:cubicBezTo>
                      <a:pt x="5" y="84"/>
                      <a:pt x="4" y="81"/>
                      <a:pt x="3" y="78"/>
                    </a:cubicBezTo>
                    <a:cubicBezTo>
                      <a:pt x="2" y="75"/>
                      <a:pt x="1" y="72"/>
                      <a:pt x="1" y="70"/>
                    </a:cubicBezTo>
                    <a:cubicBezTo>
                      <a:pt x="0" y="64"/>
                      <a:pt x="0" y="58"/>
                      <a:pt x="0" y="52"/>
                    </a:cubicBezTo>
                    <a:cubicBezTo>
                      <a:pt x="0" y="45"/>
                      <a:pt x="2" y="39"/>
                      <a:pt x="5" y="34"/>
                    </a:cubicBezTo>
                    <a:cubicBezTo>
                      <a:pt x="7" y="28"/>
                      <a:pt x="11" y="24"/>
                      <a:pt x="15" y="19"/>
                    </a:cubicBezTo>
                    <a:cubicBezTo>
                      <a:pt x="19" y="15"/>
                      <a:pt x="23" y="12"/>
                      <a:pt x="28" y="8"/>
                    </a:cubicBezTo>
                    <a:cubicBezTo>
                      <a:pt x="30" y="7"/>
                      <a:pt x="33" y="5"/>
                      <a:pt x="35" y="4"/>
                    </a:cubicBezTo>
                    <a:cubicBezTo>
                      <a:pt x="38" y="3"/>
                      <a:pt x="41" y="2"/>
                      <a:pt x="44" y="1"/>
                    </a:cubicBezTo>
                    <a:cubicBezTo>
                      <a:pt x="46" y="0"/>
                      <a:pt x="49" y="0"/>
                      <a:pt x="52" y="0"/>
                    </a:cubicBezTo>
                    <a:cubicBezTo>
                      <a:pt x="55" y="0"/>
                      <a:pt x="58" y="0"/>
                      <a:pt x="60" y="1"/>
                    </a:cubicBezTo>
                    <a:cubicBezTo>
                      <a:pt x="65" y="3"/>
                      <a:pt x="69" y="5"/>
                      <a:pt x="73" y="8"/>
                    </a:cubicBezTo>
                    <a:cubicBezTo>
                      <a:pt x="77" y="11"/>
                      <a:pt x="80" y="14"/>
                      <a:pt x="82" y="18"/>
                    </a:cubicBezTo>
                    <a:cubicBezTo>
                      <a:pt x="83" y="19"/>
                      <a:pt x="83" y="19"/>
                      <a:pt x="84" y="20"/>
                    </a:cubicBezTo>
                    <a:cubicBezTo>
                      <a:pt x="84" y="21"/>
                      <a:pt x="85" y="22"/>
                      <a:pt x="85" y="23"/>
                    </a:cubicBezTo>
                    <a:cubicBezTo>
                      <a:pt x="85" y="23"/>
                      <a:pt x="86" y="24"/>
                      <a:pt x="86" y="25"/>
                    </a:cubicBezTo>
                    <a:cubicBezTo>
                      <a:pt x="86" y="26"/>
                      <a:pt x="86" y="27"/>
                      <a:pt x="86" y="28"/>
                    </a:cubicBezTo>
                    <a:cubicBezTo>
                      <a:pt x="86" y="28"/>
                      <a:pt x="86" y="28"/>
                      <a:pt x="85" y="28"/>
                    </a:cubicBezTo>
                    <a:cubicBezTo>
                      <a:pt x="85" y="28"/>
                      <a:pt x="85" y="29"/>
                      <a:pt x="85" y="29"/>
                    </a:cubicBezTo>
                    <a:cubicBezTo>
                      <a:pt x="84" y="29"/>
                      <a:pt x="84" y="29"/>
                      <a:pt x="84" y="29"/>
                    </a:cubicBezTo>
                    <a:cubicBezTo>
                      <a:pt x="83" y="30"/>
                      <a:pt x="83" y="30"/>
                      <a:pt x="83" y="30"/>
                    </a:cubicBezTo>
                    <a:cubicBezTo>
                      <a:pt x="82" y="31"/>
                      <a:pt x="81" y="31"/>
                      <a:pt x="79" y="31"/>
                    </a:cubicBezTo>
                    <a:cubicBezTo>
                      <a:pt x="78" y="30"/>
                      <a:pt x="76" y="29"/>
                      <a:pt x="75" y="28"/>
                    </a:cubicBezTo>
                    <a:cubicBezTo>
                      <a:pt x="74" y="27"/>
                      <a:pt x="72" y="26"/>
                      <a:pt x="71" y="25"/>
                    </a:cubicBezTo>
                    <a:cubicBezTo>
                      <a:pt x="70" y="23"/>
                      <a:pt x="69" y="22"/>
                      <a:pt x="67" y="21"/>
                    </a:cubicBezTo>
                    <a:cubicBezTo>
                      <a:pt x="66" y="20"/>
                      <a:pt x="65" y="19"/>
                      <a:pt x="63" y="18"/>
                    </a:cubicBezTo>
                    <a:cubicBezTo>
                      <a:pt x="61" y="17"/>
                      <a:pt x="59" y="17"/>
                      <a:pt x="56" y="16"/>
                    </a:cubicBezTo>
                    <a:cubicBezTo>
                      <a:pt x="54" y="16"/>
                      <a:pt x="52" y="16"/>
                      <a:pt x="49" y="16"/>
                    </a:cubicBezTo>
                    <a:cubicBezTo>
                      <a:pt x="47" y="17"/>
                      <a:pt x="45" y="17"/>
                      <a:pt x="43" y="18"/>
                    </a:cubicBezTo>
                    <a:cubicBezTo>
                      <a:pt x="40" y="19"/>
                      <a:pt x="38" y="20"/>
                      <a:pt x="36" y="21"/>
                    </a:cubicBezTo>
                    <a:cubicBezTo>
                      <a:pt x="32" y="24"/>
                      <a:pt x="29" y="27"/>
                      <a:pt x="26" y="31"/>
                    </a:cubicBezTo>
                    <a:cubicBezTo>
                      <a:pt x="23" y="34"/>
                      <a:pt x="20" y="38"/>
                      <a:pt x="19" y="43"/>
                    </a:cubicBezTo>
                    <a:cubicBezTo>
                      <a:pt x="17" y="46"/>
                      <a:pt x="16" y="50"/>
                      <a:pt x="15" y="54"/>
                    </a:cubicBezTo>
                    <a:cubicBezTo>
                      <a:pt x="14" y="58"/>
                      <a:pt x="14" y="61"/>
                      <a:pt x="14" y="65"/>
                    </a:cubicBezTo>
                    <a:cubicBezTo>
                      <a:pt x="14" y="67"/>
                      <a:pt x="14" y="69"/>
                      <a:pt x="15" y="71"/>
                    </a:cubicBezTo>
                    <a:cubicBezTo>
                      <a:pt x="16" y="73"/>
                      <a:pt x="17" y="75"/>
                      <a:pt x="18" y="76"/>
                    </a:cubicBezTo>
                    <a:cubicBezTo>
                      <a:pt x="19" y="78"/>
                      <a:pt x="20" y="79"/>
                      <a:pt x="22" y="80"/>
                    </a:cubicBezTo>
                    <a:cubicBezTo>
                      <a:pt x="23" y="81"/>
                      <a:pt x="25" y="82"/>
                      <a:pt x="27" y="83"/>
                    </a:cubicBezTo>
                    <a:cubicBezTo>
                      <a:pt x="29" y="83"/>
                      <a:pt x="30" y="84"/>
                      <a:pt x="32" y="84"/>
                    </a:cubicBezTo>
                    <a:cubicBezTo>
                      <a:pt x="33" y="84"/>
                      <a:pt x="35" y="84"/>
                      <a:pt x="36" y="83"/>
                    </a:cubicBezTo>
                    <a:cubicBezTo>
                      <a:pt x="38" y="83"/>
                      <a:pt x="39" y="82"/>
                      <a:pt x="41" y="82"/>
                    </a:cubicBezTo>
                    <a:cubicBezTo>
                      <a:pt x="42" y="81"/>
                      <a:pt x="44" y="80"/>
                      <a:pt x="45" y="79"/>
                    </a:cubicBezTo>
                    <a:cubicBezTo>
                      <a:pt x="48" y="78"/>
                      <a:pt x="50" y="76"/>
                      <a:pt x="52" y="73"/>
                    </a:cubicBezTo>
                    <a:cubicBezTo>
                      <a:pt x="54" y="71"/>
                      <a:pt x="56" y="68"/>
                      <a:pt x="57" y="65"/>
                    </a:cubicBezTo>
                    <a:cubicBezTo>
                      <a:pt x="58" y="64"/>
                      <a:pt x="58" y="63"/>
                      <a:pt x="59" y="61"/>
                    </a:cubicBezTo>
                    <a:cubicBezTo>
                      <a:pt x="59" y="60"/>
                      <a:pt x="59" y="59"/>
                      <a:pt x="59" y="58"/>
                    </a:cubicBezTo>
                    <a:cubicBezTo>
                      <a:pt x="58" y="57"/>
                      <a:pt x="56" y="57"/>
                      <a:pt x="54" y="57"/>
                    </a:cubicBezTo>
                    <a:cubicBezTo>
                      <a:pt x="52" y="56"/>
                      <a:pt x="50" y="56"/>
                      <a:pt x="48" y="56"/>
                    </a:cubicBezTo>
                    <a:cubicBezTo>
                      <a:pt x="46" y="56"/>
                      <a:pt x="44" y="55"/>
                      <a:pt x="42" y="55"/>
                    </a:cubicBezTo>
                    <a:cubicBezTo>
                      <a:pt x="40" y="55"/>
                      <a:pt x="38" y="54"/>
                      <a:pt x="36" y="54"/>
                    </a:cubicBezTo>
                    <a:cubicBezTo>
                      <a:pt x="35" y="54"/>
                      <a:pt x="34" y="53"/>
                      <a:pt x="33" y="52"/>
                    </a:cubicBezTo>
                    <a:cubicBezTo>
                      <a:pt x="32" y="51"/>
                      <a:pt x="32" y="50"/>
                      <a:pt x="32" y="49"/>
                    </a:cubicBezTo>
                    <a:cubicBezTo>
                      <a:pt x="32" y="48"/>
                      <a:pt x="32" y="46"/>
                      <a:pt x="32" y="45"/>
                    </a:cubicBezTo>
                    <a:cubicBezTo>
                      <a:pt x="32" y="44"/>
                      <a:pt x="32" y="43"/>
                      <a:pt x="33" y="42"/>
                    </a:cubicBezTo>
                    <a:cubicBezTo>
                      <a:pt x="33" y="41"/>
                      <a:pt x="34" y="40"/>
                      <a:pt x="35" y="40"/>
                    </a:cubicBezTo>
                    <a:cubicBezTo>
                      <a:pt x="38" y="39"/>
                      <a:pt x="41" y="39"/>
                      <a:pt x="44" y="39"/>
                    </a:cubicBezTo>
                    <a:cubicBezTo>
                      <a:pt x="47" y="40"/>
                      <a:pt x="50" y="40"/>
                      <a:pt x="54" y="40"/>
                    </a:cubicBezTo>
                    <a:cubicBezTo>
                      <a:pt x="57" y="40"/>
                      <a:pt x="60" y="41"/>
                      <a:pt x="63" y="41"/>
                    </a:cubicBezTo>
                    <a:cubicBezTo>
                      <a:pt x="66" y="41"/>
                      <a:pt x="70" y="42"/>
                      <a:pt x="73" y="43"/>
                    </a:cubicBezTo>
                    <a:cubicBezTo>
                      <a:pt x="75" y="44"/>
                      <a:pt x="77" y="45"/>
                      <a:pt x="78" y="46"/>
                    </a:cubicBezTo>
                    <a:cubicBezTo>
                      <a:pt x="79" y="48"/>
                      <a:pt x="79" y="50"/>
                      <a:pt x="79" y="52"/>
                    </a:cubicBezTo>
                    <a:cubicBezTo>
                      <a:pt x="80" y="54"/>
                      <a:pt x="79" y="56"/>
                      <a:pt x="79" y="58"/>
                    </a:cubicBezTo>
                    <a:cubicBezTo>
                      <a:pt x="78" y="61"/>
                      <a:pt x="77" y="62"/>
                      <a:pt x="77" y="6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0" name="îṧľídé">
                <a:extLst>
                  <a:ext uri="{FF2B5EF4-FFF2-40B4-BE49-F238E27FC236}">
                    <a16:creationId xmlns:a16="http://schemas.microsoft.com/office/drawing/2014/main" id="{1A216E12-342F-46F3-909C-0B32FB0709A1}"/>
                  </a:ext>
                </a:extLst>
              </p:cNvPr>
              <p:cNvSpPr/>
              <p:nvPr/>
            </p:nvSpPr>
            <p:spPr>
              <a:xfrm flipH="1">
                <a:off x="10512273" y="3705641"/>
                <a:ext cx="99423" cy="98313"/>
              </a:xfrm>
              <a:custGeom>
                <a:avLst/>
                <a:gdLst/>
                <a:ahLst/>
                <a:cxnLst/>
                <a:rect l="l" t="t" r="r" b="b"/>
                <a:pathLst>
                  <a:path w="76" h="75" extrusionOk="0">
                    <a:moveTo>
                      <a:pt x="39" y="71"/>
                    </a:moveTo>
                    <a:cubicBezTo>
                      <a:pt x="38" y="71"/>
                      <a:pt x="37" y="72"/>
                      <a:pt x="36" y="73"/>
                    </a:cubicBezTo>
                    <a:cubicBezTo>
                      <a:pt x="35" y="73"/>
                      <a:pt x="35" y="74"/>
                      <a:pt x="34" y="74"/>
                    </a:cubicBezTo>
                    <a:cubicBezTo>
                      <a:pt x="33" y="75"/>
                      <a:pt x="32" y="75"/>
                      <a:pt x="31" y="75"/>
                    </a:cubicBezTo>
                    <a:cubicBezTo>
                      <a:pt x="30" y="75"/>
                      <a:pt x="29" y="75"/>
                      <a:pt x="28" y="75"/>
                    </a:cubicBezTo>
                    <a:cubicBezTo>
                      <a:pt x="28" y="74"/>
                      <a:pt x="27" y="74"/>
                      <a:pt x="27" y="73"/>
                    </a:cubicBezTo>
                    <a:cubicBezTo>
                      <a:pt x="26" y="73"/>
                      <a:pt x="26" y="72"/>
                      <a:pt x="26" y="71"/>
                    </a:cubicBezTo>
                    <a:cubicBezTo>
                      <a:pt x="26" y="71"/>
                      <a:pt x="26" y="70"/>
                      <a:pt x="26" y="69"/>
                    </a:cubicBezTo>
                    <a:cubicBezTo>
                      <a:pt x="26" y="68"/>
                      <a:pt x="26" y="68"/>
                      <a:pt x="27" y="67"/>
                    </a:cubicBezTo>
                    <a:cubicBezTo>
                      <a:pt x="27" y="66"/>
                      <a:pt x="28" y="65"/>
                      <a:pt x="28" y="64"/>
                    </a:cubicBezTo>
                    <a:cubicBezTo>
                      <a:pt x="29" y="63"/>
                      <a:pt x="30" y="63"/>
                      <a:pt x="30" y="62"/>
                    </a:cubicBezTo>
                    <a:cubicBezTo>
                      <a:pt x="31" y="61"/>
                      <a:pt x="32" y="60"/>
                      <a:pt x="32" y="59"/>
                    </a:cubicBezTo>
                    <a:cubicBezTo>
                      <a:pt x="33" y="59"/>
                      <a:pt x="34" y="58"/>
                      <a:pt x="35" y="57"/>
                    </a:cubicBezTo>
                    <a:cubicBezTo>
                      <a:pt x="36" y="56"/>
                      <a:pt x="37" y="55"/>
                      <a:pt x="38" y="53"/>
                    </a:cubicBezTo>
                    <a:cubicBezTo>
                      <a:pt x="38" y="52"/>
                      <a:pt x="39" y="51"/>
                      <a:pt x="40" y="49"/>
                    </a:cubicBezTo>
                    <a:cubicBezTo>
                      <a:pt x="39" y="49"/>
                      <a:pt x="38" y="48"/>
                      <a:pt x="38" y="47"/>
                    </a:cubicBezTo>
                    <a:cubicBezTo>
                      <a:pt x="37" y="46"/>
                      <a:pt x="36" y="46"/>
                      <a:pt x="35" y="45"/>
                    </a:cubicBezTo>
                    <a:cubicBezTo>
                      <a:pt x="34" y="44"/>
                      <a:pt x="33" y="44"/>
                      <a:pt x="32" y="43"/>
                    </a:cubicBezTo>
                    <a:cubicBezTo>
                      <a:pt x="31" y="42"/>
                      <a:pt x="30" y="41"/>
                      <a:pt x="29" y="40"/>
                    </a:cubicBezTo>
                    <a:cubicBezTo>
                      <a:pt x="28" y="40"/>
                      <a:pt x="27" y="39"/>
                      <a:pt x="26" y="38"/>
                    </a:cubicBezTo>
                    <a:cubicBezTo>
                      <a:pt x="25" y="37"/>
                      <a:pt x="24" y="37"/>
                      <a:pt x="23" y="36"/>
                    </a:cubicBezTo>
                    <a:cubicBezTo>
                      <a:pt x="21" y="38"/>
                      <a:pt x="20" y="40"/>
                      <a:pt x="18" y="43"/>
                    </a:cubicBezTo>
                    <a:cubicBezTo>
                      <a:pt x="16" y="45"/>
                      <a:pt x="14" y="47"/>
                      <a:pt x="12" y="49"/>
                    </a:cubicBezTo>
                    <a:cubicBezTo>
                      <a:pt x="11" y="50"/>
                      <a:pt x="11" y="51"/>
                      <a:pt x="10" y="52"/>
                    </a:cubicBezTo>
                    <a:cubicBezTo>
                      <a:pt x="9" y="52"/>
                      <a:pt x="8" y="53"/>
                      <a:pt x="7" y="53"/>
                    </a:cubicBezTo>
                    <a:cubicBezTo>
                      <a:pt x="6" y="54"/>
                      <a:pt x="5" y="55"/>
                      <a:pt x="4" y="55"/>
                    </a:cubicBezTo>
                    <a:cubicBezTo>
                      <a:pt x="3" y="55"/>
                      <a:pt x="2" y="54"/>
                      <a:pt x="2" y="54"/>
                    </a:cubicBezTo>
                    <a:cubicBezTo>
                      <a:pt x="1" y="53"/>
                      <a:pt x="0" y="52"/>
                      <a:pt x="0" y="51"/>
                    </a:cubicBezTo>
                    <a:cubicBezTo>
                      <a:pt x="0" y="50"/>
                      <a:pt x="0" y="48"/>
                      <a:pt x="0" y="47"/>
                    </a:cubicBezTo>
                    <a:cubicBezTo>
                      <a:pt x="0" y="46"/>
                      <a:pt x="0" y="45"/>
                      <a:pt x="1" y="44"/>
                    </a:cubicBezTo>
                    <a:cubicBezTo>
                      <a:pt x="1" y="43"/>
                      <a:pt x="2" y="42"/>
                      <a:pt x="2" y="41"/>
                    </a:cubicBezTo>
                    <a:cubicBezTo>
                      <a:pt x="3" y="40"/>
                      <a:pt x="4" y="39"/>
                      <a:pt x="5" y="38"/>
                    </a:cubicBezTo>
                    <a:cubicBezTo>
                      <a:pt x="6" y="37"/>
                      <a:pt x="7" y="36"/>
                      <a:pt x="8" y="35"/>
                    </a:cubicBezTo>
                    <a:cubicBezTo>
                      <a:pt x="9" y="33"/>
                      <a:pt x="11" y="31"/>
                      <a:pt x="13" y="29"/>
                    </a:cubicBezTo>
                    <a:cubicBezTo>
                      <a:pt x="15" y="27"/>
                      <a:pt x="17" y="25"/>
                      <a:pt x="19" y="24"/>
                    </a:cubicBezTo>
                    <a:cubicBezTo>
                      <a:pt x="21" y="22"/>
                      <a:pt x="23" y="20"/>
                      <a:pt x="26" y="18"/>
                    </a:cubicBezTo>
                    <a:cubicBezTo>
                      <a:pt x="28" y="16"/>
                      <a:pt x="30" y="14"/>
                      <a:pt x="32" y="12"/>
                    </a:cubicBezTo>
                    <a:cubicBezTo>
                      <a:pt x="33" y="12"/>
                      <a:pt x="33" y="11"/>
                      <a:pt x="34" y="10"/>
                    </a:cubicBezTo>
                    <a:cubicBezTo>
                      <a:pt x="35" y="10"/>
                      <a:pt x="36" y="9"/>
                      <a:pt x="36" y="8"/>
                    </a:cubicBezTo>
                    <a:cubicBezTo>
                      <a:pt x="37" y="7"/>
                      <a:pt x="38" y="7"/>
                      <a:pt x="39" y="6"/>
                    </a:cubicBezTo>
                    <a:cubicBezTo>
                      <a:pt x="40" y="5"/>
                      <a:pt x="40" y="5"/>
                      <a:pt x="41" y="4"/>
                    </a:cubicBezTo>
                    <a:cubicBezTo>
                      <a:pt x="42" y="3"/>
                      <a:pt x="43" y="3"/>
                      <a:pt x="43" y="2"/>
                    </a:cubicBezTo>
                    <a:cubicBezTo>
                      <a:pt x="44" y="2"/>
                      <a:pt x="45" y="1"/>
                      <a:pt x="46" y="1"/>
                    </a:cubicBezTo>
                    <a:cubicBezTo>
                      <a:pt x="46" y="0"/>
                      <a:pt x="47" y="0"/>
                      <a:pt x="48" y="0"/>
                    </a:cubicBezTo>
                    <a:cubicBezTo>
                      <a:pt x="49" y="0"/>
                      <a:pt x="50" y="0"/>
                      <a:pt x="51" y="0"/>
                    </a:cubicBezTo>
                    <a:cubicBezTo>
                      <a:pt x="52" y="1"/>
                      <a:pt x="53" y="2"/>
                      <a:pt x="53" y="3"/>
                    </a:cubicBezTo>
                    <a:cubicBezTo>
                      <a:pt x="54" y="4"/>
                      <a:pt x="54" y="5"/>
                      <a:pt x="54" y="6"/>
                    </a:cubicBezTo>
                    <a:cubicBezTo>
                      <a:pt x="54" y="8"/>
                      <a:pt x="54" y="9"/>
                      <a:pt x="53" y="10"/>
                    </a:cubicBezTo>
                    <a:cubicBezTo>
                      <a:pt x="53" y="12"/>
                      <a:pt x="52" y="13"/>
                      <a:pt x="51" y="14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49" y="15"/>
                      <a:pt x="49" y="15"/>
                      <a:pt x="49" y="15"/>
                    </a:cubicBezTo>
                    <a:cubicBezTo>
                      <a:pt x="49" y="15"/>
                      <a:pt x="49" y="15"/>
                      <a:pt x="49" y="15"/>
                    </a:cubicBezTo>
                    <a:cubicBezTo>
                      <a:pt x="48" y="16"/>
                      <a:pt x="47" y="17"/>
                      <a:pt x="46" y="18"/>
                    </a:cubicBezTo>
                    <a:cubicBezTo>
                      <a:pt x="45" y="19"/>
                      <a:pt x="44" y="19"/>
                      <a:pt x="43" y="20"/>
                    </a:cubicBezTo>
                    <a:cubicBezTo>
                      <a:pt x="41" y="21"/>
                      <a:pt x="40" y="22"/>
                      <a:pt x="39" y="23"/>
                    </a:cubicBezTo>
                    <a:cubicBezTo>
                      <a:pt x="38" y="23"/>
                      <a:pt x="37" y="24"/>
                      <a:pt x="36" y="25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5" y="26"/>
                      <a:pt x="35" y="27"/>
                      <a:pt x="34" y="27"/>
                    </a:cubicBezTo>
                    <a:cubicBezTo>
                      <a:pt x="37" y="29"/>
                      <a:pt x="39" y="31"/>
                      <a:pt x="41" y="33"/>
                    </a:cubicBezTo>
                    <a:cubicBezTo>
                      <a:pt x="44" y="35"/>
                      <a:pt x="46" y="37"/>
                      <a:pt x="49" y="39"/>
                    </a:cubicBezTo>
                    <a:cubicBezTo>
                      <a:pt x="49" y="39"/>
                      <a:pt x="49" y="39"/>
                      <a:pt x="50" y="39"/>
                    </a:cubicBezTo>
                    <a:cubicBezTo>
                      <a:pt x="50" y="39"/>
                      <a:pt x="50" y="39"/>
                      <a:pt x="51" y="39"/>
                    </a:cubicBezTo>
                    <a:cubicBezTo>
                      <a:pt x="51" y="39"/>
                      <a:pt x="51" y="38"/>
                      <a:pt x="52" y="38"/>
                    </a:cubicBezTo>
                    <a:cubicBezTo>
                      <a:pt x="52" y="38"/>
                      <a:pt x="52" y="38"/>
                      <a:pt x="52" y="37"/>
                    </a:cubicBezTo>
                    <a:cubicBezTo>
                      <a:pt x="54" y="36"/>
                      <a:pt x="55" y="35"/>
                      <a:pt x="56" y="34"/>
                    </a:cubicBezTo>
                    <a:cubicBezTo>
                      <a:pt x="57" y="32"/>
                      <a:pt x="58" y="31"/>
                      <a:pt x="59" y="30"/>
                    </a:cubicBezTo>
                    <a:cubicBezTo>
                      <a:pt x="60" y="28"/>
                      <a:pt x="61" y="27"/>
                      <a:pt x="62" y="26"/>
                    </a:cubicBezTo>
                    <a:cubicBezTo>
                      <a:pt x="63" y="25"/>
                      <a:pt x="65" y="23"/>
                      <a:pt x="66" y="22"/>
                    </a:cubicBezTo>
                    <a:cubicBezTo>
                      <a:pt x="66" y="22"/>
                      <a:pt x="67" y="21"/>
                      <a:pt x="67" y="21"/>
                    </a:cubicBezTo>
                    <a:cubicBezTo>
                      <a:pt x="68" y="20"/>
                      <a:pt x="69" y="20"/>
                      <a:pt x="69" y="19"/>
                    </a:cubicBezTo>
                    <a:cubicBezTo>
                      <a:pt x="70" y="19"/>
                      <a:pt x="71" y="19"/>
                      <a:pt x="72" y="19"/>
                    </a:cubicBezTo>
                    <a:cubicBezTo>
                      <a:pt x="72" y="19"/>
                      <a:pt x="73" y="19"/>
                      <a:pt x="74" y="19"/>
                    </a:cubicBezTo>
                    <a:cubicBezTo>
                      <a:pt x="74" y="20"/>
                      <a:pt x="75" y="21"/>
                      <a:pt x="75" y="22"/>
                    </a:cubicBezTo>
                    <a:cubicBezTo>
                      <a:pt x="75" y="23"/>
                      <a:pt x="76" y="24"/>
                      <a:pt x="75" y="26"/>
                    </a:cubicBezTo>
                    <a:cubicBezTo>
                      <a:pt x="75" y="27"/>
                      <a:pt x="75" y="28"/>
                      <a:pt x="75" y="29"/>
                    </a:cubicBezTo>
                    <a:cubicBezTo>
                      <a:pt x="74" y="30"/>
                      <a:pt x="74" y="31"/>
                      <a:pt x="73" y="32"/>
                    </a:cubicBezTo>
                    <a:cubicBezTo>
                      <a:pt x="72" y="34"/>
                      <a:pt x="71" y="36"/>
                      <a:pt x="70" y="38"/>
                    </a:cubicBezTo>
                    <a:cubicBezTo>
                      <a:pt x="68" y="40"/>
                      <a:pt x="67" y="41"/>
                      <a:pt x="65" y="43"/>
                    </a:cubicBezTo>
                    <a:cubicBezTo>
                      <a:pt x="64" y="44"/>
                      <a:pt x="64" y="45"/>
                      <a:pt x="63" y="45"/>
                    </a:cubicBezTo>
                    <a:cubicBezTo>
                      <a:pt x="62" y="46"/>
                      <a:pt x="61" y="47"/>
                      <a:pt x="61" y="47"/>
                    </a:cubicBezTo>
                    <a:cubicBezTo>
                      <a:pt x="56" y="52"/>
                      <a:pt x="56" y="52"/>
                      <a:pt x="56" y="52"/>
                    </a:cubicBezTo>
                    <a:cubicBezTo>
                      <a:pt x="55" y="53"/>
                      <a:pt x="53" y="55"/>
                      <a:pt x="51" y="57"/>
                    </a:cubicBezTo>
                    <a:cubicBezTo>
                      <a:pt x="50" y="58"/>
                      <a:pt x="49" y="60"/>
                      <a:pt x="47" y="62"/>
                    </a:cubicBezTo>
                    <a:cubicBezTo>
                      <a:pt x="46" y="63"/>
                      <a:pt x="44" y="65"/>
                      <a:pt x="43" y="67"/>
                    </a:cubicBezTo>
                    <a:cubicBezTo>
                      <a:pt x="42" y="68"/>
                      <a:pt x="40" y="70"/>
                      <a:pt x="39" y="7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1" name="işlíde">
                <a:extLst>
                  <a:ext uri="{FF2B5EF4-FFF2-40B4-BE49-F238E27FC236}">
                    <a16:creationId xmlns:a16="http://schemas.microsoft.com/office/drawing/2014/main" id="{4D63A002-D40C-44D0-A3F0-6516A1AB7581}"/>
                  </a:ext>
                </a:extLst>
              </p:cNvPr>
              <p:cNvSpPr/>
              <p:nvPr/>
            </p:nvSpPr>
            <p:spPr>
              <a:xfrm flipH="1">
                <a:off x="10707787" y="4001135"/>
                <a:ext cx="139415" cy="216621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65" extrusionOk="0">
                    <a:moveTo>
                      <a:pt x="98" y="127"/>
                    </a:moveTo>
                    <a:cubicBezTo>
                      <a:pt x="99" y="130"/>
                      <a:pt x="100" y="133"/>
                      <a:pt x="102" y="136"/>
                    </a:cubicBezTo>
                    <a:cubicBezTo>
                      <a:pt x="103" y="139"/>
                      <a:pt x="104" y="142"/>
                      <a:pt x="105" y="145"/>
                    </a:cubicBezTo>
                    <a:cubicBezTo>
                      <a:pt x="106" y="148"/>
                      <a:pt x="106" y="151"/>
                      <a:pt x="106" y="154"/>
                    </a:cubicBezTo>
                    <a:cubicBezTo>
                      <a:pt x="106" y="157"/>
                      <a:pt x="104" y="160"/>
                      <a:pt x="102" y="163"/>
                    </a:cubicBezTo>
                    <a:cubicBezTo>
                      <a:pt x="100" y="165"/>
                      <a:pt x="98" y="165"/>
                      <a:pt x="96" y="165"/>
                    </a:cubicBezTo>
                    <a:cubicBezTo>
                      <a:pt x="94" y="164"/>
                      <a:pt x="92" y="164"/>
                      <a:pt x="90" y="163"/>
                    </a:cubicBezTo>
                    <a:cubicBezTo>
                      <a:pt x="88" y="161"/>
                      <a:pt x="87" y="159"/>
                      <a:pt x="85" y="158"/>
                    </a:cubicBezTo>
                    <a:cubicBezTo>
                      <a:pt x="83" y="156"/>
                      <a:pt x="82" y="155"/>
                      <a:pt x="80" y="153"/>
                    </a:cubicBezTo>
                    <a:cubicBezTo>
                      <a:pt x="77" y="149"/>
                      <a:pt x="74" y="145"/>
                      <a:pt x="71" y="141"/>
                    </a:cubicBezTo>
                    <a:cubicBezTo>
                      <a:pt x="67" y="137"/>
                      <a:pt x="64" y="133"/>
                      <a:pt x="62" y="128"/>
                    </a:cubicBezTo>
                    <a:cubicBezTo>
                      <a:pt x="57" y="120"/>
                      <a:pt x="52" y="112"/>
                      <a:pt x="48" y="105"/>
                    </a:cubicBezTo>
                    <a:cubicBezTo>
                      <a:pt x="43" y="97"/>
                      <a:pt x="39" y="89"/>
                      <a:pt x="34" y="81"/>
                    </a:cubicBezTo>
                    <a:cubicBezTo>
                      <a:pt x="30" y="73"/>
                      <a:pt x="25" y="66"/>
                      <a:pt x="21" y="58"/>
                    </a:cubicBezTo>
                    <a:cubicBezTo>
                      <a:pt x="17" y="50"/>
                      <a:pt x="12" y="42"/>
                      <a:pt x="8" y="34"/>
                    </a:cubicBezTo>
                    <a:cubicBezTo>
                      <a:pt x="7" y="32"/>
                      <a:pt x="5" y="30"/>
                      <a:pt x="4" y="27"/>
                    </a:cubicBezTo>
                    <a:cubicBezTo>
                      <a:pt x="3" y="25"/>
                      <a:pt x="2" y="22"/>
                      <a:pt x="1" y="20"/>
                    </a:cubicBezTo>
                    <a:cubicBezTo>
                      <a:pt x="0" y="17"/>
                      <a:pt x="0" y="15"/>
                      <a:pt x="0" y="12"/>
                    </a:cubicBezTo>
                    <a:cubicBezTo>
                      <a:pt x="0" y="9"/>
                      <a:pt x="0" y="7"/>
                      <a:pt x="1" y="4"/>
                    </a:cubicBezTo>
                    <a:cubicBezTo>
                      <a:pt x="3" y="3"/>
                      <a:pt x="4" y="2"/>
                      <a:pt x="5" y="1"/>
                    </a:cubicBezTo>
                    <a:cubicBezTo>
                      <a:pt x="7" y="1"/>
                      <a:pt x="8" y="0"/>
                      <a:pt x="10" y="1"/>
                    </a:cubicBezTo>
                    <a:cubicBezTo>
                      <a:pt x="12" y="1"/>
                      <a:pt x="13" y="1"/>
                      <a:pt x="15" y="1"/>
                    </a:cubicBezTo>
                    <a:cubicBezTo>
                      <a:pt x="16" y="2"/>
                      <a:pt x="18" y="3"/>
                      <a:pt x="19" y="4"/>
                    </a:cubicBezTo>
                    <a:cubicBezTo>
                      <a:pt x="23" y="7"/>
                      <a:pt x="27" y="12"/>
                      <a:pt x="30" y="18"/>
                    </a:cubicBezTo>
                    <a:cubicBezTo>
                      <a:pt x="33" y="22"/>
                      <a:pt x="35" y="26"/>
                      <a:pt x="38" y="31"/>
                    </a:cubicBezTo>
                    <a:cubicBezTo>
                      <a:pt x="40" y="35"/>
                      <a:pt x="43" y="40"/>
                      <a:pt x="45" y="44"/>
                    </a:cubicBezTo>
                    <a:cubicBezTo>
                      <a:pt x="48" y="49"/>
                      <a:pt x="51" y="54"/>
                      <a:pt x="53" y="58"/>
                    </a:cubicBezTo>
                    <a:cubicBezTo>
                      <a:pt x="56" y="63"/>
                      <a:pt x="59" y="68"/>
                      <a:pt x="61" y="72"/>
                    </a:cubicBezTo>
                    <a:cubicBezTo>
                      <a:pt x="64" y="77"/>
                      <a:pt x="67" y="82"/>
                      <a:pt x="71" y="87"/>
                    </a:cubicBezTo>
                    <a:cubicBezTo>
                      <a:pt x="74" y="91"/>
                      <a:pt x="77" y="96"/>
                      <a:pt x="80" y="101"/>
                    </a:cubicBezTo>
                    <a:cubicBezTo>
                      <a:pt x="83" y="105"/>
                      <a:pt x="86" y="109"/>
                      <a:pt x="89" y="114"/>
                    </a:cubicBezTo>
                    <a:cubicBezTo>
                      <a:pt x="92" y="118"/>
                      <a:pt x="95" y="123"/>
                      <a:pt x="98" y="12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2" name="iṩḷiḋe">
                <a:extLst>
                  <a:ext uri="{FF2B5EF4-FFF2-40B4-BE49-F238E27FC236}">
                    <a16:creationId xmlns:a16="http://schemas.microsoft.com/office/drawing/2014/main" id="{029DCDDB-DCB5-4B2E-815A-4DF576A0F24D}"/>
                  </a:ext>
                </a:extLst>
              </p:cNvPr>
              <p:cNvSpPr/>
              <p:nvPr/>
            </p:nvSpPr>
            <p:spPr>
              <a:xfrm flipH="1">
                <a:off x="9722996" y="3659540"/>
                <a:ext cx="56099" cy="80539"/>
              </a:xfrm>
              <a:custGeom>
                <a:avLst/>
                <a:gdLst/>
                <a:ahLst/>
                <a:cxnLst/>
                <a:rect l="l" t="t" r="r" b="b"/>
                <a:pathLst>
                  <a:path w="43" h="61" extrusionOk="0">
                    <a:moveTo>
                      <a:pt x="43" y="9"/>
                    </a:moveTo>
                    <a:cubicBezTo>
                      <a:pt x="43" y="9"/>
                      <a:pt x="43" y="9"/>
                      <a:pt x="42" y="10"/>
                    </a:cubicBezTo>
                    <a:cubicBezTo>
                      <a:pt x="42" y="10"/>
                      <a:pt x="41" y="10"/>
                      <a:pt x="41" y="10"/>
                    </a:cubicBezTo>
                    <a:cubicBezTo>
                      <a:pt x="40" y="10"/>
                      <a:pt x="39" y="10"/>
                      <a:pt x="39" y="10"/>
                    </a:cubicBezTo>
                    <a:cubicBezTo>
                      <a:pt x="38" y="10"/>
                      <a:pt x="37" y="10"/>
                      <a:pt x="37" y="10"/>
                    </a:cubicBezTo>
                    <a:cubicBezTo>
                      <a:pt x="36" y="10"/>
                      <a:pt x="35" y="10"/>
                      <a:pt x="35" y="11"/>
                    </a:cubicBezTo>
                    <a:cubicBezTo>
                      <a:pt x="34" y="11"/>
                      <a:pt x="34" y="12"/>
                      <a:pt x="34" y="12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35" y="18"/>
                      <a:pt x="35" y="22"/>
                      <a:pt x="35" y="25"/>
                    </a:cubicBezTo>
                    <a:cubicBezTo>
                      <a:pt x="35" y="29"/>
                      <a:pt x="35" y="33"/>
                      <a:pt x="34" y="36"/>
                    </a:cubicBezTo>
                    <a:cubicBezTo>
                      <a:pt x="34" y="38"/>
                      <a:pt x="34" y="40"/>
                      <a:pt x="34" y="41"/>
                    </a:cubicBezTo>
                    <a:cubicBezTo>
                      <a:pt x="33" y="43"/>
                      <a:pt x="33" y="45"/>
                      <a:pt x="33" y="47"/>
                    </a:cubicBezTo>
                    <a:cubicBezTo>
                      <a:pt x="32" y="49"/>
                      <a:pt x="32" y="50"/>
                      <a:pt x="31" y="52"/>
                    </a:cubicBezTo>
                    <a:cubicBezTo>
                      <a:pt x="30" y="54"/>
                      <a:pt x="29" y="55"/>
                      <a:pt x="28" y="57"/>
                    </a:cubicBezTo>
                    <a:cubicBezTo>
                      <a:pt x="27" y="58"/>
                      <a:pt x="26" y="59"/>
                      <a:pt x="24" y="60"/>
                    </a:cubicBezTo>
                    <a:cubicBezTo>
                      <a:pt x="23" y="60"/>
                      <a:pt x="21" y="61"/>
                      <a:pt x="20" y="61"/>
                    </a:cubicBezTo>
                    <a:cubicBezTo>
                      <a:pt x="18" y="61"/>
                      <a:pt x="16" y="60"/>
                      <a:pt x="15" y="60"/>
                    </a:cubicBezTo>
                    <a:cubicBezTo>
                      <a:pt x="14" y="59"/>
                      <a:pt x="13" y="58"/>
                      <a:pt x="12" y="57"/>
                    </a:cubicBezTo>
                    <a:cubicBezTo>
                      <a:pt x="10" y="56"/>
                      <a:pt x="9" y="55"/>
                      <a:pt x="9" y="54"/>
                    </a:cubicBezTo>
                    <a:cubicBezTo>
                      <a:pt x="8" y="52"/>
                      <a:pt x="7" y="51"/>
                      <a:pt x="6" y="50"/>
                    </a:cubicBezTo>
                    <a:cubicBezTo>
                      <a:pt x="5" y="47"/>
                      <a:pt x="3" y="45"/>
                      <a:pt x="2" y="42"/>
                    </a:cubicBezTo>
                    <a:cubicBezTo>
                      <a:pt x="1" y="39"/>
                      <a:pt x="1" y="36"/>
                      <a:pt x="0" y="33"/>
                    </a:cubicBezTo>
                    <a:cubicBezTo>
                      <a:pt x="0" y="33"/>
                      <a:pt x="0" y="32"/>
                      <a:pt x="0" y="32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29"/>
                      <a:pt x="0" y="29"/>
                      <a:pt x="1" y="29"/>
                    </a:cubicBezTo>
                    <a:cubicBezTo>
                      <a:pt x="1" y="29"/>
                      <a:pt x="1" y="28"/>
                      <a:pt x="2" y="28"/>
                    </a:cubicBezTo>
                    <a:cubicBezTo>
                      <a:pt x="2" y="28"/>
                      <a:pt x="3" y="28"/>
                      <a:pt x="3" y="28"/>
                    </a:cubicBezTo>
                    <a:cubicBezTo>
                      <a:pt x="4" y="28"/>
                      <a:pt x="5" y="28"/>
                      <a:pt x="5" y="29"/>
                    </a:cubicBezTo>
                    <a:cubicBezTo>
                      <a:pt x="6" y="29"/>
                      <a:pt x="7" y="29"/>
                      <a:pt x="7" y="30"/>
                    </a:cubicBezTo>
                    <a:cubicBezTo>
                      <a:pt x="8" y="31"/>
                      <a:pt x="8" y="31"/>
                      <a:pt x="8" y="32"/>
                    </a:cubicBezTo>
                    <a:cubicBezTo>
                      <a:pt x="9" y="33"/>
                      <a:pt x="9" y="33"/>
                      <a:pt x="9" y="34"/>
                    </a:cubicBezTo>
                    <a:cubicBezTo>
                      <a:pt x="10" y="36"/>
                      <a:pt x="10" y="38"/>
                      <a:pt x="11" y="39"/>
                    </a:cubicBezTo>
                    <a:cubicBezTo>
                      <a:pt x="11" y="41"/>
                      <a:pt x="12" y="43"/>
                      <a:pt x="12" y="45"/>
                    </a:cubicBezTo>
                    <a:cubicBezTo>
                      <a:pt x="13" y="45"/>
                      <a:pt x="13" y="46"/>
                      <a:pt x="13" y="47"/>
                    </a:cubicBezTo>
                    <a:cubicBezTo>
                      <a:pt x="14" y="47"/>
                      <a:pt x="14" y="48"/>
                      <a:pt x="15" y="49"/>
                    </a:cubicBezTo>
                    <a:cubicBezTo>
                      <a:pt x="15" y="49"/>
                      <a:pt x="16" y="50"/>
                      <a:pt x="16" y="50"/>
                    </a:cubicBezTo>
                    <a:cubicBezTo>
                      <a:pt x="17" y="50"/>
                      <a:pt x="18" y="50"/>
                      <a:pt x="19" y="50"/>
                    </a:cubicBezTo>
                    <a:cubicBezTo>
                      <a:pt x="20" y="50"/>
                      <a:pt x="20" y="50"/>
                      <a:pt x="21" y="49"/>
                    </a:cubicBezTo>
                    <a:cubicBezTo>
                      <a:pt x="21" y="48"/>
                      <a:pt x="22" y="48"/>
                      <a:pt x="22" y="47"/>
                    </a:cubicBezTo>
                    <a:cubicBezTo>
                      <a:pt x="23" y="46"/>
                      <a:pt x="23" y="45"/>
                      <a:pt x="23" y="44"/>
                    </a:cubicBezTo>
                    <a:cubicBezTo>
                      <a:pt x="23" y="43"/>
                      <a:pt x="24" y="42"/>
                      <a:pt x="24" y="42"/>
                    </a:cubicBezTo>
                    <a:cubicBezTo>
                      <a:pt x="25" y="37"/>
                      <a:pt x="25" y="33"/>
                      <a:pt x="26" y="29"/>
                    </a:cubicBezTo>
                    <a:cubicBezTo>
                      <a:pt x="26" y="26"/>
                      <a:pt x="26" y="23"/>
                      <a:pt x="26" y="20"/>
                    </a:cubicBezTo>
                    <a:cubicBezTo>
                      <a:pt x="26" y="17"/>
                      <a:pt x="26" y="14"/>
                      <a:pt x="25" y="11"/>
                    </a:cubicBezTo>
                    <a:cubicBezTo>
                      <a:pt x="25" y="11"/>
                      <a:pt x="25" y="10"/>
                      <a:pt x="25" y="10"/>
                    </a:cubicBezTo>
                    <a:cubicBezTo>
                      <a:pt x="24" y="9"/>
                      <a:pt x="24" y="9"/>
                      <a:pt x="23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1" y="9"/>
                      <a:pt x="21" y="9"/>
                      <a:pt x="20" y="9"/>
                    </a:cubicBezTo>
                    <a:cubicBezTo>
                      <a:pt x="19" y="9"/>
                      <a:pt x="18" y="8"/>
                      <a:pt x="18" y="8"/>
                    </a:cubicBezTo>
                    <a:cubicBezTo>
                      <a:pt x="17" y="8"/>
                      <a:pt x="17" y="7"/>
                      <a:pt x="16" y="7"/>
                    </a:cubicBezTo>
                    <a:cubicBezTo>
                      <a:pt x="16" y="6"/>
                      <a:pt x="16" y="5"/>
                      <a:pt x="16" y="5"/>
                    </a:cubicBezTo>
                    <a:cubicBezTo>
                      <a:pt x="16" y="4"/>
                      <a:pt x="16" y="4"/>
                      <a:pt x="16" y="3"/>
                    </a:cubicBezTo>
                    <a:cubicBezTo>
                      <a:pt x="16" y="2"/>
                      <a:pt x="17" y="2"/>
                      <a:pt x="17" y="2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9" y="1"/>
                      <a:pt x="20" y="0"/>
                      <a:pt x="20" y="1"/>
                    </a:cubicBezTo>
                    <a:cubicBezTo>
                      <a:pt x="23" y="0"/>
                      <a:pt x="26" y="0"/>
                      <a:pt x="29" y="1"/>
                    </a:cubicBezTo>
                    <a:cubicBezTo>
                      <a:pt x="32" y="1"/>
                      <a:pt x="35" y="1"/>
                      <a:pt x="38" y="2"/>
                    </a:cubicBezTo>
                    <a:cubicBezTo>
                      <a:pt x="39" y="2"/>
                      <a:pt x="40" y="3"/>
                      <a:pt x="41" y="3"/>
                    </a:cubicBezTo>
                    <a:cubicBezTo>
                      <a:pt x="42" y="4"/>
                      <a:pt x="42" y="5"/>
                      <a:pt x="43" y="6"/>
                    </a:cubicBezTo>
                    <a:cubicBezTo>
                      <a:pt x="43" y="6"/>
                      <a:pt x="43" y="7"/>
                      <a:pt x="43" y="7"/>
                    </a:cubicBezTo>
                    <a:cubicBezTo>
                      <a:pt x="43" y="8"/>
                      <a:pt x="43" y="8"/>
                      <a:pt x="43" y="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3" name="íṡľîḑê">
                <a:extLst>
                  <a:ext uri="{FF2B5EF4-FFF2-40B4-BE49-F238E27FC236}">
                    <a16:creationId xmlns:a16="http://schemas.microsoft.com/office/drawing/2014/main" id="{2AF71B42-A87E-4EDA-BE09-CE244C5E3164}"/>
                  </a:ext>
                </a:extLst>
              </p:cNvPr>
              <p:cNvSpPr/>
              <p:nvPr/>
            </p:nvSpPr>
            <p:spPr>
              <a:xfrm flipH="1">
                <a:off x="10120689" y="3304058"/>
                <a:ext cx="160522" cy="208845"/>
              </a:xfrm>
              <a:custGeom>
                <a:avLst/>
                <a:gdLst/>
                <a:ahLst/>
                <a:cxnLst/>
                <a:rect l="l" t="t" r="r" b="b"/>
                <a:pathLst>
                  <a:path w="122" h="159" extrusionOk="0">
                    <a:moveTo>
                      <a:pt x="122" y="117"/>
                    </a:moveTo>
                    <a:cubicBezTo>
                      <a:pt x="122" y="119"/>
                      <a:pt x="122" y="120"/>
                      <a:pt x="122" y="121"/>
                    </a:cubicBezTo>
                    <a:cubicBezTo>
                      <a:pt x="122" y="122"/>
                      <a:pt x="122" y="124"/>
                      <a:pt x="121" y="125"/>
                    </a:cubicBezTo>
                    <a:cubicBezTo>
                      <a:pt x="121" y="126"/>
                      <a:pt x="120" y="127"/>
                      <a:pt x="119" y="128"/>
                    </a:cubicBezTo>
                    <a:cubicBezTo>
                      <a:pt x="118" y="129"/>
                      <a:pt x="117" y="130"/>
                      <a:pt x="116" y="130"/>
                    </a:cubicBezTo>
                    <a:cubicBezTo>
                      <a:pt x="114" y="131"/>
                      <a:pt x="112" y="131"/>
                      <a:pt x="111" y="131"/>
                    </a:cubicBezTo>
                    <a:cubicBezTo>
                      <a:pt x="109" y="131"/>
                      <a:pt x="108" y="130"/>
                      <a:pt x="106" y="129"/>
                    </a:cubicBezTo>
                    <a:cubicBezTo>
                      <a:pt x="104" y="128"/>
                      <a:pt x="103" y="128"/>
                      <a:pt x="101" y="127"/>
                    </a:cubicBezTo>
                    <a:cubicBezTo>
                      <a:pt x="100" y="126"/>
                      <a:pt x="98" y="125"/>
                      <a:pt x="97" y="124"/>
                    </a:cubicBezTo>
                    <a:cubicBezTo>
                      <a:pt x="92" y="121"/>
                      <a:pt x="87" y="117"/>
                      <a:pt x="82" y="114"/>
                    </a:cubicBezTo>
                    <a:cubicBezTo>
                      <a:pt x="77" y="111"/>
                      <a:pt x="73" y="108"/>
                      <a:pt x="68" y="105"/>
                    </a:cubicBezTo>
                    <a:cubicBezTo>
                      <a:pt x="66" y="104"/>
                      <a:pt x="64" y="102"/>
                      <a:pt x="62" y="101"/>
                    </a:cubicBezTo>
                    <a:cubicBezTo>
                      <a:pt x="60" y="100"/>
                      <a:pt x="58" y="99"/>
                      <a:pt x="56" y="99"/>
                    </a:cubicBezTo>
                    <a:cubicBezTo>
                      <a:pt x="53" y="98"/>
                      <a:pt x="51" y="97"/>
                      <a:pt x="49" y="97"/>
                    </a:cubicBezTo>
                    <a:cubicBezTo>
                      <a:pt x="47" y="97"/>
                      <a:pt x="45" y="97"/>
                      <a:pt x="42" y="98"/>
                    </a:cubicBezTo>
                    <a:cubicBezTo>
                      <a:pt x="42" y="98"/>
                      <a:pt x="41" y="98"/>
                      <a:pt x="41" y="98"/>
                    </a:cubicBezTo>
                    <a:cubicBezTo>
                      <a:pt x="40" y="99"/>
                      <a:pt x="40" y="99"/>
                      <a:pt x="40" y="99"/>
                    </a:cubicBezTo>
                    <a:cubicBezTo>
                      <a:pt x="40" y="101"/>
                      <a:pt x="41" y="103"/>
                      <a:pt x="42" y="106"/>
                    </a:cubicBezTo>
                    <a:cubicBezTo>
                      <a:pt x="42" y="108"/>
                      <a:pt x="43" y="110"/>
                      <a:pt x="43" y="112"/>
                    </a:cubicBezTo>
                    <a:cubicBezTo>
                      <a:pt x="44" y="114"/>
                      <a:pt x="45" y="117"/>
                      <a:pt x="45" y="119"/>
                    </a:cubicBezTo>
                    <a:cubicBezTo>
                      <a:pt x="46" y="121"/>
                      <a:pt x="47" y="123"/>
                      <a:pt x="47" y="125"/>
                    </a:cubicBezTo>
                    <a:cubicBezTo>
                      <a:pt x="48" y="127"/>
                      <a:pt x="49" y="129"/>
                      <a:pt x="50" y="131"/>
                    </a:cubicBezTo>
                    <a:cubicBezTo>
                      <a:pt x="51" y="133"/>
                      <a:pt x="52" y="135"/>
                      <a:pt x="53" y="137"/>
                    </a:cubicBezTo>
                    <a:cubicBezTo>
                      <a:pt x="54" y="141"/>
                      <a:pt x="56" y="144"/>
                      <a:pt x="58" y="148"/>
                    </a:cubicBezTo>
                    <a:cubicBezTo>
                      <a:pt x="59" y="150"/>
                      <a:pt x="59" y="152"/>
                      <a:pt x="59" y="155"/>
                    </a:cubicBezTo>
                    <a:cubicBezTo>
                      <a:pt x="59" y="156"/>
                      <a:pt x="58" y="156"/>
                      <a:pt x="57" y="157"/>
                    </a:cubicBezTo>
                    <a:cubicBezTo>
                      <a:pt x="56" y="157"/>
                      <a:pt x="55" y="158"/>
                      <a:pt x="54" y="158"/>
                    </a:cubicBezTo>
                    <a:cubicBezTo>
                      <a:pt x="51" y="159"/>
                      <a:pt x="48" y="159"/>
                      <a:pt x="46" y="158"/>
                    </a:cubicBezTo>
                    <a:cubicBezTo>
                      <a:pt x="43" y="157"/>
                      <a:pt x="41" y="155"/>
                      <a:pt x="39" y="153"/>
                    </a:cubicBezTo>
                    <a:cubicBezTo>
                      <a:pt x="37" y="149"/>
                      <a:pt x="35" y="146"/>
                      <a:pt x="33" y="142"/>
                    </a:cubicBezTo>
                    <a:cubicBezTo>
                      <a:pt x="31" y="139"/>
                      <a:pt x="29" y="135"/>
                      <a:pt x="28" y="131"/>
                    </a:cubicBezTo>
                    <a:cubicBezTo>
                      <a:pt x="27" y="128"/>
                      <a:pt x="25" y="125"/>
                      <a:pt x="24" y="122"/>
                    </a:cubicBezTo>
                    <a:cubicBezTo>
                      <a:pt x="23" y="118"/>
                      <a:pt x="22" y="115"/>
                      <a:pt x="21" y="112"/>
                    </a:cubicBezTo>
                    <a:cubicBezTo>
                      <a:pt x="19" y="109"/>
                      <a:pt x="18" y="105"/>
                      <a:pt x="17" y="102"/>
                    </a:cubicBezTo>
                    <a:cubicBezTo>
                      <a:pt x="16" y="99"/>
                      <a:pt x="15" y="95"/>
                      <a:pt x="14" y="92"/>
                    </a:cubicBezTo>
                    <a:cubicBezTo>
                      <a:pt x="14" y="90"/>
                      <a:pt x="13" y="89"/>
                      <a:pt x="13" y="87"/>
                    </a:cubicBezTo>
                    <a:cubicBezTo>
                      <a:pt x="12" y="85"/>
                      <a:pt x="11" y="84"/>
                      <a:pt x="11" y="82"/>
                    </a:cubicBezTo>
                    <a:cubicBezTo>
                      <a:pt x="10" y="80"/>
                      <a:pt x="10" y="79"/>
                      <a:pt x="9" y="77"/>
                    </a:cubicBezTo>
                    <a:cubicBezTo>
                      <a:pt x="9" y="76"/>
                      <a:pt x="8" y="74"/>
                      <a:pt x="8" y="72"/>
                    </a:cubicBezTo>
                    <a:cubicBezTo>
                      <a:pt x="7" y="69"/>
                      <a:pt x="6" y="65"/>
                      <a:pt x="5" y="61"/>
                    </a:cubicBezTo>
                    <a:cubicBezTo>
                      <a:pt x="3" y="57"/>
                      <a:pt x="2" y="53"/>
                      <a:pt x="2" y="49"/>
                    </a:cubicBezTo>
                    <a:cubicBezTo>
                      <a:pt x="1" y="45"/>
                      <a:pt x="0" y="41"/>
                      <a:pt x="0" y="37"/>
                    </a:cubicBezTo>
                    <a:cubicBezTo>
                      <a:pt x="0" y="32"/>
                      <a:pt x="1" y="29"/>
                      <a:pt x="3" y="25"/>
                    </a:cubicBezTo>
                    <a:cubicBezTo>
                      <a:pt x="5" y="23"/>
                      <a:pt x="7" y="22"/>
                      <a:pt x="9" y="23"/>
                    </a:cubicBezTo>
                    <a:cubicBezTo>
                      <a:pt x="11" y="23"/>
                      <a:pt x="13" y="24"/>
                      <a:pt x="14" y="25"/>
                    </a:cubicBezTo>
                    <a:cubicBezTo>
                      <a:pt x="16" y="27"/>
                      <a:pt x="17" y="28"/>
                      <a:pt x="18" y="30"/>
                    </a:cubicBezTo>
                    <a:cubicBezTo>
                      <a:pt x="19" y="33"/>
                      <a:pt x="20" y="34"/>
                      <a:pt x="20" y="36"/>
                    </a:cubicBezTo>
                    <a:cubicBezTo>
                      <a:pt x="21" y="38"/>
                      <a:pt x="21" y="39"/>
                      <a:pt x="21" y="41"/>
                    </a:cubicBezTo>
                    <a:cubicBezTo>
                      <a:pt x="21" y="42"/>
                      <a:pt x="21" y="44"/>
                      <a:pt x="22" y="45"/>
                    </a:cubicBezTo>
                    <a:cubicBezTo>
                      <a:pt x="22" y="47"/>
                      <a:pt x="22" y="48"/>
                      <a:pt x="23" y="50"/>
                    </a:cubicBezTo>
                    <a:cubicBezTo>
                      <a:pt x="23" y="51"/>
                      <a:pt x="23" y="53"/>
                      <a:pt x="24" y="54"/>
                    </a:cubicBezTo>
                    <a:cubicBezTo>
                      <a:pt x="24" y="56"/>
                      <a:pt x="25" y="58"/>
                      <a:pt x="26" y="60"/>
                    </a:cubicBezTo>
                    <a:cubicBezTo>
                      <a:pt x="26" y="62"/>
                      <a:pt x="27" y="64"/>
                      <a:pt x="28" y="66"/>
                    </a:cubicBezTo>
                    <a:cubicBezTo>
                      <a:pt x="30" y="63"/>
                      <a:pt x="32" y="60"/>
                      <a:pt x="33" y="57"/>
                    </a:cubicBezTo>
                    <a:cubicBezTo>
                      <a:pt x="35" y="54"/>
                      <a:pt x="36" y="51"/>
                      <a:pt x="38" y="48"/>
                    </a:cubicBezTo>
                    <a:cubicBezTo>
                      <a:pt x="39" y="45"/>
                      <a:pt x="40" y="42"/>
                      <a:pt x="42" y="38"/>
                    </a:cubicBezTo>
                    <a:cubicBezTo>
                      <a:pt x="43" y="35"/>
                      <a:pt x="44" y="32"/>
                      <a:pt x="45" y="29"/>
                    </a:cubicBezTo>
                    <a:cubicBezTo>
                      <a:pt x="46" y="26"/>
                      <a:pt x="47" y="24"/>
                      <a:pt x="48" y="21"/>
                    </a:cubicBezTo>
                    <a:cubicBezTo>
                      <a:pt x="49" y="19"/>
                      <a:pt x="51" y="16"/>
                      <a:pt x="52" y="13"/>
                    </a:cubicBezTo>
                    <a:cubicBezTo>
                      <a:pt x="53" y="11"/>
                      <a:pt x="54" y="8"/>
                      <a:pt x="56" y="6"/>
                    </a:cubicBezTo>
                    <a:cubicBezTo>
                      <a:pt x="57" y="4"/>
                      <a:pt x="59" y="2"/>
                      <a:pt x="62" y="1"/>
                    </a:cubicBezTo>
                    <a:cubicBezTo>
                      <a:pt x="64" y="0"/>
                      <a:pt x="65" y="0"/>
                      <a:pt x="67" y="0"/>
                    </a:cubicBezTo>
                    <a:cubicBezTo>
                      <a:pt x="69" y="1"/>
                      <a:pt x="70" y="1"/>
                      <a:pt x="72" y="2"/>
                    </a:cubicBezTo>
                    <a:cubicBezTo>
                      <a:pt x="73" y="3"/>
                      <a:pt x="75" y="4"/>
                      <a:pt x="76" y="6"/>
                    </a:cubicBezTo>
                    <a:cubicBezTo>
                      <a:pt x="77" y="7"/>
                      <a:pt x="78" y="8"/>
                      <a:pt x="79" y="10"/>
                    </a:cubicBezTo>
                    <a:cubicBezTo>
                      <a:pt x="79" y="11"/>
                      <a:pt x="79" y="11"/>
                      <a:pt x="79" y="12"/>
                    </a:cubicBezTo>
                    <a:cubicBezTo>
                      <a:pt x="79" y="13"/>
                      <a:pt x="79" y="13"/>
                      <a:pt x="79" y="14"/>
                    </a:cubicBezTo>
                    <a:cubicBezTo>
                      <a:pt x="78" y="15"/>
                      <a:pt x="77" y="17"/>
                      <a:pt x="76" y="18"/>
                    </a:cubicBezTo>
                    <a:cubicBezTo>
                      <a:pt x="75" y="19"/>
                      <a:pt x="74" y="20"/>
                      <a:pt x="73" y="22"/>
                    </a:cubicBezTo>
                    <a:cubicBezTo>
                      <a:pt x="72" y="23"/>
                      <a:pt x="71" y="24"/>
                      <a:pt x="70" y="26"/>
                    </a:cubicBezTo>
                    <a:cubicBezTo>
                      <a:pt x="69" y="27"/>
                      <a:pt x="68" y="28"/>
                      <a:pt x="67" y="30"/>
                    </a:cubicBezTo>
                    <a:cubicBezTo>
                      <a:pt x="63" y="36"/>
                      <a:pt x="60" y="43"/>
                      <a:pt x="57" y="50"/>
                    </a:cubicBezTo>
                    <a:cubicBezTo>
                      <a:pt x="55" y="57"/>
                      <a:pt x="53" y="64"/>
                      <a:pt x="50" y="71"/>
                    </a:cubicBezTo>
                    <a:cubicBezTo>
                      <a:pt x="54" y="74"/>
                      <a:pt x="57" y="75"/>
                      <a:pt x="60" y="77"/>
                    </a:cubicBezTo>
                    <a:cubicBezTo>
                      <a:pt x="64" y="79"/>
                      <a:pt x="67" y="80"/>
                      <a:pt x="71" y="82"/>
                    </a:cubicBezTo>
                    <a:cubicBezTo>
                      <a:pt x="75" y="85"/>
                      <a:pt x="80" y="87"/>
                      <a:pt x="84" y="89"/>
                    </a:cubicBezTo>
                    <a:cubicBezTo>
                      <a:pt x="89" y="91"/>
                      <a:pt x="94" y="94"/>
                      <a:pt x="99" y="96"/>
                    </a:cubicBezTo>
                    <a:cubicBezTo>
                      <a:pt x="103" y="99"/>
                      <a:pt x="108" y="102"/>
                      <a:pt x="112" y="105"/>
                    </a:cubicBezTo>
                    <a:cubicBezTo>
                      <a:pt x="116" y="109"/>
                      <a:pt x="119" y="113"/>
                      <a:pt x="122" y="11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4" name="íş1íḑé">
                <a:extLst>
                  <a:ext uri="{FF2B5EF4-FFF2-40B4-BE49-F238E27FC236}">
                    <a16:creationId xmlns:a16="http://schemas.microsoft.com/office/drawing/2014/main" id="{E1B47FF2-F035-4C79-8AC1-380684AC18A3}"/>
                  </a:ext>
                </a:extLst>
              </p:cNvPr>
              <p:cNvSpPr/>
              <p:nvPr/>
            </p:nvSpPr>
            <p:spPr>
              <a:xfrm flipH="1">
                <a:off x="9868521" y="3751742"/>
                <a:ext cx="69430" cy="103867"/>
              </a:xfrm>
              <a:custGeom>
                <a:avLst/>
                <a:gdLst/>
                <a:ahLst/>
                <a:cxnLst/>
                <a:rect l="l" t="t" r="r" b="b"/>
                <a:pathLst>
                  <a:path w="53" h="79" extrusionOk="0">
                    <a:moveTo>
                      <a:pt x="52" y="68"/>
                    </a:moveTo>
                    <a:cubicBezTo>
                      <a:pt x="52" y="69"/>
                      <a:pt x="52" y="69"/>
                      <a:pt x="51" y="69"/>
                    </a:cubicBezTo>
                    <a:cubicBezTo>
                      <a:pt x="51" y="70"/>
                      <a:pt x="50" y="70"/>
                      <a:pt x="50" y="70"/>
                    </a:cubicBezTo>
                    <a:cubicBezTo>
                      <a:pt x="47" y="72"/>
                      <a:pt x="44" y="73"/>
                      <a:pt x="41" y="74"/>
                    </a:cubicBezTo>
                    <a:cubicBezTo>
                      <a:pt x="38" y="75"/>
                      <a:pt x="35" y="76"/>
                      <a:pt x="32" y="77"/>
                    </a:cubicBezTo>
                    <a:cubicBezTo>
                      <a:pt x="29" y="77"/>
                      <a:pt x="26" y="78"/>
                      <a:pt x="23" y="78"/>
                    </a:cubicBezTo>
                    <a:cubicBezTo>
                      <a:pt x="20" y="79"/>
                      <a:pt x="17" y="79"/>
                      <a:pt x="14" y="79"/>
                    </a:cubicBezTo>
                    <a:cubicBezTo>
                      <a:pt x="12" y="79"/>
                      <a:pt x="11" y="78"/>
                      <a:pt x="10" y="78"/>
                    </a:cubicBezTo>
                    <a:cubicBezTo>
                      <a:pt x="8" y="77"/>
                      <a:pt x="7" y="76"/>
                      <a:pt x="6" y="75"/>
                    </a:cubicBezTo>
                    <a:cubicBezTo>
                      <a:pt x="5" y="74"/>
                      <a:pt x="5" y="73"/>
                      <a:pt x="4" y="71"/>
                    </a:cubicBezTo>
                    <a:cubicBezTo>
                      <a:pt x="3" y="70"/>
                      <a:pt x="3" y="69"/>
                      <a:pt x="2" y="67"/>
                    </a:cubicBezTo>
                    <a:cubicBezTo>
                      <a:pt x="1" y="65"/>
                      <a:pt x="1" y="62"/>
                      <a:pt x="0" y="59"/>
                    </a:cubicBezTo>
                    <a:cubicBezTo>
                      <a:pt x="0" y="56"/>
                      <a:pt x="0" y="53"/>
                      <a:pt x="0" y="50"/>
                    </a:cubicBezTo>
                    <a:cubicBezTo>
                      <a:pt x="0" y="46"/>
                      <a:pt x="1" y="41"/>
                      <a:pt x="1" y="37"/>
                    </a:cubicBezTo>
                    <a:cubicBezTo>
                      <a:pt x="2" y="33"/>
                      <a:pt x="3" y="28"/>
                      <a:pt x="4" y="24"/>
                    </a:cubicBezTo>
                    <a:cubicBezTo>
                      <a:pt x="4" y="22"/>
                      <a:pt x="5" y="19"/>
                      <a:pt x="5" y="17"/>
                    </a:cubicBezTo>
                    <a:cubicBezTo>
                      <a:pt x="6" y="15"/>
                      <a:pt x="6" y="13"/>
                      <a:pt x="7" y="11"/>
                    </a:cubicBezTo>
                    <a:cubicBezTo>
                      <a:pt x="7" y="9"/>
                      <a:pt x="8" y="7"/>
                      <a:pt x="9" y="5"/>
                    </a:cubicBezTo>
                    <a:cubicBezTo>
                      <a:pt x="10" y="3"/>
                      <a:pt x="12" y="1"/>
                      <a:pt x="13" y="0"/>
                    </a:cubicBezTo>
                    <a:cubicBezTo>
                      <a:pt x="14" y="0"/>
                      <a:pt x="15" y="0"/>
                      <a:pt x="15" y="0"/>
                    </a:cubicBezTo>
                    <a:cubicBezTo>
                      <a:pt x="16" y="0"/>
                      <a:pt x="17" y="1"/>
                      <a:pt x="17" y="1"/>
                    </a:cubicBezTo>
                    <a:cubicBezTo>
                      <a:pt x="17" y="2"/>
                      <a:pt x="18" y="2"/>
                      <a:pt x="18" y="3"/>
                    </a:cubicBezTo>
                    <a:cubicBezTo>
                      <a:pt x="18" y="4"/>
                      <a:pt x="18" y="4"/>
                      <a:pt x="18" y="5"/>
                    </a:cubicBezTo>
                    <a:cubicBezTo>
                      <a:pt x="18" y="8"/>
                      <a:pt x="18" y="10"/>
                      <a:pt x="17" y="13"/>
                    </a:cubicBezTo>
                    <a:cubicBezTo>
                      <a:pt x="17" y="15"/>
                      <a:pt x="17" y="18"/>
                      <a:pt x="17" y="20"/>
                    </a:cubicBezTo>
                    <a:cubicBezTo>
                      <a:pt x="16" y="22"/>
                      <a:pt x="16" y="24"/>
                      <a:pt x="16" y="26"/>
                    </a:cubicBezTo>
                    <a:cubicBezTo>
                      <a:pt x="16" y="28"/>
                      <a:pt x="15" y="30"/>
                      <a:pt x="15" y="32"/>
                    </a:cubicBezTo>
                    <a:cubicBezTo>
                      <a:pt x="15" y="34"/>
                      <a:pt x="15" y="36"/>
                      <a:pt x="14" y="38"/>
                    </a:cubicBezTo>
                    <a:cubicBezTo>
                      <a:pt x="14" y="40"/>
                      <a:pt x="14" y="42"/>
                      <a:pt x="14" y="44"/>
                    </a:cubicBezTo>
                    <a:cubicBezTo>
                      <a:pt x="14" y="46"/>
                      <a:pt x="14" y="48"/>
                      <a:pt x="14" y="50"/>
                    </a:cubicBezTo>
                    <a:cubicBezTo>
                      <a:pt x="14" y="52"/>
                      <a:pt x="14" y="54"/>
                      <a:pt x="14" y="55"/>
                    </a:cubicBezTo>
                    <a:cubicBezTo>
                      <a:pt x="14" y="57"/>
                      <a:pt x="14" y="59"/>
                      <a:pt x="15" y="61"/>
                    </a:cubicBezTo>
                    <a:cubicBezTo>
                      <a:pt x="15" y="63"/>
                      <a:pt x="16" y="64"/>
                      <a:pt x="17" y="66"/>
                    </a:cubicBezTo>
                    <a:cubicBezTo>
                      <a:pt x="20" y="66"/>
                      <a:pt x="22" y="65"/>
                      <a:pt x="25" y="65"/>
                    </a:cubicBezTo>
                    <a:cubicBezTo>
                      <a:pt x="27" y="64"/>
                      <a:pt x="30" y="64"/>
                      <a:pt x="32" y="63"/>
                    </a:cubicBezTo>
                    <a:cubicBezTo>
                      <a:pt x="35" y="63"/>
                      <a:pt x="37" y="62"/>
                      <a:pt x="38" y="62"/>
                    </a:cubicBezTo>
                    <a:cubicBezTo>
                      <a:pt x="40" y="61"/>
                      <a:pt x="42" y="61"/>
                      <a:pt x="44" y="61"/>
                    </a:cubicBezTo>
                    <a:cubicBezTo>
                      <a:pt x="46" y="61"/>
                      <a:pt x="48" y="61"/>
                      <a:pt x="49" y="62"/>
                    </a:cubicBezTo>
                    <a:cubicBezTo>
                      <a:pt x="51" y="64"/>
                      <a:pt x="52" y="65"/>
                      <a:pt x="52" y="66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53" y="67"/>
                      <a:pt x="53" y="68"/>
                      <a:pt x="52" y="6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5" name="ïSļíḋe">
                <a:extLst>
                  <a:ext uri="{FF2B5EF4-FFF2-40B4-BE49-F238E27FC236}">
                    <a16:creationId xmlns:a16="http://schemas.microsoft.com/office/drawing/2014/main" id="{23DF667F-0405-42E9-ACDF-40E4DF51B9BC}"/>
                  </a:ext>
                </a:extLst>
              </p:cNvPr>
              <p:cNvSpPr/>
              <p:nvPr/>
            </p:nvSpPr>
            <p:spPr>
              <a:xfrm flipH="1">
                <a:off x="10287321" y="3411813"/>
                <a:ext cx="268276" cy="288829"/>
              </a:xfrm>
              <a:custGeom>
                <a:avLst/>
                <a:gdLst/>
                <a:ahLst/>
                <a:cxnLst/>
                <a:rect l="l" t="t" r="r" b="b"/>
                <a:pathLst>
                  <a:path w="204" h="220" extrusionOk="0">
                    <a:moveTo>
                      <a:pt x="204" y="144"/>
                    </a:moveTo>
                    <a:cubicBezTo>
                      <a:pt x="204" y="147"/>
                      <a:pt x="203" y="150"/>
                      <a:pt x="201" y="152"/>
                    </a:cubicBezTo>
                    <a:cubicBezTo>
                      <a:pt x="200" y="155"/>
                      <a:pt x="198" y="156"/>
                      <a:pt x="195" y="158"/>
                    </a:cubicBezTo>
                    <a:cubicBezTo>
                      <a:pt x="193" y="159"/>
                      <a:pt x="192" y="160"/>
                      <a:pt x="190" y="161"/>
                    </a:cubicBezTo>
                    <a:cubicBezTo>
                      <a:pt x="188" y="162"/>
                      <a:pt x="186" y="163"/>
                      <a:pt x="184" y="163"/>
                    </a:cubicBezTo>
                    <a:cubicBezTo>
                      <a:pt x="182" y="163"/>
                      <a:pt x="180" y="162"/>
                      <a:pt x="179" y="160"/>
                    </a:cubicBezTo>
                    <a:cubicBezTo>
                      <a:pt x="177" y="158"/>
                      <a:pt x="176" y="157"/>
                      <a:pt x="174" y="155"/>
                    </a:cubicBezTo>
                    <a:cubicBezTo>
                      <a:pt x="168" y="148"/>
                      <a:pt x="163" y="140"/>
                      <a:pt x="158" y="132"/>
                    </a:cubicBezTo>
                    <a:cubicBezTo>
                      <a:pt x="154" y="123"/>
                      <a:pt x="149" y="115"/>
                      <a:pt x="144" y="106"/>
                    </a:cubicBezTo>
                    <a:cubicBezTo>
                      <a:pt x="142" y="103"/>
                      <a:pt x="140" y="100"/>
                      <a:pt x="139" y="96"/>
                    </a:cubicBezTo>
                    <a:cubicBezTo>
                      <a:pt x="137" y="92"/>
                      <a:pt x="135" y="89"/>
                      <a:pt x="134" y="85"/>
                    </a:cubicBezTo>
                    <a:cubicBezTo>
                      <a:pt x="133" y="82"/>
                      <a:pt x="131" y="80"/>
                      <a:pt x="130" y="77"/>
                    </a:cubicBezTo>
                    <a:cubicBezTo>
                      <a:pt x="129" y="75"/>
                      <a:pt x="128" y="72"/>
                      <a:pt x="126" y="69"/>
                    </a:cubicBezTo>
                    <a:cubicBezTo>
                      <a:pt x="125" y="67"/>
                      <a:pt x="124" y="64"/>
                      <a:pt x="122" y="61"/>
                    </a:cubicBezTo>
                    <a:cubicBezTo>
                      <a:pt x="121" y="59"/>
                      <a:pt x="119" y="56"/>
                      <a:pt x="118" y="54"/>
                    </a:cubicBezTo>
                    <a:cubicBezTo>
                      <a:pt x="116" y="62"/>
                      <a:pt x="114" y="69"/>
                      <a:pt x="114" y="77"/>
                    </a:cubicBezTo>
                    <a:cubicBezTo>
                      <a:pt x="113" y="84"/>
                      <a:pt x="113" y="92"/>
                      <a:pt x="113" y="100"/>
                    </a:cubicBezTo>
                    <a:cubicBezTo>
                      <a:pt x="113" y="107"/>
                      <a:pt x="113" y="115"/>
                      <a:pt x="114" y="122"/>
                    </a:cubicBezTo>
                    <a:cubicBezTo>
                      <a:pt x="115" y="130"/>
                      <a:pt x="115" y="138"/>
                      <a:pt x="116" y="145"/>
                    </a:cubicBezTo>
                    <a:cubicBezTo>
                      <a:pt x="117" y="148"/>
                      <a:pt x="117" y="151"/>
                      <a:pt x="117" y="153"/>
                    </a:cubicBezTo>
                    <a:cubicBezTo>
                      <a:pt x="118" y="156"/>
                      <a:pt x="118" y="159"/>
                      <a:pt x="118" y="162"/>
                    </a:cubicBezTo>
                    <a:cubicBezTo>
                      <a:pt x="118" y="163"/>
                      <a:pt x="118" y="164"/>
                      <a:pt x="119" y="166"/>
                    </a:cubicBezTo>
                    <a:cubicBezTo>
                      <a:pt x="119" y="167"/>
                      <a:pt x="119" y="168"/>
                      <a:pt x="119" y="169"/>
                    </a:cubicBezTo>
                    <a:cubicBezTo>
                      <a:pt x="118" y="171"/>
                      <a:pt x="118" y="172"/>
                      <a:pt x="118" y="173"/>
                    </a:cubicBezTo>
                    <a:cubicBezTo>
                      <a:pt x="117" y="174"/>
                      <a:pt x="117" y="175"/>
                      <a:pt x="115" y="176"/>
                    </a:cubicBezTo>
                    <a:cubicBezTo>
                      <a:pt x="111" y="179"/>
                      <a:pt x="107" y="180"/>
                      <a:pt x="102" y="179"/>
                    </a:cubicBezTo>
                    <a:cubicBezTo>
                      <a:pt x="98" y="178"/>
                      <a:pt x="94" y="176"/>
                      <a:pt x="91" y="173"/>
                    </a:cubicBezTo>
                    <a:cubicBezTo>
                      <a:pt x="86" y="170"/>
                      <a:pt x="82" y="166"/>
                      <a:pt x="79" y="161"/>
                    </a:cubicBezTo>
                    <a:cubicBezTo>
                      <a:pt x="75" y="157"/>
                      <a:pt x="72" y="152"/>
                      <a:pt x="68" y="148"/>
                    </a:cubicBezTo>
                    <a:cubicBezTo>
                      <a:pt x="65" y="143"/>
                      <a:pt x="62" y="138"/>
                      <a:pt x="58" y="133"/>
                    </a:cubicBezTo>
                    <a:cubicBezTo>
                      <a:pt x="55" y="128"/>
                      <a:pt x="51" y="124"/>
                      <a:pt x="47" y="120"/>
                    </a:cubicBezTo>
                    <a:cubicBezTo>
                      <a:pt x="46" y="123"/>
                      <a:pt x="46" y="127"/>
                      <a:pt x="47" y="130"/>
                    </a:cubicBezTo>
                    <a:cubicBezTo>
                      <a:pt x="47" y="133"/>
                      <a:pt x="48" y="137"/>
                      <a:pt x="49" y="140"/>
                    </a:cubicBezTo>
                    <a:cubicBezTo>
                      <a:pt x="51" y="143"/>
                      <a:pt x="52" y="146"/>
                      <a:pt x="53" y="149"/>
                    </a:cubicBezTo>
                    <a:cubicBezTo>
                      <a:pt x="55" y="152"/>
                      <a:pt x="56" y="155"/>
                      <a:pt x="57" y="158"/>
                    </a:cubicBezTo>
                    <a:cubicBezTo>
                      <a:pt x="58" y="161"/>
                      <a:pt x="59" y="164"/>
                      <a:pt x="61" y="167"/>
                    </a:cubicBezTo>
                    <a:cubicBezTo>
                      <a:pt x="62" y="169"/>
                      <a:pt x="63" y="172"/>
                      <a:pt x="65" y="175"/>
                    </a:cubicBezTo>
                    <a:cubicBezTo>
                      <a:pt x="66" y="177"/>
                      <a:pt x="67" y="179"/>
                      <a:pt x="68" y="181"/>
                    </a:cubicBezTo>
                    <a:cubicBezTo>
                      <a:pt x="69" y="183"/>
                      <a:pt x="71" y="184"/>
                      <a:pt x="72" y="186"/>
                    </a:cubicBezTo>
                    <a:cubicBezTo>
                      <a:pt x="73" y="188"/>
                      <a:pt x="74" y="190"/>
                      <a:pt x="75" y="192"/>
                    </a:cubicBezTo>
                    <a:cubicBezTo>
                      <a:pt x="77" y="193"/>
                      <a:pt x="78" y="195"/>
                      <a:pt x="78" y="197"/>
                    </a:cubicBezTo>
                    <a:cubicBezTo>
                      <a:pt x="79" y="199"/>
                      <a:pt x="80" y="201"/>
                      <a:pt x="81" y="203"/>
                    </a:cubicBezTo>
                    <a:cubicBezTo>
                      <a:pt x="82" y="205"/>
                      <a:pt x="82" y="207"/>
                      <a:pt x="82" y="209"/>
                    </a:cubicBezTo>
                    <a:cubicBezTo>
                      <a:pt x="82" y="211"/>
                      <a:pt x="81" y="213"/>
                      <a:pt x="80" y="215"/>
                    </a:cubicBezTo>
                    <a:cubicBezTo>
                      <a:pt x="79" y="217"/>
                      <a:pt x="78" y="218"/>
                      <a:pt x="75" y="218"/>
                    </a:cubicBezTo>
                    <a:cubicBezTo>
                      <a:pt x="72" y="220"/>
                      <a:pt x="68" y="220"/>
                      <a:pt x="65" y="219"/>
                    </a:cubicBezTo>
                    <a:cubicBezTo>
                      <a:pt x="62" y="219"/>
                      <a:pt x="58" y="218"/>
                      <a:pt x="56" y="215"/>
                    </a:cubicBezTo>
                    <a:cubicBezTo>
                      <a:pt x="53" y="213"/>
                      <a:pt x="51" y="211"/>
                      <a:pt x="49" y="208"/>
                    </a:cubicBezTo>
                    <a:cubicBezTo>
                      <a:pt x="47" y="205"/>
                      <a:pt x="45" y="203"/>
                      <a:pt x="43" y="200"/>
                    </a:cubicBezTo>
                    <a:cubicBezTo>
                      <a:pt x="39" y="192"/>
                      <a:pt x="34" y="185"/>
                      <a:pt x="30" y="177"/>
                    </a:cubicBezTo>
                    <a:cubicBezTo>
                      <a:pt x="26" y="169"/>
                      <a:pt x="23" y="161"/>
                      <a:pt x="19" y="152"/>
                    </a:cubicBezTo>
                    <a:cubicBezTo>
                      <a:pt x="16" y="145"/>
                      <a:pt x="13" y="137"/>
                      <a:pt x="11" y="130"/>
                    </a:cubicBezTo>
                    <a:cubicBezTo>
                      <a:pt x="9" y="122"/>
                      <a:pt x="7" y="115"/>
                      <a:pt x="5" y="107"/>
                    </a:cubicBezTo>
                    <a:cubicBezTo>
                      <a:pt x="4" y="101"/>
                      <a:pt x="3" y="96"/>
                      <a:pt x="2" y="91"/>
                    </a:cubicBezTo>
                    <a:cubicBezTo>
                      <a:pt x="1" y="86"/>
                      <a:pt x="0" y="81"/>
                      <a:pt x="0" y="76"/>
                    </a:cubicBezTo>
                    <a:cubicBezTo>
                      <a:pt x="0" y="71"/>
                      <a:pt x="0" y="66"/>
                      <a:pt x="1" y="62"/>
                    </a:cubicBezTo>
                    <a:cubicBezTo>
                      <a:pt x="1" y="58"/>
                      <a:pt x="3" y="54"/>
                      <a:pt x="6" y="50"/>
                    </a:cubicBezTo>
                    <a:cubicBezTo>
                      <a:pt x="9" y="48"/>
                      <a:pt x="11" y="47"/>
                      <a:pt x="13" y="47"/>
                    </a:cubicBezTo>
                    <a:cubicBezTo>
                      <a:pt x="15" y="47"/>
                      <a:pt x="18" y="47"/>
                      <a:pt x="20" y="47"/>
                    </a:cubicBezTo>
                    <a:cubicBezTo>
                      <a:pt x="22" y="48"/>
                      <a:pt x="24" y="48"/>
                      <a:pt x="27" y="50"/>
                    </a:cubicBezTo>
                    <a:cubicBezTo>
                      <a:pt x="29" y="51"/>
                      <a:pt x="31" y="52"/>
                      <a:pt x="32" y="54"/>
                    </a:cubicBezTo>
                    <a:cubicBezTo>
                      <a:pt x="36" y="57"/>
                      <a:pt x="39" y="61"/>
                      <a:pt x="42" y="66"/>
                    </a:cubicBezTo>
                    <a:cubicBezTo>
                      <a:pt x="45" y="70"/>
                      <a:pt x="48" y="74"/>
                      <a:pt x="52" y="78"/>
                    </a:cubicBezTo>
                    <a:cubicBezTo>
                      <a:pt x="54" y="81"/>
                      <a:pt x="56" y="84"/>
                      <a:pt x="58" y="86"/>
                    </a:cubicBezTo>
                    <a:cubicBezTo>
                      <a:pt x="60" y="89"/>
                      <a:pt x="62" y="91"/>
                      <a:pt x="64" y="94"/>
                    </a:cubicBezTo>
                    <a:cubicBezTo>
                      <a:pt x="65" y="95"/>
                      <a:pt x="66" y="96"/>
                      <a:pt x="67" y="97"/>
                    </a:cubicBezTo>
                    <a:cubicBezTo>
                      <a:pt x="69" y="98"/>
                      <a:pt x="70" y="100"/>
                      <a:pt x="71" y="100"/>
                    </a:cubicBezTo>
                    <a:cubicBezTo>
                      <a:pt x="72" y="101"/>
                      <a:pt x="74" y="102"/>
                      <a:pt x="75" y="103"/>
                    </a:cubicBezTo>
                    <a:cubicBezTo>
                      <a:pt x="77" y="103"/>
                      <a:pt x="78" y="103"/>
                      <a:pt x="80" y="103"/>
                    </a:cubicBezTo>
                    <a:cubicBezTo>
                      <a:pt x="80" y="94"/>
                      <a:pt x="81" y="84"/>
                      <a:pt x="82" y="75"/>
                    </a:cubicBezTo>
                    <a:cubicBezTo>
                      <a:pt x="82" y="66"/>
                      <a:pt x="83" y="57"/>
                      <a:pt x="84" y="47"/>
                    </a:cubicBezTo>
                    <a:cubicBezTo>
                      <a:pt x="84" y="43"/>
                      <a:pt x="85" y="39"/>
                      <a:pt x="85" y="35"/>
                    </a:cubicBezTo>
                    <a:cubicBezTo>
                      <a:pt x="86" y="31"/>
                      <a:pt x="86" y="27"/>
                      <a:pt x="87" y="23"/>
                    </a:cubicBezTo>
                    <a:cubicBezTo>
                      <a:pt x="88" y="19"/>
                      <a:pt x="89" y="15"/>
                      <a:pt x="90" y="12"/>
                    </a:cubicBezTo>
                    <a:cubicBezTo>
                      <a:pt x="92" y="8"/>
                      <a:pt x="94" y="5"/>
                      <a:pt x="97" y="2"/>
                    </a:cubicBezTo>
                    <a:cubicBezTo>
                      <a:pt x="100" y="1"/>
                      <a:pt x="102" y="0"/>
                      <a:pt x="105" y="0"/>
                    </a:cubicBezTo>
                    <a:cubicBezTo>
                      <a:pt x="108" y="0"/>
                      <a:pt x="111" y="0"/>
                      <a:pt x="114" y="0"/>
                    </a:cubicBezTo>
                    <a:cubicBezTo>
                      <a:pt x="116" y="1"/>
                      <a:pt x="119" y="2"/>
                      <a:pt x="122" y="3"/>
                    </a:cubicBezTo>
                    <a:cubicBezTo>
                      <a:pt x="124" y="4"/>
                      <a:pt x="127" y="6"/>
                      <a:pt x="129" y="8"/>
                    </a:cubicBezTo>
                    <a:cubicBezTo>
                      <a:pt x="133" y="12"/>
                      <a:pt x="136" y="16"/>
                      <a:pt x="140" y="21"/>
                    </a:cubicBezTo>
                    <a:cubicBezTo>
                      <a:pt x="143" y="26"/>
                      <a:pt x="146" y="31"/>
                      <a:pt x="149" y="36"/>
                    </a:cubicBezTo>
                    <a:cubicBezTo>
                      <a:pt x="149" y="37"/>
                      <a:pt x="150" y="38"/>
                      <a:pt x="150" y="39"/>
                    </a:cubicBezTo>
                    <a:cubicBezTo>
                      <a:pt x="151" y="40"/>
                      <a:pt x="151" y="41"/>
                      <a:pt x="152" y="42"/>
                    </a:cubicBezTo>
                    <a:cubicBezTo>
                      <a:pt x="153" y="45"/>
                      <a:pt x="154" y="47"/>
                      <a:pt x="155" y="50"/>
                    </a:cubicBezTo>
                    <a:cubicBezTo>
                      <a:pt x="156" y="53"/>
                      <a:pt x="157" y="56"/>
                      <a:pt x="158" y="59"/>
                    </a:cubicBezTo>
                    <a:cubicBezTo>
                      <a:pt x="159" y="61"/>
                      <a:pt x="160" y="64"/>
                      <a:pt x="161" y="67"/>
                    </a:cubicBezTo>
                    <a:cubicBezTo>
                      <a:pt x="162" y="70"/>
                      <a:pt x="163" y="73"/>
                      <a:pt x="164" y="76"/>
                    </a:cubicBezTo>
                    <a:cubicBezTo>
                      <a:pt x="164" y="78"/>
                      <a:pt x="165" y="79"/>
                      <a:pt x="166" y="81"/>
                    </a:cubicBezTo>
                    <a:cubicBezTo>
                      <a:pt x="167" y="83"/>
                      <a:pt x="168" y="85"/>
                      <a:pt x="168" y="87"/>
                    </a:cubicBezTo>
                    <a:cubicBezTo>
                      <a:pt x="171" y="92"/>
                      <a:pt x="174" y="97"/>
                      <a:pt x="177" y="102"/>
                    </a:cubicBezTo>
                    <a:cubicBezTo>
                      <a:pt x="181" y="106"/>
                      <a:pt x="184" y="111"/>
                      <a:pt x="187" y="116"/>
                    </a:cubicBezTo>
                    <a:cubicBezTo>
                      <a:pt x="191" y="121"/>
                      <a:pt x="194" y="125"/>
                      <a:pt x="197" y="130"/>
                    </a:cubicBezTo>
                    <a:cubicBezTo>
                      <a:pt x="200" y="134"/>
                      <a:pt x="202" y="139"/>
                      <a:pt x="204" y="14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6" name="íSļiḑè">
                <a:extLst>
                  <a:ext uri="{FF2B5EF4-FFF2-40B4-BE49-F238E27FC236}">
                    <a16:creationId xmlns:a16="http://schemas.microsoft.com/office/drawing/2014/main" id="{71C75FC0-6665-4758-BB04-0411C62C32EE}"/>
                  </a:ext>
                </a:extLst>
              </p:cNvPr>
              <p:cNvSpPr/>
              <p:nvPr/>
            </p:nvSpPr>
            <p:spPr>
              <a:xfrm flipH="1">
                <a:off x="10626137" y="3936704"/>
                <a:ext cx="114420" cy="110532"/>
              </a:xfrm>
              <a:custGeom>
                <a:avLst/>
                <a:gdLst/>
                <a:ahLst/>
                <a:cxnLst/>
                <a:rect l="l" t="t" r="r" b="b"/>
                <a:pathLst>
                  <a:path w="87" h="84" extrusionOk="0">
                    <a:moveTo>
                      <a:pt x="46" y="79"/>
                    </a:moveTo>
                    <a:cubicBezTo>
                      <a:pt x="45" y="80"/>
                      <a:pt x="44" y="80"/>
                      <a:pt x="43" y="81"/>
                    </a:cubicBezTo>
                    <a:cubicBezTo>
                      <a:pt x="42" y="82"/>
                      <a:pt x="41" y="82"/>
                      <a:pt x="40" y="83"/>
                    </a:cubicBezTo>
                    <a:cubicBezTo>
                      <a:pt x="39" y="83"/>
                      <a:pt x="38" y="84"/>
                      <a:pt x="36" y="84"/>
                    </a:cubicBezTo>
                    <a:cubicBezTo>
                      <a:pt x="35" y="84"/>
                      <a:pt x="34" y="84"/>
                      <a:pt x="33" y="83"/>
                    </a:cubicBezTo>
                    <a:cubicBezTo>
                      <a:pt x="31" y="82"/>
                      <a:pt x="30" y="80"/>
                      <a:pt x="29" y="78"/>
                    </a:cubicBezTo>
                    <a:cubicBezTo>
                      <a:pt x="29" y="76"/>
                      <a:pt x="28" y="74"/>
                      <a:pt x="28" y="72"/>
                    </a:cubicBezTo>
                    <a:cubicBezTo>
                      <a:pt x="28" y="70"/>
                      <a:pt x="29" y="68"/>
                      <a:pt x="29" y="66"/>
                    </a:cubicBezTo>
                    <a:cubicBezTo>
                      <a:pt x="29" y="64"/>
                      <a:pt x="30" y="62"/>
                      <a:pt x="30" y="60"/>
                    </a:cubicBezTo>
                    <a:cubicBezTo>
                      <a:pt x="31" y="55"/>
                      <a:pt x="32" y="51"/>
                      <a:pt x="33" y="46"/>
                    </a:cubicBezTo>
                    <a:cubicBezTo>
                      <a:pt x="34" y="42"/>
                      <a:pt x="35" y="37"/>
                      <a:pt x="36" y="32"/>
                    </a:cubicBezTo>
                    <a:cubicBezTo>
                      <a:pt x="35" y="32"/>
                      <a:pt x="34" y="33"/>
                      <a:pt x="33" y="33"/>
                    </a:cubicBezTo>
                    <a:cubicBezTo>
                      <a:pt x="32" y="34"/>
                      <a:pt x="31" y="34"/>
                      <a:pt x="30" y="35"/>
                    </a:cubicBezTo>
                    <a:cubicBezTo>
                      <a:pt x="29" y="36"/>
                      <a:pt x="28" y="36"/>
                      <a:pt x="28" y="37"/>
                    </a:cubicBezTo>
                    <a:cubicBezTo>
                      <a:pt x="27" y="38"/>
                      <a:pt x="26" y="39"/>
                      <a:pt x="25" y="39"/>
                    </a:cubicBezTo>
                    <a:cubicBezTo>
                      <a:pt x="24" y="41"/>
                      <a:pt x="23" y="42"/>
                      <a:pt x="22" y="43"/>
                    </a:cubicBezTo>
                    <a:cubicBezTo>
                      <a:pt x="21" y="45"/>
                      <a:pt x="20" y="46"/>
                      <a:pt x="19" y="48"/>
                    </a:cubicBezTo>
                    <a:cubicBezTo>
                      <a:pt x="17" y="49"/>
                      <a:pt x="16" y="50"/>
                      <a:pt x="15" y="52"/>
                    </a:cubicBezTo>
                    <a:cubicBezTo>
                      <a:pt x="14" y="53"/>
                      <a:pt x="13" y="54"/>
                      <a:pt x="12" y="56"/>
                    </a:cubicBezTo>
                    <a:cubicBezTo>
                      <a:pt x="11" y="56"/>
                      <a:pt x="11" y="57"/>
                      <a:pt x="10" y="58"/>
                    </a:cubicBezTo>
                    <a:cubicBezTo>
                      <a:pt x="9" y="59"/>
                      <a:pt x="9" y="59"/>
                      <a:pt x="8" y="60"/>
                    </a:cubicBezTo>
                    <a:cubicBezTo>
                      <a:pt x="7" y="61"/>
                      <a:pt x="6" y="61"/>
                      <a:pt x="5" y="61"/>
                    </a:cubicBezTo>
                    <a:cubicBezTo>
                      <a:pt x="4" y="61"/>
                      <a:pt x="3" y="61"/>
                      <a:pt x="2" y="61"/>
                    </a:cubicBezTo>
                    <a:cubicBezTo>
                      <a:pt x="2" y="60"/>
                      <a:pt x="1" y="59"/>
                      <a:pt x="1" y="59"/>
                    </a:cubicBezTo>
                    <a:cubicBezTo>
                      <a:pt x="0" y="58"/>
                      <a:pt x="0" y="57"/>
                      <a:pt x="0" y="56"/>
                    </a:cubicBezTo>
                    <a:cubicBezTo>
                      <a:pt x="0" y="55"/>
                      <a:pt x="0" y="55"/>
                      <a:pt x="1" y="54"/>
                    </a:cubicBezTo>
                    <a:cubicBezTo>
                      <a:pt x="1" y="53"/>
                      <a:pt x="1" y="52"/>
                      <a:pt x="2" y="51"/>
                    </a:cubicBezTo>
                    <a:cubicBezTo>
                      <a:pt x="3" y="48"/>
                      <a:pt x="5" y="44"/>
                      <a:pt x="8" y="41"/>
                    </a:cubicBezTo>
                    <a:cubicBezTo>
                      <a:pt x="10" y="38"/>
                      <a:pt x="13" y="34"/>
                      <a:pt x="15" y="31"/>
                    </a:cubicBezTo>
                    <a:cubicBezTo>
                      <a:pt x="16" y="30"/>
                      <a:pt x="17" y="29"/>
                      <a:pt x="18" y="28"/>
                    </a:cubicBezTo>
                    <a:cubicBezTo>
                      <a:pt x="19" y="27"/>
                      <a:pt x="20" y="26"/>
                      <a:pt x="21" y="25"/>
                    </a:cubicBezTo>
                    <a:cubicBezTo>
                      <a:pt x="23" y="23"/>
                      <a:pt x="26" y="21"/>
                      <a:pt x="28" y="18"/>
                    </a:cubicBezTo>
                    <a:cubicBezTo>
                      <a:pt x="30" y="16"/>
                      <a:pt x="33" y="14"/>
                      <a:pt x="35" y="12"/>
                    </a:cubicBezTo>
                    <a:cubicBezTo>
                      <a:pt x="37" y="10"/>
                      <a:pt x="39" y="9"/>
                      <a:pt x="41" y="8"/>
                    </a:cubicBezTo>
                    <a:cubicBezTo>
                      <a:pt x="42" y="6"/>
                      <a:pt x="44" y="5"/>
                      <a:pt x="46" y="4"/>
                    </a:cubicBezTo>
                    <a:cubicBezTo>
                      <a:pt x="47" y="3"/>
                      <a:pt x="49" y="2"/>
                      <a:pt x="51" y="1"/>
                    </a:cubicBezTo>
                    <a:cubicBezTo>
                      <a:pt x="52" y="0"/>
                      <a:pt x="54" y="0"/>
                      <a:pt x="56" y="0"/>
                    </a:cubicBezTo>
                    <a:cubicBezTo>
                      <a:pt x="57" y="1"/>
                      <a:pt x="58" y="2"/>
                      <a:pt x="59" y="3"/>
                    </a:cubicBezTo>
                    <a:cubicBezTo>
                      <a:pt x="59" y="4"/>
                      <a:pt x="59" y="5"/>
                      <a:pt x="59" y="7"/>
                    </a:cubicBezTo>
                    <a:cubicBezTo>
                      <a:pt x="59" y="8"/>
                      <a:pt x="59" y="9"/>
                      <a:pt x="59" y="11"/>
                    </a:cubicBezTo>
                    <a:cubicBezTo>
                      <a:pt x="59" y="12"/>
                      <a:pt x="58" y="13"/>
                      <a:pt x="58" y="15"/>
                    </a:cubicBezTo>
                    <a:cubicBezTo>
                      <a:pt x="57" y="19"/>
                      <a:pt x="56" y="23"/>
                      <a:pt x="55" y="27"/>
                    </a:cubicBezTo>
                    <a:cubicBezTo>
                      <a:pt x="53" y="31"/>
                      <a:pt x="52" y="35"/>
                      <a:pt x="51" y="39"/>
                    </a:cubicBezTo>
                    <a:cubicBezTo>
                      <a:pt x="50" y="41"/>
                      <a:pt x="50" y="42"/>
                      <a:pt x="49" y="44"/>
                    </a:cubicBezTo>
                    <a:cubicBezTo>
                      <a:pt x="49" y="46"/>
                      <a:pt x="48" y="47"/>
                      <a:pt x="48" y="49"/>
                    </a:cubicBezTo>
                    <a:cubicBezTo>
                      <a:pt x="47" y="51"/>
                      <a:pt x="47" y="52"/>
                      <a:pt x="47" y="54"/>
                    </a:cubicBezTo>
                    <a:cubicBezTo>
                      <a:pt x="46" y="56"/>
                      <a:pt x="46" y="57"/>
                      <a:pt x="46" y="59"/>
                    </a:cubicBezTo>
                    <a:cubicBezTo>
                      <a:pt x="47" y="58"/>
                      <a:pt x="49" y="58"/>
                      <a:pt x="50" y="57"/>
                    </a:cubicBezTo>
                    <a:cubicBezTo>
                      <a:pt x="51" y="56"/>
                      <a:pt x="52" y="55"/>
                      <a:pt x="53" y="54"/>
                    </a:cubicBezTo>
                    <a:cubicBezTo>
                      <a:pt x="55" y="52"/>
                      <a:pt x="56" y="50"/>
                      <a:pt x="58" y="47"/>
                    </a:cubicBezTo>
                    <a:cubicBezTo>
                      <a:pt x="60" y="45"/>
                      <a:pt x="61" y="43"/>
                      <a:pt x="63" y="41"/>
                    </a:cubicBezTo>
                    <a:cubicBezTo>
                      <a:pt x="65" y="39"/>
                      <a:pt x="66" y="37"/>
                      <a:pt x="68" y="35"/>
                    </a:cubicBezTo>
                    <a:cubicBezTo>
                      <a:pt x="69" y="33"/>
                      <a:pt x="71" y="31"/>
                      <a:pt x="73" y="29"/>
                    </a:cubicBezTo>
                    <a:cubicBezTo>
                      <a:pt x="73" y="28"/>
                      <a:pt x="74" y="27"/>
                      <a:pt x="75" y="26"/>
                    </a:cubicBezTo>
                    <a:cubicBezTo>
                      <a:pt x="76" y="25"/>
                      <a:pt x="77" y="25"/>
                      <a:pt x="78" y="24"/>
                    </a:cubicBezTo>
                    <a:cubicBezTo>
                      <a:pt x="79" y="23"/>
                      <a:pt x="80" y="23"/>
                      <a:pt x="82" y="23"/>
                    </a:cubicBezTo>
                    <a:cubicBezTo>
                      <a:pt x="83" y="22"/>
                      <a:pt x="84" y="23"/>
                      <a:pt x="85" y="24"/>
                    </a:cubicBezTo>
                    <a:cubicBezTo>
                      <a:pt x="86" y="25"/>
                      <a:pt x="87" y="26"/>
                      <a:pt x="87" y="27"/>
                    </a:cubicBezTo>
                    <a:cubicBezTo>
                      <a:pt x="87" y="29"/>
                      <a:pt x="87" y="30"/>
                      <a:pt x="87" y="32"/>
                    </a:cubicBezTo>
                    <a:cubicBezTo>
                      <a:pt x="87" y="33"/>
                      <a:pt x="86" y="34"/>
                      <a:pt x="85" y="36"/>
                    </a:cubicBezTo>
                    <a:cubicBezTo>
                      <a:pt x="84" y="37"/>
                      <a:pt x="84" y="38"/>
                      <a:pt x="83" y="39"/>
                    </a:cubicBezTo>
                    <a:cubicBezTo>
                      <a:pt x="81" y="41"/>
                      <a:pt x="80" y="42"/>
                      <a:pt x="79" y="44"/>
                    </a:cubicBezTo>
                    <a:cubicBezTo>
                      <a:pt x="77" y="45"/>
                      <a:pt x="76" y="47"/>
                      <a:pt x="75" y="48"/>
                    </a:cubicBezTo>
                    <a:cubicBezTo>
                      <a:pt x="66" y="58"/>
                      <a:pt x="66" y="58"/>
                      <a:pt x="66" y="58"/>
                    </a:cubicBezTo>
                    <a:cubicBezTo>
                      <a:pt x="63" y="61"/>
                      <a:pt x="60" y="64"/>
                      <a:pt x="57" y="68"/>
                    </a:cubicBezTo>
                    <a:cubicBezTo>
                      <a:pt x="54" y="71"/>
                      <a:pt x="51" y="74"/>
                      <a:pt x="47" y="78"/>
                    </a:cubicBezTo>
                    <a:lnTo>
                      <a:pt x="46" y="7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7" name="ïṥḷîḋé">
                <a:extLst>
                  <a:ext uri="{FF2B5EF4-FFF2-40B4-BE49-F238E27FC236}">
                    <a16:creationId xmlns:a16="http://schemas.microsoft.com/office/drawing/2014/main" id="{D12D0D7F-BEA4-479E-9DB7-B08324E6F7B5}"/>
                  </a:ext>
                </a:extLst>
              </p:cNvPr>
              <p:cNvSpPr/>
              <p:nvPr/>
            </p:nvSpPr>
            <p:spPr>
              <a:xfrm flipH="1">
                <a:off x="9658565" y="3482354"/>
                <a:ext cx="129972" cy="174964"/>
              </a:xfrm>
              <a:custGeom>
                <a:avLst/>
                <a:gdLst/>
                <a:ahLst/>
                <a:cxnLst/>
                <a:rect l="l" t="t" r="r" b="b"/>
                <a:pathLst>
                  <a:path w="99" h="133" extrusionOk="0">
                    <a:moveTo>
                      <a:pt x="87" y="36"/>
                    </a:moveTo>
                    <a:cubicBezTo>
                      <a:pt x="91" y="44"/>
                      <a:pt x="94" y="52"/>
                      <a:pt x="96" y="60"/>
                    </a:cubicBezTo>
                    <a:cubicBezTo>
                      <a:pt x="98" y="68"/>
                      <a:pt x="99" y="76"/>
                      <a:pt x="99" y="85"/>
                    </a:cubicBezTo>
                    <a:cubicBezTo>
                      <a:pt x="99" y="89"/>
                      <a:pt x="99" y="93"/>
                      <a:pt x="98" y="97"/>
                    </a:cubicBezTo>
                    <a:cubicBezTo>
                      <a:pt x="98" y="102"/>
                      <a:pt x="97" y="106"/>
                      <a:pt x="95" y="110"/>
                    </a:cubicBezTo>
                    <a:cubicBezTo>
                      <a:pt x="94" y="114"/>
                      <a:pt x="92" y="118"/>
                      <a:pt x="89" y="121"/>
                    </a:cubicBezTo>
                    <a:cubicBezTo>
                      <a:pt x="87" y="124"/>
                      <a:pt x="83" y="127"/>
                      <a:pt x="80" y="129"/>
                    </a:cubicBezTo>
                    <a:cubicBezTo>
                      <a:pt x="76" y="131"/>
                      <a:pt x="73" y="133"/>
                      <a:pt x="69" y="133"/>
                    </a:cubicBezTo>
                    <a:cubicBezTo>
                      <a:pt x="65" y="133"/>
                      <a:pt x="61" y="133"/>
                      <a:pt x="57" y="132"/>
                    </a:cubicBezTo>
                    <a:cubicBezTo>
                      <a:pt x="54" y="131"/>
                      <a:pt x="50" y="130"/>
                      <a:pt x="47" y="128"/>
                    </a:cubicBezTo>
                    <a:cubicBezTo>
                      <a:pt x="43" y="126"/>
                      <a:pt x="40" y="124"/>
                      <a:pt x="37" y="122"/>
                    </a:cubicBezTo>
                    <a:cubicBezTo>
                      <a:pt x="31" y="117"/>
                      <a:pt x="26" y="112"/>
                      <a:pt x="21" y="106"/>
                    </a:cubicBezTo>
                    <a:cubicBezTo>
                      <a:pt x="16" y="99"/>
                      <a:pt x="12" y="93"/>
                      <a:pt x="9" y="86"/>
                    </a:cubicBezTo>
                    <a:cubicBezTo>
                      <a:pt x="6" y="79"/>
                      <a:pt x="4" y="72"/>
                      <a:pt x="2" y="65"/>
                    </a:cubicBezTo>
                    <a:cubicBezTo>
                      <a:pt x="1" y="57"/>
                      <a:pt x="0" y="50"/>
                      <a:pt x="1" y="42"/>
                    </a:cubicBezTo>
                    <a:cubicBezTo>
                      <a:pt x="1" y="38"/>
                      <a:pt x="2" y="35"/>
                      <a:pt x="3" y="31"/>
                    </a:cubicBezTo>
                    <a:cubicBezTo>
                      <a:pt x="4" y="27"/>
                      <a:pt x="5" y="24"/>
                      <a:pt x="7" y="20"/>
                    </a:cubicBezTo>
                    <a:cubicBezTo>
                      <a:pt x="9" y="17"/>
                      <a:pt x="11" y="14"/>
                      <a:pt x="14" y="11"/>
                    </a:cubicBezTo>
                    <a:cubicBezTo>
                      <a:pt x="16" y="9"/>
                      <a:pt x="19" y="7"/>
                      <a:pt x="23" y="5"/>
                    </a:cubicBezTo>
                    <a:cubicBezTo>
                      <a:pt x="26" y="3"/>
                      <a:pt x="29" y="2"/>
                      <a:pt x="32" y="1"/>
                    </a:cubicBezTo>
                    <a:cubicBezTo>
                      <a:pt x="35" y="0"/>
                      <a:pt x="39" y="0"/>
                      <a:pt x="42" y="0"/>
                    </a:cubicBezTo>
                    <a:cubicBezTo>
                      <a:pt x="46" y="0"/>
                      <a:pt x="49" y="0"/>
                      <a:pt x="52" y="1"/>
                    </a:cubicBezTo>
                    <a:cubicBezTo>
                      <a:pt x="55" y="2"/>
                      <a:pt x="58" y="4"/>
                      <a:pt x="61" y="6"/>
                    </a:cubicBezTo>
                    <a:cubicBezTo>
                      <a:pt x="67" y="9"/>
                      <a:pt x="72" y="14"/>
                      <a:pt x="76" y="19"/>
                    </a:cubicBezTo>
                    <a:cubicBezTo>
                      <a:pt x="81" y="24"/>
                      <a:pt x="84" y="30"/>
                      <a:pt x="87" y="36"/>
                    </a:cubicBezTo>
                    <a:close/>
                    <a:moveTo>
                      <a:pt x="63" y="40"/>
                    </a:moveTo>
                    <a:cubicBezTo>
                      <a:pt x="61" y="37"/>
                      <a:pt x="60" y="34"/>
                      <a:pt x="58" y="31"/>
                    </a:cubicBezTo>
                    <a:cubicBezTo>
                      <a:pt x="56" y="29"/>
                      <a:pt x="54" y="26"/>
                      <a:pt x="51" y="24"/>
                    </a:cubicBezTo>
                    <a:cubicBezTo>
                      <a:pt x="50" y="23"/>
                      <a:pt x="49" y="22"/>
                      <a:pt x="47" y="22"/>
                    </a:cubicBezTo>
                    <a:cubicBezTo>
                      <a:pt x="46" y="21"/>
                      <a:pt x="45" y="20"/>
                      <a:pt x="43" y="20"/>
                    </a:cubicBezTo>
                    <a:cubicBezTo>
                      <a:pt x="41" y="20"/>
                      <a:pt x="40" y="20"/>
                      <a:pt x="38" y="20"/>
                    </a:cubicBezTo>
                    <a:cubicBezTo>
                      <a:pt x="37" y="20"/>
                      <a:pt x="35" y="21"/>
                      <a:pt x="34" y="22"/>
                    </a:cubicBezTo>
                    <a:cubicBezTo>
                      <a:pt x="31" y="23"/>
                      <a:pt x="29" y="24"/>
                      <a:pt x="28" y="26"/>
                    </a:cubicBezTo>
                    <a:cubicBezTo>
                      <a:pt x="26" y="28"/>
                      <a:pt x="25" y="31"/>
                      <a:pt x="24" y="33"/>
                    </a:cubicBezTo>
                    <a:cubicBezTo>
                      <a:pt x="23" y="35"/>
                      <a:pt x="22" y="38"/>
                      <a:pt x="22" y="41"/>
                    </a:cubicBezTo>
                    <a:cubicBezTo>
                      <a:pt x="22" y="43"/>
                      <a:pt x="22" y="46"/>
                      <a:pt x="22" y="48"/>
                    </a:cubicBezTo>
                    <a:cubicBezTo>
                      <a:pt x="22" y="54"/>
                      <a:pt x="23" y="59"/>
                      <a:pt x="25" y="64"/>
                    </a:cubicBezTo>
                    <a:cubicBezTo>
                      <a:pt x="26" y="69"/>
                      <a:pt x="28" y="74"/>
                      <a:pt x="30" y="79"/>
                    </a:cubicBezTo>
                    <a:cubicBezTo>
                      <a:pt x="32" y="83"/>
                      <a:pt x="34" y="87"/>
                      <a:pt x="36" y="90"/>
                    </a:cubicBezTo>
                    <a:cubicBezTo>
                      <a:pt x="39" y="94"/>
                      <a:pt x="41" y="97"/>
                      <a:pt x="44" y="101"/>
                    </a:cubicBezTo>
                    <a:cubicBezTo>
                      <a:pt x="45" y="102"/>
                      <a:pt x="47" y="103"/>
                      <a:pt x="48" y="105"/>
                    </a:cubicBezTo>
                    <a:cubicBezTo>
                      <a:pt x="50" y="106"/>
                      <a:pt x="51" y="107"/>
                      <a:pt x="53" y="108"/>
                    </a:cubicBezTo>
                    <a:cubicBezTo>
                      <a:pt x="55" y="109"/>
                      <a:pt x="57" y="110"/>
                      <a:pt x="58" y="111"/>
                    </a:cubicBezTo>
                    <a:cubicBezTo>
                      <a:pt x="60" y="111"/>
                      <a:pt x="62" y="111"/>
                      <a:pt x="64" y="110"/>
                    </a:cubicBezTo>
                    <a:cubicBezTo>
                      <a:pt x="67" y="108"/>
                      <a:pt x="69" y="106"/>
                      <a:pt x="71" y="103"/>
                    </a:cubicBezTo>
                    <a:cubicBezTo>
                      <a:pt x="72" y="101"/>
                      <a:pt x="73" y="98"/>
                      <a:pt x="74" y="95"/>
                    </a:cubicBezTo>
                    <a:cubicBezTo>
                      <a:pt x="74" y="92"/>
                      <a:pt x="74" y="89"/>
                      <a:pt x="74" y="85"/>
                    </a:cubicBezTo>
                    <a:cubicBezTo>
                      <a:pt x="74" y="82"/>
                      <a:pt x="74" y="79"/>
                      <a:pt x="73" y="76"/>
                    </a:cubicBezTo>
                    <a:cubicBezTo>
                      <a:pt x="72" y="70"/>
                      <a:pt x="71" y="64"/>
                      <a:pt x="69" y="58"/>
                    </a:cubicBezTo>
                    <a:cubicBezTo>
                      <a:pt x="68" y="51"/>
                      <a:pt x="66" y="46"/>
                      <a:pt x="63" y="4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8" name="ïṩļíḓê">
                <a:extLst>
                  <a:ext uri="{FF2B5EF4-FFF2-40B4-BE49-F238E27FC236}">
                    <a16:creationId xmlns:a16="http://schemas.microsoft.com/office/drawing/2014/main" id="{688A34D7-1C28-4835-9B6B-1D623660B7F0}"/>
                  </a:ext>
                </a:extLst>
              </p:cNvPr>
              <p:cNvSpPr/>
              <p:nvPr/>
            </p:nvSpPr>
            <p:spPr>
              <a:xfrm flipH="1">
                <a:off x="10022376" y="3240738"/>
                <a:ext cx="145525" cy="162744"/>
              </a:xfrm>
              <a:custGeom>
                <a:avLst/>
                <a:gdLst/>
                <a:ahLst/>
                <a:cxnLst/>
                <a:rect l="l" t="t" r="r" b="b"/>
                <a:pathLst>
                  <a:path w="111" h="124" extrusionOk="0">
                    <a:moveTo>
                      <a:pt x="108" y="57"/>
                    </a:moveTo>
                    <a:cubicBezTo>
                      <a:pt x="107" y="60"/>
                      <a:pt x="105" y="63"/>
                      <a:pt x="103" y="65"/>
                    </a:cubicBezTo>
                    <a:cubicBezTo>
                      <a:pt x="101" y="68"/>
                      <a:pt x="99" y="70"/>
                      <a:pt x="96" y="72"/>
                    </a:cubicBezTo>
                    <a:cubicBezTo>
                      <a:pt x="94" y="74"/>
                      <a:pt x="91" y="76"/>
                      <a:pt x="88" y="77"/>
                    </a:cubicBezTo>
                    <a:cubicBezTo>
                      <a:pt x="85" y="79"/>
                      <a:pt x="81" y="80"/>
                      <a:pt x="78" y="81"/>
                    </a:cubicBezTo>
                    <a:cubicBezTo>
                      <a:pt x="71" y="83"/>
                      <a:pt x="64" y="83"/>
                      <a:pt x="57" y="83"/>
                    </a:cubicBezTo>
                    <a:cubicBezTo>
                      <a:pt x="50" y="83"/>
                      <a:pt x="43" y="83"/>
                      <a:pt x="36" y="81"/>
                    </a:cubicBezTo>
                    <a:cubicBezTo>
                      <a:pt x="35" y="83"/>
                      <a:pt x="35" y="84"/>
                      <a:pt x="34" y="85"/>
                    </a:cubicBezTo>
                    <a:cubicBezTo>
                      <a:pt x="33" y="86"/>
                      <a:pt x="33" y="87"/>
                      <a:pt x="33" y="88"/>
                    </a:cubicBezTo>
                    <a:cubicBezTo>
                      <a:pt x="32" y="91"/>
                      <a:pt x="31" y="93"/>
                      <a:pt x="30" y="95"/>
                    </a:cubicBezTo>
                    <a:cubicBezTo>
                      <a:pt x="29" y="97"/>
                      <a:pt x="28" y="100"/>
                      <a:pt x="28" y="102"/>
                    </a:cubicBezTo>
                    <a:cubicBezTo>
                      <a:pt x="27" y="104"/>
                      <a:pt x="27" y="106"/>
                      <a:pt x="26" y="109"/>
                    </a:cubicBezTo>
                    <a:cubicBezTo>
                      <a:pt x="25" y="111"/>
                      <a:pt x="24" y="113"/>
                      <a:pt x="23" y="115"/>
                    </a:cubicBezTo>
                    <a:cubicBezTo>
                      <a:pt x="23" y="117"/>
                      <a:pt x="22" y="118"/>
                      <a:pt x="21" y="120"/>
                    </a:cubicBezTo>
                    <a:cubicBezTo>
                      <a:pt x="20" y="122"/>
                      <a:pt x="18" y="123"/>
                      <a:pt x="16" y="124"/>
                    </a:cubicBezTo>
                    <a:cubicBezTo>
                      <a:pt x="14" y="124"/>
                      <a:pt x="11" y="124"/>
                      <a:pt x="9" y="123"/>
                    </a:cubicBezTo>
                    <a:cubicBezTo>
                      <a:pt x="7" y="123"/>
                      <a:pt x="6" y="122"/>
                      <a:pt x="4" y="121"/>
                    </a:cubicBezTo>
                    <a:cubicBezTo>
                      <a:pt x="3" y="120"/>
                      <a:pt x="2" y="120"/>
                      <a:pt x="1" y="118"/>
                    </a:cubicBezTo>
                    <a:cubicBezTo>
                      <a:pt x="1" y="117"/>
                      <a:pt x="0" y="116"/>
                      <a:pt x="0" y="115"/>
                    </a:cubicBezTo>
                    <a:cubicBezTo>
                      <a:pt x="0" y="113"/>
                      <a:pt x="0" y="112"/>
                      <a:pt x="0" y="111"/>
                    </a:cubicBezTo>
                    <a:cubicBezTo>
                      <a:pt x="1" y="109"/>
                      <a:pt x="1" y="108"/>
                      <a:pt x="1" y="107"/>
                    </a:cubicBezTo>
                    <a:cubicBezTo>
                      <a:pt x="3" y="105"/>
                      <a:pt x="4" y="102"/>
                      <a:pt x="5" y="100"/>
                    </a:cubicBezTo>
                    <a:cubicBezTo>
                      <a:pt x="6" y="98"/>
                      <a:pt x="7" y="96"/>
                      <a:pt x="8" y="93"/>
                    </a:cubicBezTo>
                    <a:cubicBezTo>
                      <a:pt x="10" y="89"/>
                      <a:pt x="12" y="85"/>
                      <a:pt x="14" y="81"/>
                    </a:cubicBezTo>
                    <a:cubicBezTo>
                      <a:pt x="16" y="77"/>
                      <a:pt x="18" y="73"/>
                      <a:pt x="20" y="69"/>
                    </a:cubicBezTo>
                    <a:cubicBezTo>
                      <a:pt x="21" y="64"/>
                      <a:pt x="23" y="59"/>
                      <a:pt x="25" y="55"/>
                    </a:cubicBezTo>
                    <a:cubicBezTo>
                      <a:pt x="26" y="50"/>
                      <a:pt x="28" y="45"/>
                      <a:pt x="30" y="40"/>
                    </a:cubicBezTo>
                    <a:cubicBezTo>
                      <a:pt x="31" y="36"/>
                      <a:pt x="33" y="31"/>
                      <a:pt x="34" y="27"/>
                    </a:cubicBezTo>
                    <a:cubicBezTo>
                      <a:pt x="36" y="22"/>
                      <a:pt x="38" y="18"/>
                      <a:pt x="40" y="13"/>
                    </a:cubicBezTo>
                    <a:cubicBezTo>
                      <a:pt x="40" y="13"/>
                      <a:pt x="40" y="13"/>
                      <a:pt x="40" y="12"/>
                    </a:cubicBezTo>
                    <a:cubicBezTo>
                      <a:pt x="40" y="12"/>
                      <a:pt x="41" y="11"/>
                      <a:pt x="41" y="11"/>
                    </a:cubicBezTo>
                    <a:cubicBezTo>
                      <a:pt x="42" y="9"/>
                      <a:pt x="43" y="7"/>
                      <a:pt x="45" y="5"/>
                    </a:cubicBezTo>
                    <a:cubicBezTo>
                      <a:pt x="47" y="3"/>
                      <a:pt x="49" y="2"/>
                      <a:pt x="51" y="1"/>
                    </a:cubicBezTo>
                    <a:cubicBezTo>
                      <a:pt x="53" y="0"/>
                      <a:pt x="56" y="0"/>
                      <a:pt x="58" y="0"/>
                    </a:cubicBezTo>
                    <a:cubicBezTo>
                      <a:pt x="61" y="0"/>
                      <a:pt x="63" y="0"/>
                      <a:pt x="66" y="1"/>
                    </a:cubicBezTo>
                    <a:cubicBezTo>
                      <a:pt x="69" y="1"/>
                      <a:pt x="72" y="2"/>
                      <a:pt x="75" y="3"/>
                    </a:cubicBezTo>
                    <a:cubicBezTo>
                      <a:pt x="78" y="4"/>
                      <a:pt x="81" y="5"/>
                      <a:pt x="84" y="6"/>
                    </a:cubicBezTo>
                    <a:cubicBezTo>
                      <a:pt x="89" y="7"/>
                      <a:pt x="94" y="10"/>
                      <a:pt x="98" y="13"/>
                    </a:cubicBezTo>
                    <a:cubicBezTo>
                      <a:pt x="102" y="17"/>
                      <a:pt x="105" y="21"/>
                      <a:pt x="108" y="26"/>
                    </a:cubicBezTo>
                    <a:cubicBezTo>
                      <a:pt x="110" y="30"/>
                      <a:pt x="111" y="35"/>
                      <a:pt x="111" y="41"/>
                    </a:cubicBezTo>
                    <a:cubicBezTo>
                      <a:pt x="111" y="46"/>
                      <a:pt x="110" y="51"/>
                      <a:pt x="108" y="57"/>
                    </a:cubicBezTo>
                    <a:close/>
                    <a:moveTo>
                      <a:pt x="90" y="47"/>
                    </a:moveTo>
                    <a:cubicBezTo>
                      <a:pt x="92" y="43"/>
                      <a:pt x="92" y="38"/>
                      <a:pt x="91" y="34"/>
                    </a:cubicBezTo>
                    <a:cubicBezTo>
                      <a:pt x="91" y="32"/>
                      <a:pt x="91" y="30"/>
                      <a:pt x="90" y="28"/>
                    </a:cubicBezTo>
                    <a:cubicBezTo>
                      <a:pt x="89" y="26"/>
                      <a:pt x="87" y="25"/>
                      <a:pt x="85" y="24"/>
                    </a:cubicBezTo>
                    <a:cubicBezTo>
                      <a:pt x="82" y="23"/>
                      <a:pt x="79" y="22"/>
                      <a:pt x="76" y="21"/>
                    </a:cubicBezTo>
                    <a:cubicBezTo>
                      <a:pt x="72" y="21"/>
                      <a:pt x="69" y="21"/>
                      <a:pt x="66" y="22"/>
                    </a:cubicBezTo>
                    <a:cubicBezTo>
                      <a:pt x="63" y="23"/>
                      <a:pt x="60" y="24"/>
                      <a:pt x="57" y="26"/>
                    </a:cubicBezTo>
                    <a:cubicBezTo>
                      <a:pt x="54" y="28"/>
                      <a:pt x="53" y="31"/>
                      <a:pt x="51" y="34"/>
                    </a:cubicBezTo>
                    <a:cubicBezTo>
                      <a:pt x="48" y="42"/>
                      <a:pt x="46" y="50"/>
                      <a:pt x="46" y="59"/>
                    </a:cubicBezTo>
                    <a:cubicBezTo>
                      <a:pt x="50" y="60"/>
                      <a:pt x="54" y="60"/>
                      <a:pt x="58" y="60"/>
                    </a:cubicBezTo>
                    <a:cubicBezTo>
                      <a:pt x="62" y="60"/>
                      <a:pt x="67" y="60"/>
                      <a:pt x="71" y="59"/>
                    </a:cubicBezTo>
                    <a:cubicBezTo>
                      <a:pt x="73" y="58"/>
                      <a:pt x="75" y="58"/>
                      <a:pt x="77" y="57"/>
                    </a:cubicBezTo>
                    <a:cubicBezTo>
                      <a:pt x="78" y="57"/>
                      <a:pt x="80" y="56"/>
                      <a:pt x="82" y="55"/>
                    </a:cubicBezTo>
                    <a:cubicBezTo>
                      <a:pt x="84" y="54"/>
                      <a:pt x="85" y="53"/>
                      <a:pt x="87" y="51"/>
                    </a:cubicBezTo>
                    <a:cubicBezTo>
                      <a:pt x="88" y="50"/>
                      <a:pt x="90" y="49"/>
                      <a:pt x="90" y="4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09" name="íšlîďe">
                <a:extLst>
                  <a:ext uri="{FF2B5EF4-FFF2-40B4-BE49-F238E27FC236}">
                    <a16:creationId xmlns:a16="http://schemas.microsoft.com/office/drawing/2014/main" id="{7F40FC91-5EA7-4787-AE74-79EDA7CAE210}"/>
                  </a:ext>
                </a:extLst>
              </p:cNvPr>
              <p:cNvSpPr/>
              <p:nvPr/>
            </p:nvSpPr>
            <p:spPr>
              <a:xfrm flipH="1">
                <a:off x="10245663" y="3446806"/>
                <a:ext cx="65542" cy="88315"/>
              </a:xfrm>
              <a:custGeom>
                <a:avLst/>
                <a:gdLst/>
                <a:ahLst/>
                <a:cxnLst/>
                <a:rect l="l" t="t" r="r" b="b"/>
                <a:pathLst>
                  <a:path w="50" h="67" extrusionOk="0">
                    <a:moveTo>
                      <a:pt x="50" y="58"/>
                    </a:moveTo>
                    <a:cubicBezTo>
                      <a:pt x="50" y="59"/>
                      <a:pt x="50" y="59"/>
                      <a:pt x="50" y="60"/>
                    </a:cubicBezTo>
                    <a:cubicBezTo>
                      <a:pt x="49" y="61"/>
                      <a:pt x="48" y="62"/>
                      <a:pt x="48" y="63"/>
                    </a:cubicBezTo>
                    <a:cubicBezTo>
                      <a:pt x="47" y="63"/>
                      <a:pt x="47" y="63"/>
                      <a:pt x="47" y="63"/>
                    </a:cubicBezTo>
                    <a:cubicBezTo>
                      <a:pt x="47" y="63"/>
                      <a:pt x="47" y="63"/>
                      <a:pt x="46" y="63"/>
                    </a:cubicBezTo>
                    <a:cubicBezTo>
                      <a:pt x="45" y="62"/>
                      <a:pt x="43" y="61"/>
                      <a:pt x="42" y="60"/>
                    </a:cubicBezTo>
                    <a:cubicBezTo>
                      <a:pt x="40" y="59"/>
                      <a:pt x="39" y="58"/>
                      <a:pt x="37" y="57"/>
                    </a:cubicBezTo>
                    <a:cubicBezTo>
                      <a:pt x="37" y="58"/>
                      <a:pt x="36" y="59"/>
                      <a:pt x="36" y="60"/>
                    </a:cubicBezTo>
                    <a:cubicBezTo>
                      <a:pt x="36" y="61"/>
                      <a:pt x="35" y="62"/>
                      <a:pt x="35" y="63"/>
                    </a:cubicBezTo>
                    <a:cubicBezTo>
                      <a:pt x="34" y="64"/>
                      <a:pt x="33" y="65"/>
                      <a:pt x="32" y="65"/>
                    </a:cubicBezTo>
                    <a:cubicBezTo>
                      <a:pt x="32" y="66"/>
                      <a:pt x="31" y="66"/>
                      <a:pt x="30" y="67"/>
                    </a:cubicBezTo>
                    <a:cubicBezTo>
                      <a:pt x="28" y="67"/>
                      <a:pt x="27" y="67"/>
                      <a:pt x="25" y="67"/>
                    </a:cubicBezTo>
                    <a:cubicBezTo>
                      <a:pt x="24" y="67"/>
                      <a:pt x="22" y="67"/>
                      <a:pt x="21" y="66"/>
                    </a:cubicBezTo>
                    <a:cubicBezTo>
                      <a:pt x="20" y="66"/>
                      <a:pt x="18" y="65"/>
                      <a:pt x="17" y="64"/>
                    </a:cubicBezTo>
                    <a:cubicBezTo>
                      <a:pt x="16" y="64"/>
                      <a:pt x="15" y="63"/>
                      <a:pt x="14" y="62"/>
                    </a:cubicBezTo>
                    <a:cubicBezTo>
                      <a:pt x="11" y="60"/>
                      <a:pt x="9" y="58"/>
                      <a:pt x="8" y="55"/>
                    </a:cubicBezTo>
                    <a:cubicBezTo>
                      <a:pt x="6" y="53"/>
                      <a:pt x="4" y="50"/>
                      <a:pt x="3" y="47"/>
                    </a:cubicBezTo>
                    <a:cubicBezTo>
                      <a:pt x="3" y="47"/>
                      <a:pt x="3" y="46"/>
                      <a:pt x="3" y="45"/>
                    </a:cubicBezTo>
                    <a:cubicBezTo>
                      <a:pt x="3" y="45"/>
                      <a:pt x="2" y="44"/>
                      <a:pt x="2" y="43"/>
                    </a:cubicBezTo>
                    <a:cubicBezTo>
                      <a:pt x="1" y="39"/>
                      <a:pt x="1" y="36"/>
                      <a:pt x="0" y="32"/>
                    </a:cubicBezTo>
                    <a:cubicBezTo>
                      <a:pt x="0" y="28"/>
                      <a:pt x="0" y="24"/>
                      <a:pt x="1" y="20"/>
                    </a:cubicBezTo>
                    <a:cubicBezTo>
                      <a:pt x="1" y="18"/>
                      <a:pt x="1" y="16"/>
                      <a:pt x="2" y="14"/>
                    </a:cubicBezTo>
                    <a:cubicBezTo>
                      <a:pt x="3" y="12"/>
                      <a:pt x="3" y="11"/>
                      <a:pt x="4" y="9"/>
                    </a:cubicBezTo>
                    <a:cubicBezTo>
                      <a:pt x="5" y="7"/>
                      <a:pt x="6" y="6"/>
                      <a:pt x="8" y="4"/>
                    </a:cubicBezTo>
                    <a:cubicBezTo>
                      <a:pt x="9" y="3"/>
                      <a:pt x="11" y="2"/>
                      <a:pt x="13" y="1"/>
                    </a:cubicBezTo>
                    <a:cubicBezTo>
                      <a:pt x="14" y="1"/>
                      <a:pt x="16" y="0"/>
                      <a:pt x="18" y="0"/>
                    </a:cubicBezTo>
                    <a:cubicBezTo>
                      <a:pt x="19" y="1"/>
                      <a:pt x="21" y="1"/>
                      <a:pt x="22" y="2"/>
                    </a:cubicBezTo>
                    <a:cubicBezTo>
                      <a:pt x="24" y="2"/>
                      <a:pt x="25" y="3"/>
                      <a:pt x="27" y="4"/>
                    </a:cubicBezTo>
                    <a:cubicBezTo>
                      <a:pt x="28" y="6"/>
                      <a:pt x="29" y="7"/>
                      <a:pt x="30" y="8"/>
                    </a:cubicBezTo>
                    <a:cubicBezTo>
                      <a:pt x="32" y="11"/>
                      <a:pt x="34" y="14"/>
                      <a:pt x="35" y="17"/>
                    </a:cubicBezTo>
                    <a:cubicBezTo>
                      <a:pt x="37" y="20"/>
                      <a:pt x="38" y="23"/>
                      <a:pt x="39" y="27"/>
                    </a:cubicBezTo>
                    <a:cubicBezTo>
                      <a:pt x="40" y="29"/>
                      <a:pt x="40" y="30"/>
                      <a:pt x="40" y="32"/>
                    </a:cubicBezTo>
                    <a:cubicBezTo>
                      <a:pt x="40" y="34"/>
                      <a:pt x="41" y="35"/>
                      <a:pt x="41" y="37"/>
                    </a:cubicBezTo>
                    <a:cubicBezTo>
                      <a:pt x="41" y="39"/>
                      <a:pt x="41" y="41"/>
                      <a:pt x="41" y="42"/>
                    </a:cubicBezTo>
                    <a:cubicBezTo>
                      <a:pt x="41" y="44"/>
                      <a:pt x="40" y="46"/>
                      <a:pt x="40" y="48"/>
                    </a:cubicBezTo>
                    <a:cubicBezTo>
                      <a:pt x="41" y="49"/>
                      <a:pt x="42" y="50"/>
                      <a:pt x="43" y="51"/>
                    </a:cubicBezTo>
                    <a:cubicBezTo>
                      <a:pt x="45" y="52"/>
                      <a:pt x="46" y="53"/>
                      <a:pt x="47" y="54"/>
                    </a:cubicBezTo>
                    <a:cubicBezTo>
                      <a:pt x="48" y="54"/>
                      <a:pt x="49" y="55"/>
                      <a:pt x="49" y="55"/>
                    </a:cubicBezTo>
                    <a:cubicBezTo>
                      <a:pt x="50" y="56"/>
                      <a:pt x="50" y="57"/>
                      <a:pt x="50" y="58"/>
                    </a:cubicBezTo>
                    <a:close/>
                    <a:moveTo>
                      <a:pt x="29" y="30"/>
                    </a:moveTo>
                    <a:cubicBezTo>
                      <a:pt x="28" y="28"/>
                      <a:pt x="28" y="26"/>
                      <a:pt x="27" y="24"/>
                    </a:cubicBezTo>
                    <a:cubicBezTo>
                      <a:pt x="26" y="22"/>
                      <a:pt x="25" y="19"/>
                      <a:pt x="24" y="17"/>
                    </a:cubicBezTo>
                    <a:cubicBezTo>
                      <a:pt x="24" y="16"/>
                      <a:pt x="23" y="16"/>
                      <a:pt x="23" y="15"/>
                    </a:cubicBezTo>
                    <a:cubicBezTo>
                      <a:pt x="22" y="14"/>
                      <a:pt x="22" y="13"/>
                      <a:pt x="21" y="12"/>
                    </a:cubicBezTo>
                    <a:cubicBezTo>
                      <a:pt x="20" y="11"/>
                      <a:pt x="19" y="11"/>
                      <a:pt x="19" y="10"/>
                    </a:cubicBezTo>
                    <a:cubicBezTo>
                      <a:pt x="18" y="10"/>
                      <a:pt x="17" y="10"/>
                      <a:pt x="16" y="10"/>
                    </a:cubicBezTo>
                    <a:cubicBezTo>
                      <a:pt x="14" y="11"/>
                      <a:pt x="13" y="12"/>
                      <a:pt x="13" y="13"/>
                    </a:cubicBezTo>
                    <a:cubicBezTo>
                      <a:pt x="12" y="14"/>
                      <a:pt x="11" y="15"/>
                      <a:pt x="11" y="17"/>
                    </a:cubicBezTo>
                    <a:cubicBezTo>
                      <a:pt x="11" y="18"/>
                      <a:pt x="10" y="20"/>
                      <a:pt x="10" y="21"/>
                    </a:cubicBezTo>
                    <a:cubicBezTo>
                      <a:pt x="10" y="23"/>
                      <a:pt x="10" y="24"/>
                      <a:pt x="10" y="25"/>
                    </a:cubicBezTo>
                    <a:cubicBezTo>
                      <a:pt x="10" y="29"/>
                      <a:pt x="10" y="32"/>
                      <a:pt x="11" y="35"/>
                    </a:cubicBezTo>
                    <a:cubicBezTo>
                      <a:pt x="11" y="38"/>
                      <a:pt x="12" y="41"/>
                      <a:pt x="12" y="44"/>
                    </a:cubicBezTo>
                    <a:cubicBezTo>
                      <a:pt x="13" y="45"/>
                      <a:pt x="13" y="47"/>
                      <a:pt x="14" y="49"/>
                    </a:cubicBezTo>
                    <a:cubicBezTo>
                      <a:pt x="14" y="50"/>
                      <a:pt x="15" y="52"/>
                      <a:pt x="16" y="53"/>
                    </a:cubicBezTo>
                    <a:cubicBezTo>
                      <a:pt x="17" y="55"/>
                      <a:pt x="18" y="56"/>
                      <a:pt x="19" y="57"/>
                    </a:cubicBezTo>
                    <a:cubicBezTo>
                      <a:pt x="20" y="57"/>
                      <a:pt x="22" y="58"/>
                      <a:pt x="24" y="57"/>
                    </a:cubicBezTo>
                    <a:cubicBezTo>
                      <a:pt x="24" y="57"/>
                      <a:pt x="25" y="57"/>
                      <a:pt x="25" y="56"/>
                    </a:cubicBezTo>
                    <a:cubicBezTo>
                      <a:pt x="26" y="56"/>
                      <a:pt x="26" y="55"/>
                      <a:pt x="26" y="55"/>
                    </a:cubicBezTo>
                    <a:cubicBezTo>
                      <a:pt x="27" y="54"/>
                      <a:pt x="27" y="54"/>
                      <a:pt x="27" y="53"/>
                    </a:cubicBezTo>
                    <a:cubicBezTo>
                      <a:pt x="27" y="52"/>
                      <a:pt x="27" y="52"/>
                      <a:pt x="27" y="51"/>
                    </a:cubicBezTo>
                    <a:cubicBezTo>
                      <a:pt x="26" y="50"/>
                      <a:pt x="26" y="50"/>
                      <a:pt x="25" y="49"/>
                    </a:cubicBezTo>
                    <a:cubicBezTo>
                      <a:pt x="24" y="49"/>
                      <a:pt x="23" y="48"/>
                      <a:pt x="22" y="47"/>
                    </a:cubicBezTo>
                    <a:cubicBezTo>
                      <a:pt x="21" y="47"/>
                      <a:pt x="21" y="46"/>
                      <a:pt x="20" y="46"/>
                    </a:cubicBezTo>
                    <a:cubicBezTo>
                      <a:pt x="19" y="45"/>
                      <a:pt x="19" y="44"/>
                      <a:pt x="18" y="43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8" y="41"/>
                      <a:pt x="18" y="41"/>
                      <a:pt x="19" y="40"/>
                    </a:cubicBezTo>
                    <a:cubicBezTo>
                      <a:pt x="19" y="40"/>
                      <a:pt x="19" y="40"/>
                      <a:pt x="19" y="39"/>
                    </a:cubicBezTo>
                    <a:cubicBezTo>
                      <a:pt x="20" y="39"/>
                      <a:pt x="20" y="39"/>
                      <a:pt x="21" y="39"/>
                    </a:cubicBezTo>
                    <a:cubicBezTo>
                      <a:pt x="22" y="38"/>
                      <a:pt x="24" y="38"/>
                      <a:pt x="26" y="39"/>
                    </a:cubicBezTo>
                    <a:cubicBezTo>
                      <a:pt x="27" y="39"/>
                      <a:pt x="29" y="40"/>
                      <a:pt x="30" y="41"/>
                    </a:cubicBezTo>
                    <a:cubicBezTo>
                      <a:pt x="30" y="39"/>
                      <a:pt x="30" y="38"/>
                      <a:pt x="30" y="36"/>
                    </a:cubicBezTo>
                    <a:cubicBezTo>
                      <a:pt x="30" y="34"/>
                      <a:pt x="29" y="32"/>
                      <a:pt x="29" y="3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0" name="íṣlîḑe">
                <a:extLst>
                  <a:ext uri="{FF2B5EF4-FFF2-40B4-BE49-F238E27FC236}">
                    <a16:creationId xmlns:a16="http://schemas.microsoft.com/office/drawing/2014/main" id="{3E22886F-136B-4AD3-9657-7E3D50C8123F}"/>
                  </a:ext>
                </a:extLst>
              </p:cNvPr>
              <p:cNvSpPr/>
              <p:nvPr/>
            </p:nvSpPr>
            <p:spPr>
              <a:xfrm flipH="1">
                <a:off x="9904068" y="3608439"/>
                <a:ext cx="201068" cy="240506"/>
              </a:xfrm>
              <a:custGeom>
                <a:avLst/>
                <a:gdLst/>
                <a:ahLst/>
                <a:cxnLst/>
                <a:rect l="l" t="t" r="r" b="b"/>
                <a:pathLst>
                  <a:path w="153" h="183" extrusionOk="0">
                    <a:moveTo>
                      <a:pt x="102" y="177"/>
                    </a:moveTo>
                    <a:cubicBezTo>
                      <a:pt x="100" y="179"/>
                      <a:pt x="99" y="180"/>
                      <a:pt x="97" y="181"/>
                    </a:cubicBezTo>
                    <a:cubicBezTo>
                      <a:pt x="96" y="182"/>
                      <a:pt x="94" y="183"/>
                      <a:pt x="92" y="182"/>
                    </a:cubicBezTo>
                    <a:cubicBezTo>
                      <a:pt x="89" y="182"/>
                      <a:pt x="86" y="180"/>
                      <a:pt x="85" y="179"/>
                    </a:cubicBezTo>
                    <a:cubicBezTo>
                      <a:pt x="83" y="177"/>
                      <a:pt x="81" y="175"/>
                      <a:pt x="80" y="173"/>
                    </a:cubicBezTo>
                    <a:cubicBezTo>
                      <a:pt x="79" y="170"/>
                      <a:pt x="78" y="168"/>
                      <a:pt x="78" y="165"/>
                    </a:cubicBezTo>
                    <a:cubicBezTo>
                      <a:pt x="77" y="163"/>
                      <a:pt x="77" y="160"/>
                      <a:pt x="77" y="158"/>
                    </a:cubicBezTo>
                    <a:cubicBezTo>
                      <a:pt x="76" y="154"/>
                      <a:pt x="76" y="151"/>
                      <a:pt x="76" y="148"/>
                    </a:cubicBezTo>
                    <a:cubicBezTo>
                      <a:pt x="75" y="145"/>
                      <a:pt x="75" y="142"/>
                      <a:pt x="74" y="139"/>
                    </a:cubicBezTo>
                    <a:cubicBezTo>
                      <a:pt x="71" y="131"/>
                      <a:pt x="68" y="123"/>
                      <a:pt x="65" y="115"/>
                    </a:cubicBezTo>
                    <a:cubicBezTo>
                      <a:pt x="62" y="106"/>
                      <a:pt x="58" y="99"/>
                      <a:pt x="54" y="91"/>
                    </a:cubicBezTo>
                    <a:cubicBezTo>
                      <a:pt x="52" y="93"/>
                      <a:pt x="50" y="95"/>
                      <a:pt x="49" y="97"/>
                    </a:cubicBezTo>
                    <a:cubicBezTo>
                      <a:pt x="47" y="99"/>
                      <a:pt x="45" y="102"/>
                      <a:pt x="44" y="104"/>
                    </a:cubicBezTo>
                    <a:cubicBezTo>
                      <a:pt x="42" y="106"/>
                      <a:pt x="41" y="109"/>
                      <a:pt x="40" y="111"/>
                    </a:cubicBezTo>
                    <a:cubicBezTo>
                      <a:pt x="39" y="113"/>
                      <a:pt x="37" y="116"/>
                      <a:pt x="36" y="118"/>
                    </a:cubicBezTo>
                    <a:cubicBezTo>
                      <a:pt x="34" y="121"/>
                      <a:pt x="32" y="124"/>
                      <a:pt x="30" y="127"/>
                    </a:cubicBezTo>
                    <a:cubicBezTo>
                      <a:pt x="28" y="129"/>
                      <a:pt x="26" y="132"/>
                      <a:pt x="24" y="135"/>
                    </a:cubicBezTo>
                    <a:cubicBezTo>
                      <a:pt x="21" y="137"/>
                      <a:pt x="18" y="139"/>
                      <a:pt x="15" y="140"/>
                    </a:cubicBezTo>
                    <a:cubicBezTo>
                      <a:pt x="13" y="141"/>
                      <a:pt x="10" y="141"/>
                      <a:pt x="7" y="139"/>
                    </a:cubicBezTo>
                    <a:cubicBezTo>
                      <a:pt x="5" y="138"/>
                      <a:pt x="4" y="136"/>
                      <a:pt x="2" y="134"/>
                    </a:cubicBezTo>
                    <a:cubicBezTo>
                      <a:pt x="1" y="132"/>
                      <a:pt x="0" y="130"/>
                      <a:pt x="0" y="128"/>
                    </a:cubicBezTo>
                    <a:cubicBezTo>
                      <a:pt x="1" y="126"/>
                      <a:pt x="1" y="124"/>
                      <a:pt x="2" y="122"/>
                    </a:cubicBezTo>
                    <a:cubicBezTo>
                      <a:pt x="2" y="120"/>
                      <a:pt x="3" y="118"/>
                      <a:pt x="4" y="116"/>
                    </a:cubicBezTo>
                    <a:cubicBezTo>
                      <a:pt x="7" y="110"/>
                      <a:pt x="10" y="105"/>
                      <a:pt x="14" y="100"/>
                    </a:cubicBezTo>
                    <a:cubicBezTo>
                      <a:pt x="17" y="95"/>
                      <a:pt x="21" y="90"/>
                      <a:pt x="24" y="85"/>
                    </a:cubicBezTo>
                    <a:cubicBezTo>
                      <a:pt x="28" y="80"/>
                      <a:pt x="32" y="75"/>
                      <a:pt x="36" y="70"/>
                    </a:cubicBezTo>
                    <a:cubicBezTo>
                      <a:pt x="39" y="64"/>
                      <a:pt x="43" y="59"/>
                      <a:pt x="47" y="54"/>
                    </a:cubicBezTo>
                    <a:cubicBezTo>
                      <a:pt x="49" y="50"/>
                      <a:pt x="51" y="47"/>
                      <a:pt x="53" y="43"/>
                    </a:cubicBezTo>
                    <a:cubicBezTo>
                      <a:pt x="54" y="39"/>
                      <a:pt x="56" y="36"/>
                      <a:pt x="58" y="32"/>
                    </a:cubicBezTo>
                    <a:cubicBezTo>
                      <a:pt x="59" y="28"/>
                      <a:pt x="61" y="25"/>
                      <a:pt x="63" y="22"/>
                    </a:cubicBezTo>
                    <a:cubicBezTo>
                      <a:pt x="64" y="18"/>
                      <a:pt x="67" y="15"/>
                      <a:pt x="69" y="11"/>
                    </a:cubicBezTo>
                    <a:cubicBezTo>
                      <a:pt x="70" y="10"/>
                      <a:pt x="71" y="8"/>
                      <a:pt x="73" y="7"/>
                    </a:cubicBezTo>
                    <a:cubicBezTo>
                      <a:pt x="75" y="5"/>
                      <a:pt x="76" y="4"/>
                      <a:pt x="78" y="3"/>
                    </a:cubicBezTo>
                    <a:cubicBezTo>
                      <a:pt x="80" y="2"/>
                      <a:pt x="82" y="1"/>
                      <a:pt x="85" y="1"/>
                    </a:cubicBezTo>
                    <a:cubicBezTo>
                      <a:pt x="87" y="0"/>
                      <a:pt x="89" y="1"/>
                      <a:pt x="91" y="1"/>
                    </a:cubicBezTo>
                    <a:cubicBezTo>
                      <a:pt x="99" y="4"/>
                      <a:pt x="106" y="7"/>
                      <a:pt x="114" y="10"/>
                    </a:cubicBezTo>
                    <a:cubicBezTo>
                      <a:pt x="121" y="14"/>
                      <a:pt x="128" y="17"/>
                      <a:pt x="135" y="21"/>
                    </a:cubicBezTo>
                    <a:cubicBezTo>
                      <a:pt x="140" y="24"/>
                      <a:pt x="144" y="27"/>
                      <a:pt x="147" y="31"/>
                    </a:cubicBezTo>
                    <a:cubicBezTo>
                      <a:pt x="150" y="36"/>
                      <a:pt x="151" y="41"/>
                      <a:pt x="152" y="46"/>
                    </a:cubicBezTo>
                    <a:cubicBezTo>
                      <a:pt x="153" y="51"/>
                      <a:pt x="153" y="56"/>
                      <a:pt x="152" y="61"/>
                    </a:cubicBezTo>
                    <a:cubicBezTo>
                      <a:pt x="151" y="67"/>
                      <a:pt x="149" y="72"/>
                      <a:pt x="146" y="76"/>
                    </a:cubicBezTo>
                    <a:cubicBezTo>
                      <a:pt x="145" y="79"/>
                      <a:pt x="143" y="81"/>
                      <a:pt x="141" y="83"/>
                    </a:cubicBezTo>
                    <a:cubicBezTo>
                      <a:pt x="139" y="85"/>
                      <a:pt x="137" y="86"/>
                      <a:pt x="134" y="88"/>
                    </a:cubicBezTo>
                    <a:cubicBezTo>
                      <a:pt x="132" y="89"/>
                      <a:pt x="129" y="91"/>
                      <a:pt x="127" y="92"/>
                    </a:cubicBezTo>
                    <a:cubicBezTo>
                      <a:pt x="124" y="93"/>
                      <a:pt x="121" y="93"/>
                      <a:pt x="118" y="94"/>
                    </a:cubicBezTo>
                    <a:cubicBezTo>
                      <a:pt x="113" y="96"/>
                      <a:pt x="107" y="97"/>
                      <a:pt x="100" y="97"/>
                    </a:cubicBezTo>
                    <a:cubicBezTo>
                      <a:pt x="94" y="97"/>
                      <a:pt x="88" y="97"/>
                      <a:pt x="83" y="95"/>
                    </a:cubicBezTo>
                    <a:cubicBezTo>
                      <a:pt x="86" y="101"/>
                      <a:pt x="89" y="107"/>
                      <a:pt x="92" y="114"/>
                    </a:cubicBezTo>
                    <a:cubicBezTo>
                      <a:pt x="95" y="120"/>
                      <a:pt x="97" y="127"/>
                      <a:pt x="99" y="134"/>
                    </a:cubicBezTo>
                    <a:cubicBezTo>
                      <a:pt x="100" y="136"/>
                      <a:pt x="101" y="139"/>
                      <a:pt x="102" y="142"/>
                    </a:cubicBezTo>
                    <a:cubicBezTo>
                      <a:pt x="103" y="145"/>
                      <a:pt x="104" y="148"/>
                      <a:pt x="105" y="151"/>
                    </a:cubicBezTo>
                    <a:cubicBezTo>
                      <a:pt x="106" y="154"/>
                      <a:pt x="106" y="157"/>
                      <a:pt x="107" y="160"/>
                    </a:cubicBezTo>
                    <a:cubicBezTo>
                      <a:pt x="107" y="163"/>
                      <a:pt x="107" y="166"/>
                      <a:pt x="106" y="169"/>
                    </a:cubicBezTo>
                    <a:cubicBezTo>
                      <a:pt x="106" y="170"/>
                      <a:pt x="105" y="172"/>
                      <a:pt x="105" y="173"/>
                    </a:cubicBezTo>
                    <a:cubicBezTo>
                      <a:pt x="104" y="175"/>
                      <a:pt x="103" y="176"/>
                      <a:pt x="102" y="177"/>
                    </a:cubicBezTo>
                    <a:close/>
                    <a:moveTo>
                      <a:pt x="126" y="61"/>
                    </a:moveTo>
                    <a:cubicBezTo>
                      <a:pt x="127" y="60"/>
                      <a:pt x="128" y="58"/>
                      <a:pt x="129" y="57"/>
                    </a:cubicBezTo>
                    <a:cubicBezTo>
                      <a:pt x="129" y="55"/>
                      <a:pt x="129" y="53"/>
                      <a:pt x="129" y="51"/>
                    </a:cubicBezTo>
                    <a:cubicBezTo>
                      <a:pt x="129" y="50"/>
                      <a:pt x="128" y="48"/>
                      <a:pt x="127" y="47"/>
                    </a:cubicBezTo>
                    <a:cubicBezTo>
                      <a:pt x="126" y="45"/>
                      <a:pt x="125" y="44"/>
                      <a:pt x="123" y="43"/>
                    </a:cubicBezTo>
                    <a:cubicBezTo>
                      <a:pt x="119" y="41"/>
                      <a:pt x="114" y="38"/>
                      <a:pt x="110" y="36"/>
                    </a:cubicBezTo>
                    <a:cubicBezTo>
                      <a:pt x="105" y="34"/>
                      <a:pt x="101" y="32"/>
                      <a:pt x="96" y="30"/>
                    </a:cubicBezTo>
                    <a:cubicBezTo>
                      <a:pt x="95" y="29"/>
                      <a:pt x="93" y="30"/>
                      <a:pt x="92" y="30"/>
                    </a:cubicBezTo>
                    <a:cubicBezTo>
                      <a:pt x="91" y="31"/>
                      <a:pt x="90" y="32"/>
                      <a:pt x="89" y="33"/>
                    </a:cubicBezTo>
                    <a:cubicBezTo>
                      <a:pt x="88" y="34"/>
                      <a:pt x="87" y="35"/>
                      <a:pt x="87" y="36"/>
                    </a:cubicBezTo>
                    <a:cubicBezTo>
                      <a:pt x="86" y="37"/>
                      <a:pt x="85" y="38"/>
                      <a:pt x="84" y="39"/>
                    </a:cubicBezTo>
                    <a:cubicBezTo>
                      <a:pt x="83" y="41"/>
                      <a:pt x="82" y="43"/>
                      <a:pt x="80" y="45"/>
                    </a:cubicBezTo>
                    <a:cubicBezTo>
                      <a:pt x="79" y="47"/>
                      <a:pt x="77" y="50"/>
                      <a:pt x="76" y="52"/>
                    </a:cubicBezTo>
                    <a:cubicBezTo>
                      <a:pt x="75" y="54"/>
                      <a:pt x="74" y="57"/>
                      <a:pt x="72" y="59"/>
                    </a:cubicBezTo>
                    <a:cubicBezTo>
                      <a:pt x="71" y="61"/>
                      <a:pt x="71" y="64"/>
                      <a:pt x="70" y="66"/>
                    </a:cubicBezTo>
                    <a:cubicBezTo>
                      <a:pt x="74" y="68"/>
                      <a:pt x="79" y="70"/>
                      <a:pt x="84" y="70"/>
                    </a:cubicBezTo>
                    <a:cubicBezTo>
                      <a:pt x="89" y="71"/>
                      <a:pt x="95" y="71"/>
                      <a:pt x="100" y="71"/>
                    </a:cubicBezTo>
                    <a:cubicBezTo>
                      <a:pt x="102" y="71"/>
                      <a:pt x="104" y="71"/>
                      <a:pt x="107" y="70"/>
                    </a:cubicBezTo>
                    <a:cubicBezTo>
                      <a:pt x="109" y="70"/>
                      <a:pt x="112" y="70"/>
                      <a:pt x="114" y="69"/>
                    </a:cubicBezTo>
                    <a:cubicBezTo>
                      <a:pt x="117" y="68"/>
                      <a:pt x="119" y="67"/>
                      <a:pt x="121" y="66"/>
                    </a:cubicBezTo>
                    <a:cubicBezTo>
                      <a:pt x="123" y="65"/>
                      <a:pt x="125" y="63"/>
                      <a:pt x="126" y="6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1" name="íṧlîḓe">
                <a:extLst>
                  <a:ext uri="{FF2B5EF4-FFF2-40B4-BE49-F238E27FC236}">
                    <a16:creationId xmlns:a16="http://schemas.microsoft.com/office/drawing/2014/main" id="{DF8EEBFB-0611-4918-8EBA-183F47E82D3D}"/>
                  </a:ext>
                </a:extLst>
              </p:cNvPr>
              <p:cNvSpPr/>
              <p:nvPr/>
            </p:nvSpPr>
            <p:spPr>
              <a:xfrm flipH="1">
                <a:off x="10267880" y="3797844"/>
                <a:ext cx="71096" cy="98313"/>
              </a:xfrm>
              <a:custGeom>
                <a:avLst/>
                <a:gdLst/>
                <a:ahLst/>
                <a:cxnLst/>
                <a:rect l="l" t="t" r="r" b="b"/>
                <a:pathLst>
                  <a:path w="54" h="75" extrusionOk="0">
                    <a:moveTo>
                      <a:pt x="52" y="35"/>
                    </a:moveTo>
                    <a:cubicBezTo>
                      <a:pt x="53" y="36"/>
                      <a:pt x="54" y="38"/>
                      <a:pt x="54" y="40"/>
                    </a:cubicBezTo>
                    <a:cubicBezTo>
                      <a:pt x="54" y="41"/>
                      <a:pt x="54" y="43"/>
                      <a:pt x="54" y="45"/>
                    </a:cubicBezTo>
                    <a:cubicBezTo>
                      <a:pt x="54" y="47"/>
                      <a:pt x="54" y="49"/>
                      <a:pt x="53" y="50"/>
                    </a:cubicBezTo>
                    <a:cubicBezTo>
                      <a:pt x="53" y="52"/>
                      <a:pt x="52" y="54"/>
                      <a:pt x="51" y="55"/>
                    </a:cubicBezTo>
                    <a:cubicBezTo>
                      <a:pt x="50" y="59"/>
                      <a:pt x="48" y="62"/>
                      <a:pt x="46" y="64"/>
                    </a:cubicBezTo>
                    <a:cubicBezTo>
                      <a:pt x="43" y="67"/>
                      <a:pt x="41" y="69"/>
                      <a:pt x="38" y="71"/>
                    </a:cubicBezTo>
                    <a:cubicBezTo>
                      <a:pt x="36" y="72"/>
                      <a:pt x="34" y="73"/>
                      <a:pt x="32" y="73"/>
                    </a:cubicBezTo>
                    <a:cubicBezTo>
                      <a:pt x="30" y="74"/>
                      <a:pt x="28" y="74"/>
                      <a:pt x="26" y="75"/>
                    </a:cubicBezTo>
                    <a:cubicBezTo>
                      <a:pt x="25" y="74"/>
                      <a:pt x="24" y="73"/>
                      <a:pt x="23" y="72"/>
                    </a:cubicBezTo>
                    <a:cubicBezTo>
                      <a:pt x="22" y="71"/>
                      <a:pt x="21" y="70"/>
                      <a:pt x="20" y="68"/>
                    </a:cubicBezTo>
                    <a:cubicBezTo>
                      <a:pt x="20" y="68"/>
                      <a:pt x="20" y="68"/>
                      <a:pt x="20" y="68"/>
                    </a:cubicBezTo>
                    <a:cubicBezTo>
                      <a:pt x="20" y="67"/>
                      <a:pt x="20" y="67"/>
                      <a:pt x="20" y="67"/>
                    </a:cubicBezTo>
                    <a:cubicBezTo>
                      <a:pt x="21" y="67"/>
                      <a:pt x="22" y="66"/>
                      <a:pt x="23" y="66"/>
                    </a:cubicBezTo>
                    <a:cubicBezTo>
                      <a:pt x="23" y="66"/>
                      <a:pt x="24" y="66"/>
                      <a:pt x="25" y="66"/>
                    </a:cubicBezTo>
                    <a:cubicBezTo>
                      <a:pt x="26" y="65"/>
                      <a:pt x="27" y="65"/>
                      <a:pt x="28" y="65"/>
                    </a:cubicBezTo>
                    <a:cubicBezTo>
                      <a:pt x="28" y="64"/>
                      <a:pt x="29" y="64"/>
                      <a:pt x="30" y="64"/>
                    </a:cubicBezTo>
                    <a:cubicBezTo>
                      <a:pt x="31" y="63"/>
                      <a:pt x="33" y="62"/>
                      <a:pt x="34" y="61"/>
                    </a:cubicBezTo>
                    <a:cubicBezTo>
                      <a:pt x="35" y="60"/>
                      <a:pt x="37" y="59"/>
                      <a:pt x="38" y="58"/>
                    </a:cubicBezTo>
                    <a:cubicBezTo>
                      <a:pt x="39" y="57"/>
                      <a:pt x="40" y="55"/>
                      <a:pt x="41" y="54"/>
                    </a:cubicBezTo>
                    <a:cubicBezTo>
                      <a:pt x="42" y="52"/>
                      <a:pt x="43" y="51"/>
                      <a:pt x="44" y="49"/>
                    </a:cubicBezTo>
                    <a:cubicBezTo>
                      <a:pt x="44" y="48"/>
                      <a:pt x="44" y="46"/>
                      <a:pt x="44" y="44"/>
                    </a:cubicBezTo>
                    <a:cubicBezTo>
                      <a:pt x="44" y="43"/>
                      <a:pt x="44" y="41"/>
                      <a:pt x="43" y="39"/>
                    </a:cubicBezTo>
                    <a:cubicBezTo>
                      <a:pt x="42" y="39"/>
                      <a:pt x="42" y="39"/>
                      <a:pt x="42" y="38"/>
                    </a:cubicBezTo>
                    <a:cubicBezTo>
                      <a:pt x="42" y="38"/>
                      <a:pt x="41" y="37"/>
                      <a:pt x="41" y="37"/>
                    </a:cubicBezTo>
                    <a:cubicBezTo>
                      <a:pt x="41" y="36"/>
                      <a:pt x="40" y="36"/>
                      <a:pt x="40" y="36"/>
                    </a:cubicBezTo>
                    <a:cubicBezTo>
                      <a:pt x="39" y="36"/>
                      <a:pt x="39" y="36"/>
                      <a:pt x="38" y="36"/>
                    </a:cubicBezTo>
                    <a:cubicBezTo>
                      <a:pt x="37" y="37"/>
                      <a:pt x="36" y="38"/>
                      <a:pt x="35" y="38"/>
                    </a:cubicBezTo>
                    <a:cubicBezTo>
                      <a:pt x="34" y="39"/>
                      <a:pt x="33" y="40"/>
                      <a:pt x="32" y="41"/>
                    </a:cubicBezTo>
                    <a:cubicBezTo>
                      <a:pt x="31" y="42"/>
                      <a:pt x="30" y="43"/>
                      <a:pt x="28" y="43"/>
                    </a:cubicBezTo>
                    <a:cubicBezTo>
                      <a:pt x="27" y="44"/>
                      <a:pt x="26" y="45"/>
                      <a:pt x="25" y="46"/>
                    </a:cubicBezTo>
                    <a:cubicBezTo>
                      <a:pt x="24" y="46"/>
                      <a:pt x="23" y="47"/>
                      <a:pt x="22" y="47"/>
                    </a:cubicBezTo>
                    <a:cubicBezTo>
                      <a:pt x="21" y="48"/>
                      <a:pt x="20" y="49"/>
                      <a:pt x="19" y="49"/>
                    </a:cubicBezTo>
                    <a:cubicBezTo>
                      <a:pt x="18" y="49"/>
                      <a:pt x="17" y="50"/>
                      <a:pt x="16" y="50"/>
                    </a:cubicBezTo>
                    <a:cubicBezTo>
                      <a:pt x="15" y="50"/>
                      <a:pt x="14" y="50"/>
                      <a:pt x="12" y="50"/>
                    </a:cubicBezTo>
                    <a:cubicBezTo>
                      <a:pt x="11" y="50"/>
                      <a:pt x="10" y="50"/>
                      <a:pt x="9" y="49"/>
                    </a:cubicBezTo>
                    <a:cubicBezTo>
                      <a:pt x="8" y="49"/>
                      <a:pt x="8" y="48"/>
                      <a:pt x="7" y="47"/>
                    </a:cubicBezTo>
                    <a:cubicBezTo>
                      <a:pt x="6" y="46"/>
                      <a:pt x="5" y="46"/>
                      <a:pt x="5" y="45"/>
                    </a:cubicBezTo>
                    <a:cubicBezTo>
                      <a:pt x="4" y="44"/>
                      <a:pt x="3" y="43"/>
                      <a:pt x="3" y="42"/>
                    </a:cubicBezTo>
                    <a:cubicBezTo>
                      <a:pt x="1" y="39"/>
                      <a:pt x="0" y="36"/>
                      <a:pt x="0" y="32"/>
                    </a:cubicBezTo>
                    <a:cubicBezTo>
                      <a:pt x="0" y="29"/>
                      <a:pt x="0" y="25"/>
                      <a:pt x="0" y="22"/>
                    </a:cubicBezTo>
                    <a:cubicBezTo>
                      <a:pt x="1" y="20"/>
                      <a:pt x="1" y="18"/>
                      <a:pt x="2" y="17"/>
                    </a:cubicBezTo>
                    <a:cubicBezTo>
                      <a:pt x="2" y="15"/>
                      <a:pt x="3" y="14"/>
                      <a:pt x="4" y="12"/>
                    </a:cubicBezTo>
                    <a:cubicBezTo>
                      <a:pt x="5" y="11"/>
                      <a:pt x="6" y="9"/>
                      <a:pt x="7" y="8"/>
                    </a:cubicBezTo>
                    <a:cubicBezTo>
                      <a:pt x="8" y="7"/>
                      <a:pt x="10" y="6"/>
                      <a:pt x="11" y="5"/>
                    </a:cubicBezTo>
                    <a:cubicBezTo>
                      <a:pt x="13" y="4"/>
                      <a:pt x="14" y="3"/>
                      <a:pt x="16" y="2"/>
                    </a:cubicBezTo>
                    <a:cubicBezTo>
                      <a:pt x="18" y="1"/>
                      <a:pt x="21" y="1"/>
                      <a:pt x="23" y="1"/>
                    </a:cubicBezTo>
                    <a:cubicBezTo>
                      <a:pt x="25" y="0"/>
                      <a:pt x="27" y="1"/>
                      <a:pt x="29" y="1"/>
                    </a:cubicBezTo>
                    <a:cubicBezTo>
                      <a:pt x="30" y="2"/>
                      <a:pt x="32" y="2"/>
                      <a:pt x="34" y="4"/>
                    </a:cubicBezTo>
                    <a:cubicBezTo>
                      <a:pt x="34" y="4"/>
                      <a:pt x="34" y="4"/>
                      <a:pt x="35" y="4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5" y="5"/>
                      <a:pt x="35" y="6"/>
                      <a:pt x="35" y="6"/>
                    </a:cubicBezTo>
                    <a:cubicBezTo>
                      <a:pt x="35" y="6"/>
                      <a:pt x="35" y="7"/>
                      <a:pt x="35" y="7"/>
                    </a:cubicBezTo>
                    <a:cubicBezTo>
                      <a:pt x="35" y="7"/>
                      <a:pt x="35" y="7"/>
                      <a:pt x="34" y="7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3" y="8"/>
                      <a:pt x="31" y="9"/>
                      <a:pt x="30" y="9"/>
                    </a:cubicBezTo>
                    <a:cubicBezTo>
                      <a:pt x="29" y="9"/>
                      <a:pt x="28" y="10"/>
                      <a:pt x="27" y="10"/>
                    </a:cubicBezTo>
                    <a:cubicBezTo>
                      <a:pt x="26" y="10"/>
                      <a:pt x="24" y="11"/>
                      <a:pt x="23" y="11"/>
                    </a:cubicBezTo>
                    <a:cubicBezTo>
                      <a:pt x="22" y="11"/>
                      <a:pt x="21" y="12"/>
                      <a:pt x="20" y="12"/>
                    </a:cubicBezTo>
                    <a:cubicBezTo>
                      <a:pt x="18" y="13"/>
                      <a:pt x="16" y="15"/>
                      <a:pt x="15" y="17"/>
                    </a:cubicBezTo>
                    <a:cubicBezTo>
                      <a:pt x="14" y="18"/>
                      <a:pt x="13" y="20"/>
                      <a:pt x="12" y="22"/>
                    </a:cubicBezTo>
                    <a:cubicBezTo>
                      <a:pt x="11" y="23"/>
                      <a:pt x="11" y="24"/>
                      <a:pt x="11" y="25"/>
                    </a:cubicBezTo>
                    <a:cubicBezTo>
                      <a:pt x="10" y="26"/>
                      <a:pt x="10" y="27"/>
                      <a:pt x="10" y="28"/>
                    </a:cubicBezTo>
                    <a:cubicBezTo>
                      <a:pt x="10" y="29"/>
                      <a:pt x="10" y="30"/>
                      <a:pt x="11" y="31"/>
                    </a:cubicBezTo>
                    <a:cubicBezTo>
                      <a:pt x="11" y="33"/>
                      <a:pt x="11" y="33"/>
                      <a:pt x="12" y="34"/>
                    </a:cubicBezTo>
                    <a:cubicBezTo>
                      <a:pt x="12" y="35"/>
                      <a:pt x="12" y="36"/>
                      <a:pt x="13" y="36"/>
                    </a:cubicBezTo>
                    <a:cubicBezTo>
                      <a:pt x="14" y="37"/>
                      <a:pt x="14" y="37"/>
                      <a:pt x="15" y="37"/>
                    </a:cubicBezTo>
                    <a:cubicBezTo>
                      <a:pt x="15" y="37"/>
                      <a:pt x="16" y="37"/>
                      <a:pt x="17" y="37"/>
                    </a:cubicBezTo>
                    <a:cubicBezTo>
                      <a:pt x="18" y="37"/>
                      <a:pt x="18" y="37"/>
                      <a:pt x="19" y="36"/>
                    </a:cubicBezTo>
                    <a:cubicBezTo>
                      <a:pt x="20" y="36"/>
                      <a:pt x="21" y="35"/>
                      <a:pt x="21" y="34"/>
                    </a:cubicBezTo>
                    <a:cubicBezTo>
                      <a:pt x="22" y="33"/>
                      <a:pt x="23" y="33"/>
                      <a:pt x="24" y="32"/>
                    </a:cubicBezTo>
                    <a:cubicBezTo>
                      <a:pt x="25" y="31"/>
                      <a:pt x="26" y="30"/>
                      <a:pt x="26" y="29"/>
                    </a:cubicBezTo>
                    <a:cubicBezTo>
                      <a:pt x="27" y="29"/>
                      <a:pt x="28" y="28"/>
                      <a:pt x="29" y="27"/>
                    </a:cubicBezTo>
                    <a:cubicBezTo>
                      <a:pt x="31" y="26"/>
                      <a:pt x="33" y="25"/>
                      <a:pt x="36" y="24"/>
                    </a:cubicBezTo>
                    <a:cubicBezTo>
                      <a:pt x="38" y="24"/>
                      <a:pt x="41" y="24"/>
                      <a:pt x="43" y="25"/>
                    </a:cubicBezTo>
                    <a:cubicBezTo>
                      <a:pt x="45" y="26"/>
                      <a:pt x="47" y="27"/>
                      <a:pt x="48" y="29"/>
                    </a:cubicBezTo>
                    <a:cubicBezTo>
                      <a:pt x="50" y="31"/>
                      <a:pt x="51" y="33"/>
                      <a:pt x="52" y="3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2" name="î$ḷiḓe">
                <a:extLst>
                  <a:ext uri="{FF2B5EF4-FFF2-40B4-BE49-F238E27FC236}">
                    <a16:creationId xmlns:a16="http://schemas.microsoft.com/office/drawing/2014/main" id="{36593F0E-C46D-4833-9C3D-0DBD235C20BB}"/>
                  </a:ext>
                </a:extLst>
              </p:cNvPr>
              <p:cNvSpPr/>
              <p:nvPr/>
            </p:nvSpPr>
            <p:spPr>
              <a:xfrm flipH="1">
                <a:off x="10462283" y="3992248"/>
                <a:ext cx="79983" cy="125530"/>
              </a:xfrm>
              <a:custGeom>
                <a:avLst/>
                <a:gdLst/>
                <a:ahLst/>
                <a:cxnLst/>
                <a:rect l="l" t="t" r="r" b="b"/>
                <a:pathLst>
                  <a:path w="61" h="96" extrusionOk="0">
                    <a:moveTo>
                      <a:pt x="61" y="10"/>
                    </a:moveTo>
                    <a:cubicBezTo>
                      <a:pt x="61" y="11"/>
                      <a:pt x="61" y="12"/>
                      <a:pt x="60" y="13"/>
                    </a:cubicBezTo>
                    <a:cubicBezTo>
                      <a:pt x="60" y="14"/>
                      <a:pt x="59" y="14"/>
                      <a:pt x="59" y="15"/>
                    </a:cubicBezTo>
                    <a:cubicBezTo>
                      <a:pt x="58" y="17"/>
                      <a:pt x="58" y="19"/>
                      <a:pt x="57" y="20"/>
                    </a:cubicBezTo>
                    <a:cubicBezTo>
                      <a:pt x="57" y="22"/>
                      <a:pt x="57" y="24"/>
                      <a:pt x="57" y="26"/>
                    </a:cubicBezTo>
                    <a:cubicBezTo>
                      <a:pt x="57" y="27"/>
                      <a:pt x="57" y="29"/>
                      <a:pt x="57" y="31"/>
                    </a:cubicBezTo>
                    <a:cubicBezTo>
                      <a:pt x="57" y="33"/>
                      <a:pt x="57" y="34"/>
                      <a:pt x="57" y="36"/>
                    </a:cubicBezTo>
                    <a:cubicBezTo>
                      <a:pt x="57" y="38"/>
                      <a:pt x="56" y="39"/>
                      <a:pt x="56" y="41"/>
                    </a:cubicBezTo>
                    <a:cubicBezTo>
                      <a:pt x="56" y="43"/>
                      <a:pt x="56" y="45"/>
                      <a:pt x="56" y="46"/>
                    </a:cubicBezTo>
                    <a:cubicBezTo>
                      <a:pt x="56" y="51"/>
                      <a:pt x="55" y="56"/>
                      <a:pt x="54" y="61"/>
                    </a:cubicBezTo>
                    <a:cubicBezTo>
                      <a:pt x="53" y="66"/>
                      <a:pt x="52" y="71"/>
                      <a:pt x="50" y="75"/>
                    </a:cubicBezTo>
                    <a:cubicBezTo>
                      <a:pt x="49" y="78"/>
                      <a:pt x="47" y="81"/>
                      <a:pt x="46" y="83"/>
                    </a:cubicBezTo>
                    <a:cubicBezTo>
                      <a:pt x="44" y="86"/>
                      <a:pt x="42" y="88"/>
                      <a:pt x="40" y="90"/>
                    </a:cubicBezTo>
                    <a:cubicBezTo>
                      <a:pt x="38" y="92"/>
                      <a:pt x="36" y="93"/>
                      <a:pt x="34" y="95"/>
                    </a:cubicBezTo>
                    <a:cubicBezTo>
                      <a:pt x="32" y="96"/>
                      <a:pt x="29" y="96"/>
                      <a:pt x="26" y="96"/>
                    </a:cubicBezTo>
                    <a:cubicBezTo>
                      <a:pt x="24" y="96"/>
                      <a:pt x="22" y="96"/>
                      <a:pt x="20" y="95"/>
                    </a:cubicBezTo>
                    <a:cubicBezTo>
                      <a:pt x="18" y="95"/>
                      <a:pt x="16" y="94"/>
                      <a:pt x="14" y="93"/>
                    </a:cubicBezTo>
                    <a:cubicBezTo>
                      <a:pt x="13" y="92"/>
                      <a:pt x="11" y="91"/>
                      <a:pt x="10" y="89"/>
                    </a:cubicBezTo>
                    <a:cubicBezTo>
                      <a:pt x="8" y="88"/>
                      <a:pt x="7" y="86"/>
                      <a:pt x="6" y="84"/>
                    </a:cubicBezTo>
                    <a:cubicBezTo>
                      <a:pt x="4" y="81"/>
                      <a:pt x="2" y="77"/>
                      <a:pt x="1" y="73"/>
                    </a:cubicBezTo>
                    <a:cubicBezTo>
                      <a:pt x="0" y="69"/>
                      <a:pt x="0" y="65"/>
                      <a:pt x="1" y="60"/>
                    </a:cubicBezTo>
                    <a:cubicBezTo>
                      <a:pt x="1" y="57"/>
                      <a:pt x="1" y="55"/>
                      <a:pt x="1" y="52"/>
                    </a:cubicBezTo>
                    <a:cubicBezTo>
                      <a:pt x="2" y="49"/>
                      <a:pt x="2" y="46"/>
                      <a:pt x="2" y="43"/>
                    </a:cubicBezTo>
                    <a:cubicBezTo>
                      <a:pt x="3" y="40"/>
                      <a:pt x="3" y="37"/>
                      <a:pt x="4" y="34"/>
                    </a:cubicBezTo>
                    <a:cubicBezTo>
                      <a:pt x="4" y="31"/>
                      <a:pt x="4" y="28"/>
                      <a:pt x="5" y="25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5" y="21"/>
                      <a:pt x="5" y="20"/>
                      <a:pt x="5" y="19"/>
                    </a:cubicBezTo>
                    <a:cubicBezTo>
                      <a:pt x="5" y="18"/>
                      <a:pt x="5" y="16"/>
                      <a:pt x="5" y="15"/>
                    </a:cubicBezTo>
                    <a:cubicBezTo>
                      <a:pt x="5" y="14"/>
                      <a:pt x="5" y="13"/>
                      <a:pt x="5" y="12"/>
                    </a:cubicBezTo>
                    <a:cubicBezTo>
                      <a:pt x="5" y="11"/>
                      <a:pt x="5" y="10"/>
                      <a:pt x="5" y="9"/>
                    </a:cubicBezTo>
                    <a:cubicBezTo>
                      <a:pt x="5" y="7"/>
                      <a:pt x="6" y="6"/>
                      <a:pt x="6" y="5"/>
                    </a:cubicBezTo>
                    <a:cubicBezTo>
                      <a:pt x="7" y="5"/>
                      <a:pt x="8" y="4"/>
                      <a:pt x="9" y="3"/>
                    </a:cubicBezTo>
                    <a:cubicBezTo>
                      <a:pt x="11" y="2"/>
                      <a:pt x="13" y="1"/>
                      <a:pt x="15" y="0"/>
                    </a:cubicBezTo>
                    <a:cubicBezTo>
                      <a:pt x="17" y="1"/>
                      <a:pt x="19" y="2"/>
                      <a:pt x="20" y="4"/>
                    </a:cubicBezTo>
                    <a:cubicBezTo>
                      <a:pt x="21" y="5"/>
                      <a:pt x="21" y="7"/>
                      <a:pt x="22" y="9"/>
                    </a:cubicBezTo>
                    <a:cubicBezTo>
                      <a:pt x="22" y="11"/>
                      <a:pt x="22" y="13"/>
                      <a:pt x="22" y="15"/>
                    </a:cubicBezTo>
                    <a:cubicBezTo>
                      <a:pt x="22" y="17"/>
                      <a:pt x="22" y="19"/>
                      <a:pt x="22" y="21"/>
                    </a:cubicBezTo>
                    <a:cubicBezTo>
                      <a:pt x="21" y="25"/>
                      <a:pt x="21" y="28"/>
                      <a:pt x="20" y="31"/>
                    </a:cubicBezTo>
                    <a:cubicBezTo>
                      <a:pt x="20" y="34"/>
                      <a:pt x="19" y="37"/>
                      <a:pt x="19" y="40"/>
                    </a:cubicBezTo>
                    <a:cubicBezTo>
                      <a:pt x="19" y="44"/>
                      <a:pt x="18" y="47"/>
                      <a:pt x="18" y="50"/>
                    </a:cubicBezTo>
                    <a:cubicBezTo>
                      <a:pt x="17" y="53"/>
                      <a:pt x="17" y="57"/>
                      <a:pt x="17" y="60"/>
                    </a:cubicBezTo>
                    <a:cubicBezTo>
                      <a:pt x="16" y="62"/>
                      <a:pt x="16" y="64"/>
                      <a:pt x="17" y="66"/>
                    </a:cubicBezTo>
                    <a:cubicBezTo>
                      <a:pt x="17" y="68"/>
                      <a:pt x="17" y="70"/>
                      <a:pt x="17" y="72"/>
                    </a:cubicBezTo>
                    <a:cubicBezTo>
                      <a:pt x="17" y="73"/>
                      <a:pt x="18" y="74"/>
                      <a:pt x="18" y="75"/>
                    </a:cubicBezTo>
                    <a:cubicBezTo>
                      <a:pt x="18" y="76"/>
                      <a:pt x="19" y="77"/>
                      <a:pt x="19" y="78"/>
                    </a:cubicBezTo>
                    <a:cubicBezTo>
                      <a:pt x="20" y="79"/>
                      <a:pt x="20" y="79"/>
                      <a:pt x="21" y="80"/>
                    </a:cubicBezTo>
                    <a:cubicBezTo>
                      <a:pt x="22" y="80"/>
                      <a:pt x="23" y="81"/>
                      <a:pt x="24" y="81"/>
                    </a:cubicBezTo>
                    <a:cubicBezTo>
                      <a:pt x="26" y="80"/>
                      <a:pt x="28" y="79"/>
                      <a:pt x="30" y="78"/>
                    </a:cubicBezTo>
                    <a:cubicBezTo>
                      <a:pt x="31" y="77"/>
                      <a:pt x="33" y="75"/>
                      <a:pt x="34" y="73"/>
                    </a:cubicBezTo>
                    <a:cubicBezTo>
                      <a:pt x="35" y="71"/>
                      <a:pt x="35" y="68"/>
                      <a:pt x="36" y="66"/>
                    </a:cubicBezTo>
                    <a:cubicBezTo>
                      <a:pt x="37" y="64"/>
                      <a:pt x="37" y="62"/>
                      <a:pt x="38" y="60"/>
                    </a:cubicBezTo>
                    <a:cubicBezTo>
                      <a:pt x="39" y="53"/>
                      <a:pt x="39" y="47"/>
                      <a:pt x="40" y="40"/>
                    </a:cubicBezTo>
                    <a:cubicBezTo>
                      <a:pt x="41" y="34"/>
                      <a:pt x="42" y="27"/>
                      <a:pt x="43" y="21"/>
                    </a:cubicBezTo>
                    <a:cubicBezTo>
                      <a:pt x="43" y="19"/>
                      <a:pt x="43" y="17"/>
                      <a:pt x="44" y="15"/>
                    </a:cubicBezTo>
                    <a:cubicBezTo>
                      <a:pt x="44" y="13"/>
                      <a:pt x="44" y="11"/>
                      <a:pt x="45" y="10"/>
                    </a:cubicBezTo>
                    <a:cubicBezTo>
                      <a:pt x="46" y="8"/>
                      <a:pt x="46" y="7"/>
                      <a:pt x="47" y="6"/>
                    </a:cubicBezTo>
                    <a:cubicBezTo>
                      <a:pt x="47" y="5"/>
                      <a:pt x="48" y="4"/>
                      <a:pt x="48" y="4"/>
                    </a:cubicBezTo>
                    <a:cubicBezTo>
                      <a:pt x="49" y="3"/>
                      <a:pt x="50" y="2"/>
                      <a:pt x="51" y="2"/>
                    </a:cubicBezTo>
                    <a:cubicBezTo>
                      <a:pt x="51" y="1"/>
                      <a:pt x="52" y="1"/>
                      <a:pt x="53" y="2"/>
                    </a:cubicBezTo>
                    <a:cubicBezTo>
                      <a:pt x="56" y="2"/>
                      <a:pt x="57" y="3"/>
                      <a:pt x="59" y="5"/>
                    </a:cubicBezTo>
                    <a:cubicBezTo>
                      <a:pt x="59" y="6"/>
                      <a:pt x="60" y="6"/>
                      <a:pt x="61" y="7"/>
                    </a:cubicBezTo>
                    <a:cubicBezTo>
                      <a:pt x="61" y="8"/>
                      <a:pt x="61" y="9"/>
                      <a:pt x="61" y="1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3" name="iṧḷíḑe">
                <a:extLst>
                  <a:ext uri="{FF2B5EF4-FFF2-40B4-BE49-F238E27FC236}">
                    <a16:creationId xmlns:a16="http://schemas.microsoft.com/office/drawing/2014/main" id="{97B80607-8976-48ED-AF99-86EDF92ABF08}"/>
                  </a:ext>
                </a:extLst>
              </p:cNvPr>
              <p:cNvSpPr/>
              <p:nvPr/>
            </p:nvSpPr>
            <p:spPr>
              <a:xfrm flipH="1">
                <a:off x="9747990" y="3369600"/>
                <a:ext cx="117753" cy="136638"/>
              </a:xfrm>
              <a:custGeom>
                <a:avLst/>
                <a:gdLst/>
                <a:ahLst/>
                <a:cxnLst/>
                <a:rect l="l" t="t" r="r" b="b"/>
                <a:pathLst>
                  <a:path w="90" h="104" extrusionOk="0">
                    <a:moveTo>
                      <a:pt x="89" y="37"/>
                    </a:moveTo>
                    <a:cubicBezTo>
                      <a:pt x="88" y="39"/>
                      <a:pt x="86" y="42"/>
                      <a:pt x="83" y="44"/>
                    </a:cubicBezTo>
                    <a:cubicBezTo>
                      <a:pt x="82" y="45"/>
                      <a:pt x="80" y="46"/>
                      <a:pt x="79" y="46"/>
                    </a:cubicBezTo>
                    <a:cubicBezTo>
                      <a:pt x="78" y="47"/>
                      <a:pt x="76" y="48"/>
                      <a:pt x="75" y="49"/>
                    </a:cubicBezTo>
                    <a:cubicBezTo>
                      <a:pt x="73" y="51"/>
                      <a:pt x="71" y="53"/>
                      <a:pt x="68" y="55"/>
                    </a:cubicBezTo>
                    <a:cubicBezTo>
                      <a:pt x="66" y="57"/>
                      <a:pt x="64" y="60"/>
                      <a:pt x="62" y="62"/>
                    </a:cubicBezTo>
                    <a:cubicBezTo>
                      <a:pt x="59" y="65"/>
                      <a:pt x="57" y="68"/>
                      <a:pt x="54" y="71"/>
                    </a:cubicBezTo>
                    <a:cubicBezTo>
                      <a:pt x="51" y="74"/>
                      <a:pt x="48" y="77"/>
                      <a:pt x="45" y="80"/>
                    </a:cubicBezTo>
                    <a:cubicBezTo>
                      <a:pt x="42" y="83"/>
                      <a:pt x="39" y="86"/>
                      <a:pt x="36" y="89"/>
                    </a:cubicBezTo>
                    <a:cubicBezTo>
                      <a:pt x="33" y="91"/>
                      <a:pt x="29" y="94"/>
                      <a:pt x="26" y="97"/>
                    </a:cubicBezTo>
                    <a:cubicBezTo>
                      <a:pt x="25" y="98"/>
                      <a:pt x="23" y="99"/>
                      <a:pt x="21" y="100"/>
                    </a:cubicBezTo>
                    <a:cubicBezTo>
                      <a:pt x="19" y="101"/>
                      <a:pt x="17" y="102"/>
                      <a:pt x="15" y="103"/>
                    </a:cubicBezTo>
                    <a:cubicBezTo>
                      <a:pt x="13" y="104"/>
                      <a:pt x="11" y="104"/>
                      <a:pt x="9" y="104"/>
                    </a:cubicBezTo>
                    <a:cubicBezTo>
                      <a:pt x="7" y="104"/>
                      <a:pt x="5" y="104"/>
                      <a:pt x="3" y="103"/>
                    </a:cubicBezTo>
                    <a:cubicBezTo>
                      <a:pt x="2" y="102"/>
                      <a:pt x="1" y="101"/>
                      <a:pt x="1" y="100"/>
                    </a:cubicBezTo>
                    <a:cubicBezTo>
                      <a:pt x="0" y="99"/>
                      <a:pt x="0" y="98"/>
                      <a:pt x="0" y="97"/>
                    </a:cubicBezTo>
                    <a:cubicBezTo>
                      <a:pt x="0" y="95"/>
                      <a:pt x="0" y="94"/>
                      <a:pt x="0" y="93"/>
                    </a:cubicBezTo>
                    <a:cubicBezTo>
                      <a:pt x="1" y="92"/>
                      <a:pt x="1" y="90"/>
                      <a:pt x="1" y="89"/>
                    </a:cubicBezTo>
                    <a:cubicBezTo>
                      <a:pt x="2" y="86"/>
                      <a:pt x="3" y="83"/>
                      <a:pt x="4" y="79"/>
                    </a:cubicBezTo>
                    <a:cubicBezTo>
                      <a:pt x="5" y="76"/>
                      <a:pt x="6" y="73"/>
                      <a:pt x="7" y="70"/>
                    </a:cubicBezTo>
                    <a:cubicBezTo>
                      <a:pt x="8" y="67"/>
                      <a:pt x="9" y="63"/>
                      <a:pt x="10" y="60"/>
                    </a:cubicBezTo>
                    <a:cubicBezTo>
                      <a:pt x="11" y="57"/>
                      <a:pt x="12" y="53"/>
                      <a:pt x="13" y="50"/>
                    </a:cubicBezTo>
                    <a:cubicBezTo>
                      <a:pt x="16" y="42"/>
                      <a:pt x="18" y="35"/>
                      <a:pt x="20" y="27"/>
                    </a:cubicBezTo>
                    <a:cubicBezTo>
                      <a:pt x="22" y="19"/>
                      <a:pt x="24" y="12"/>
                      <a:pt x="26" y="4"/>
                    </a:cubicBezTo>
                    <a:cubicBezTo>
                      <a:pt x="26" y="4"/>
                      <a:pt x="26" y="3"/>
                      <a:pt x="26" y="3"/>
                    </a:cubicBezTo>
                    <a:cubicBezTo>
                      <a:pt x="27" y="2"/>
                      <a:pt x="28" y="1"/>
                      <a:pt x="29" y="1"/>
                    </a:cubicBezTo>
                    <a:cubicBezTo>
                      <a:pt x="30" y="1"/>
                      <a:pt x="31" y="0"/>
                      <a:pt x="32" y="0"/>
                    </a:cubicBezTo>
                    <a:cubicBezTo>
                      <a:pt x="33" y="0"/>
                      <a:pt x="34" y="0"/>
                      <a:pt x="35" y="0"/>
                    </a:cubicBezTo>
                    <a:cubicBezTo>
                      <a:pt x="36" y="0"/>
                      <a:pt x="37" y="0"/>
                      <a:pt x="38" y="1"/>
                    </a:cubicBezTo>
                    <a:cubicBezTo>
                      <a:pt x="40" y="2"/>
                      <a:pt x="41" y="3"/>
                      <a:pt x="42" y="4"/>
                    </a:cubicBezTo>
                    <a:cubicBezTo>
                      <a:pt x="42" y="6"/>
                      <a:pt x="42" y="8"/>
                      <a:pt x="42" y="10"/>
                    </a:cubicBezTo>
                    <a:cubicBezTo>
                      <a:pt x="42" y="11"/>
                      <a:pt x="41" y="13"/>
                      <a:pt x="41" y="15"/>
                    </a:cubicBezTo>
                    <a:cubicBezTo>
                      <a:pt x="40" y="17"/>
                      <a:pt x="39" y="19"/>
                      <a:pt x="39" y="20"/>
                    </a:cubicBezTo>
                    <a:cubicBezTo>
                      <a:pt x="37" y="26"/>
                      <a:pt x="34" y="32"/>
                      <a:pt x="32" y="37"/>
                    </a:cubicBezTo>
                    <a:cubicBezTo>
                      <a:pt x="30" y="43"/>
                      <a:pt x="27" y="49"/>
                      <a:pt x="25" y="55"/>
                    </a:cubicBezTo>
                    <a:cubicBezTo>
                      <a:pt x="24" y="56"/>
                      <a:pt x="24" y="58"/>
                      <a:pt x="23" y="59"/>
                    </a:cubicBezTo>
                    <a:cubicBezTo>
                      <a:pt x="23" y="61"/>
                      <a:pt x="22" y="62"/>
                      <a:pt x="22" y="64"/>
                    </a:cubicBezTo>
                    <a:cubicBezTo>
                      <a:pt x="22" y="65"/>
                      <a:pt x="21" y="66"/>
                      <a:pt x="21" y="68"/>
                    </a:cubicBezTo>
                    <a:cubicBezTo>
                      <a:pt x="21" y="69"/>
                      <a:pt x="21" y="70"/>
                      <a:pt x="21" y="71"/>
                    </a:cubicBezTo>
                    <a:cubicBezTo>
                      <a:pt x="21" y="72"/>
                      <a:pt x="21" y="73"/>
                      <a:pt x="21" y="73"/>
                    </a:cubicBezTo>
                    <a:cubicBezTo>
                      <a:pt x="21" y="74"/>
                      <a:pt x="22" y="75"/>
                      <a:pt x="23" y="75"/>
                    </a:cubicBezTo>
                    <a:cubicBezTo>
                      <a:pt x="24" y="75"/>
                      <a:pt x="26" y="74"/>
                      <a:pt x="27" y="73"/>
                    </a:cubicBezTo>
                    <a:cubicBezTo>
                      <a:pt x="29" y="72"/>
                      <a:pt x="30" y="71"/>
                      <a:pt x="32" y="69"/>
                    </a:cubicBezTo>
                    <a:cubicBezTo>
                      <a:pt x="33" y="68"/>
                      <a:pt x="34" y="66"/>
                      <a:pt x="36" y="65"/>
                    </a:cubicBezTo>
                    <a:cubicBezTo>
                      <a:pt x="37" y="63"/>
                      <a:pt x="38" y="62"/>
                      <a:pt x="40" y="61"/>
                    </a:cubicBezTo>
                    <a:cubicBezTo>
                      <a:pt x="43" y="57"/>
                      <a:pt x="46" y="54"/>
                      <a:pt x="49" y="51"/>
                    </a:cubicBezTo>
                    <a:cubicBezTo>
                      <a:pt x="52" y="48"/>
                      <a:pt x="55" y="44"/>
                      <a:pt x="57" y="41"/>
                    </a:cubicBezTo>
                    <a:cubicBezTo>
                      <a:pt x="60" y="38"/>
                      <a:pt x="62" y="36"/>
                      <a:pt x="64" y="34"/>
                    </a:cubicBezTo>
                    <a:cubicBezTo>
                      <a:pt x="67" y="31"/>
                      <a:pt x="69" y="29"/>
                      <a:pt x="72" y="27"/>
                    </a:cubicBezTo>
                    <a:cubicBezTo>
                      <a:pt x="73" y="26"/>
                      <a:pt x="74" y="25"/>
                      <a:pt x="75" y="24"/>
                    </a:cubicBezTo>
                    <a:cubicBezTo>
                      <a:pt x="76" y="24"/>
                      <a:pt x="77" y="23"/>
                      <a:pt x="78" y="22"/>
                    </a:cubicBezTo>
                    <a:cubicBezTo>
                      <a:pt x="80" y="21"/>
                      <a:pt x="81" y="20"/>
                      <a:pt x="82" y="20"/>
                    </a:cubicBezTo>
                    <a:cubicBezTo>
                      <a:pt x="83" y="19"/>
                      <a:pt x="85" y="19"/>
                      <a:pt x="86" y="19"/>
                    </a:cubicBezTo>
                    <a:cubicBezTo>
                      <a:pt x="87" y="20"/>
                      <a:pt x="88" y="22"/>
                      <a:pt x="89" y="23"/>
                    </a:cubicBezTo>
                    <a:cubicBezTo>
                      <a:pt x="89" y="25"/>
                      <a:pt x="90" y="26"/>
                      <a:pt x="90" y="28"/>
                    </a:cubicBezTo>
                    <a:cubicBezTo>
                      <a:pt x="90" y="29"/>
                      <a:pt x="90" y="31"/>
                      <a:pt x="90" y="32"/>
                    </a:cubicBezTo>
                    <a:cubicBezTo>
                      <a:pt x="90" y="34"/>
                      <a:pt x="90" y="35"/>
                      <a:pt x="89" y="3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4" name="iśľîďè">
                <a:extLst>
                  <a:ext uri="{FF2B5EF4-FFF2-40B4-BE49-F238E27FC236}">
                    <a16:creationId xmlns:a16="http://schemas.microsoft.com/office/drawing/2014/main" id="{6A6CEBA5-96A2-4927-8C7B-66BC11835487}"/>
                  </a:ext>
                </a:extLst>
              </p:cNvPr>
              <p:cNvSpPr/>
              <p:nvPr/>
            </p:nvSpPr>
            <p:spPr>
              <a:xfrm flipH="1">
                <a:off x="10429513" y="4137773"/>
                <a:ext cx="69430" cy="73318"/>
              </a:xfrm>
              <a:custGeom>
                <a:avLst/>
                <a:gdLst/>
                <a:ahLst/>
                <a:cxnLst/>
                <a:rect l="l" t="t" r="r" b="b"/>
                <a:pathLst>
                  <a:path w="53" h="56" extrusionOk="0">
                    <a:moveTo>
                      <a:pt x="23" y="2"/>
                    </a:moveTo>
                    <a:cubicBezTo>
                      <a:pt x="24" y="3"/>
                      <a:pt x="24" y="3"/>
                      <a:pt x="25" y="3"/>
                    </a:cubicBezTo>
                    <a:cubicBezTo>
                      <a:pt x="26" y="4"/>
                      <a:pt x="26" y="4"/>
                      <a:pt x="27" y="5"/>
                    </a:cubicBezTo>
                    <a:cubicBezTo>
                      <a:pt x="28" y="5"/>
                      <a:pt x="29" y="6"/>
                      <a:pt x="30" y="7"/>
                    </a:cubicBezTo>
                    <a:cubicBezTo>
                      <a:pt x="31" y="8"/>
                      <a:pt x="32" y="8"/>
                      <a:pt x="33" y="9"/>
                    </a:cubicBezTo>
                    <a:cubicBezTo>
                      <a:pt x="34" y="9"/>
                      <a:pt x="34" y="9"/>
                      <a:pt x="35" y="10"/>
                    </a:cubicBezTo>
                    <a:cubicBezTo>
                      <a:pt x="35" y="10"/>
                      <a:pt x="36" y="10"/>
                      <a:pt x="36" y="11"/>
                    </a:cubicBezTo>
                    <a:cubicBezTo>
                      <a:pt x="37" y="11"/>
                      <a:pt x="37" y="11"/>
                      <a:pt x="38" y="11"/>
                    </a:cubicBezTo>
                    <a:cubicBezTo>
                      <a:pt x="38" y="12"/>
                      <a:pt x="39" y="12"/>
                      <a:pt x="39" y="12"/>
                    </a:cubicBezTo>
                    <a:cubicBezTo>
                      <a:pt x="41" y="14"/>
                      <a:pt x="43" y="15"/>
                      <a:pt x="44" y="17"/>
                    </a:cubicBezTo>
                    <a:cubicBezTo>
                      <a:pt x="46" y="18"/>
                      <a:pt x="48" y="20"/>
                      <a:pt x="49" y="21"/>
                    </a:cubicBezTo>
                    <a:cubicBezTo>
                      <a:pt x="50" y="22"/>
                      <a:pt x="50" y="23"/>
                      <a:pt x="51" y="24"/>
                    </a:cubicBezTo>
                    <a:cubicBezTo>
                      <a:pt x="52" y="25"/>
                      <a:pt x="52" y="26"/>
                      <a:pt x="53" y="27"/>
                    </a:cubicBezTo>
                    <a:cubicBezTo>
                      <a:pt x="53" y="28"/>
                      <a:pt x="53" y="29"/>
                      <a:pt x="53" y="30"/>
                    </a:cubicBezTo>
                    <a:cubicBezTo>
                      <a:pt x="53" y="32"/>
                      <a:pt x="53" y="33"/>
                      <a:pt x="53" y="34"/>
                    </a:cubicBezTo>
                    <a:cubicBezTo>
                      <a:pt x="52" y="35"/>
                      <a:pt x="51" y="36"/>
                      <a:pt x="50" y="37"/>
                    </a:cubicBezTo>
                    <a:cubicBezTo>
                      <a:pt x="49" y="37"/>
                      <a:pt x="48" y="38"/>
                      <a:pt x="47" y="38"/>
                    </a:cubicBezTo>
                    <a:cubicBezTo>
                      <a:pt x="45" y="38"/>
                      <a:pt x="44" y="38"/>
                      <a:pt x="43" y="38"/>
                    </a:cubicBezTo>
                    <a:cubicBezTo>
                      <a:pt x="41" y="38"/>
                      <a:pt x="40" y="37"/>
                      <a:pt x="38" y="37"/>
                    </a:cubicBezTo>
                    <a:cubicBezTo>
                      <a:pt x="39" y="38"/>
                      <a:pt x="40" y="39"/>
                      <a:pt x="41" y="40"/>
                    </a:cubicBezTo>
                    <a:cubicBezTo>
                      <a:pt x="42" y="41"/>
                      <a:pt x="43" y="43"/>
                      <a:pt x="44" y="44"/>
                    </a:cubicBezTo>
                    <a:cubicBezTo>
                      <a:pt x="44" y="45"/>
                      <a:pt x="45" y="46"/>
                      <a:pt x="45" y="48"/>
                    </a:cubicBezTo>
                    <a:cubicBezTo>
                      <a:pt x="45" y="49"/>
                      <a:pt x="45" y="50"/>
                      <a:pt x="44" y="52"/>
                    </a:cubicBezTo>
                    <a:cubicBezTo>
                      <a:pt x="44" y="52"/>
                      <a:pt x="43" y="53"/>
                      <a:pt x="42" y="54"/>
                    </a:cubicBezTo>
                    <a:cubicBezTo>
                      <a:pt x="42" y="54"/>
                      <a:pt x="41" y="55"/>
                      <a:pt x="40" y="55"/>
                    </a:cubicBezTo>
                    <a:cubicBezTo>
                      <a:pt x="39" y="55"/>
                      <a:pt x="38" y="55"/>
                      <a:pt x="38" y="56"/>
                    </a:cubicBezTo>
                    <a:cubicBezTo>
                      <a:pt x="37" y="56"/>
                      <a:pt x="36" y="56"/>
                      <a:pt x="35" y="55"/>
                    </a:cubicBezTo>
                    <a:cubicBezTo>
                      <a:pt x="34" y="55"/>
                      <a:pt x="33" y="55"/>
                      <a:pt x="32" y="55"/>
                    </a:cubicBezTo>
                    <a:cubicBezTo>
                      <a:pt x="31" y="54"/>
                      <a:pt x="30" y="54"/>
                      <a:pt x="29" y="53"/>
                    </a:cubicBezTo>
                    <a:cubicBezTo>
                      <a:pt x="28" y="53"/>
                      <a:pt x="27" y="52"/>
                      <a:pt x="26" y="52"/>
                    </a:cubicBezTo>
                    <a:cubicBezTo>
                      <a:pt x="25" y="51"/>
                      <a:pt x="24" y="51"/>
                      <a:pt x="23" y="50"/>
                    </a:cubicBezTo>
                    <a:cubicBezTo>
                      <a:pt x="22" y="50"/>
                      <a:pt x="21" y="49"/>
                      <a:pt x="21" y="49"/>
                    </a:cubicBezTo>
                    <a:cubicBezTo>
                      <a:pt x="20" y="48"/>
                      <a:pt x="19" y="48"/>
                      <a:pt x="18" y="47"/>
                    </a:cubicBezTo>
                    <a:cubicBezTo>
                      <a:pt x="16" y="46"/>
                      <a:pt x="15" y="45"/>
                      <a:pt x="13" y="44"/>
                    </a:cubicBezTo>
                    <a:cubicBezTo>
                      <a:pt x="11" y="42"/>
                      <a:pt x="9" y="41"/>
                      <a:pt x="8" y="39"/>
                    </a:cubicBezTo>
                    <a:cubicBezTo>
                      <a:pt x="7" y="38"/>
                      <a:pt x="6" y="37"/>
                      <a:pt x="5" y="36"/>
                    </a:cubicBezTo>
                    <a:cubicBezTo>
                      <a:pt x="4" y="35"/>
                      <a:pt x="3" y="34"/>
                      <a:pt x="2" y="33"/>
                    </a:cubicBezTo>
                    <a:cubicBezTo>
                      <a:pt x="1" y="32"/>
                      <a:pt x="1" y="31"/>
                      <a:pt x="0" y="30"/>
                    </a:cubicBezTo>
                    <a:cubicBezTo>
                      <a:pt x="0" y="29"/>
                      <a:pt x="0" y="27"/>
                      <a:pt x="0" y="26"/>
                    </a:cubicBezTo>
                    <a:cubicBezTo>
                      <a:pt x="0" y="25"/>
                      <a:pt x="1" y="25"/>
                      <a:pt x="1" y="25"/>
                    </a:cubicBezTo>
                    <a:cubicBezTo>
                      <a:pt x="2" y="25"/>
                      <a:pt x="2" y="25"/>
                      <a:pt x="3" y="25"/>
                    </a:cubicBezTo>
                    <a:cubicBezTo>
                      <a:pt x="4" y="25"/>
                      <a:pt x="4" y="25"/>
                      <a:pt x="5" y="25"/>
                    </a:cubicBezTo>
                    <a:cubicBezTo>
                      <a:pt x="5" y="26"/>
                      <a:pt x="6" y="26"/>
                      <a:pt x="7" y="26"/>
                    </a:cubicBezTo>
                    <a:cubicBezTo>
                      <a:pt x="7" y="27"/>
                      <a:pt x="8" y="28"/>
                      <a:pt x="9" y="28"/>
                    </a:cubicBezTo>
                    <a:cubicBezTo>
                      <a:pt x="10" y="29"/>
                      <a:pt x="11" y="30"/>
                      <a:pt x="12" y="31"/>
                    </a:cubicBezTo>
                    <a:cubicBezTo>
                      <a:pt x="12" y="31"/>
                      <a:pt x="12" y="31"/>
                      <a:pt x="13" y="32"/>
                    </a:cubicBezTo>
                    <a:cubicBezTo>
                      <a:pt x="13" y="32"/>
                      <a:pt x="13" y="32"/>
                      <a:pt x="13" y="33"/>
                    </a:cubicBezTo>
                    <a:cubicBezTo>
                      <a:pt x="15" y="35"/>
                      <a:pt x="17" y="36"/>
                      <a:pt x="19" y="38"/>
                    </a:cubicBezTo>
                    <a:cubicBezTo>
                      <a:pt x="21" y="39"/>
                      <a:pt x="23" y="41"/>
                      <a:pt x="25" y="42"/>
                    </a:cubicBezTo>
                    <a:cubicBezTo>
                      <a:pt x="26" y="43"/>
                      <a:pt x="27" y="44"/>
                      <a:pt x="28" y="44"/>
                    </a:cubicBezTo>
                    <a:cubicBezTo>
                      <a:pt x="29" y="45"/>
                      <a:pt x="31" y="45"/>
                      <a:pt x="32" y="45"/>
                    </a:cubicBezTo>
                    <a:cubicBezTo>
                      <a:pt x="31" y="43"/>
                      <a:pt x="30" y="41"/>
                      <a:pt x="29" y="40"/>
                    </a:cubicBezTo>
                    <a:cubicBezTo>
                      <a:pt x="28" y="38"/>
                      <a:pt x="27" y="37"/>
                      <a:pt x="25" y="36"/>
                    </a:cubicBezTo>
                    <a:cubicBezTo>
                      <a:pt x="24" y="34"/>
                      <a:pt x="22" y="33"/>
                      <a:pt x="21" y="32"/>
                    </a:cubicBezTo>
                    <a:cubicBezTo>
                      <a:pt x="19" y="30"/>
                      <a:pt x="18" y="29"/>
                      <a:pt x="17" y="28"/>
                    </a:cubicBezTo>
                    <a:cubicBezTo>
                      <a:pt x="16" y="27"/>
                      <a:pt x="15" y="27"/>
                      <a:pt x="15" y="26"/>
                    </a:cubicBezTo>
                    <a:cubicBezTo>
                      <a:pt x="14" y="26"/>
                      <a:pt x="14" y="25"/>
                      <a:pt x="13" y="25"/>
                    </a:cubicBezTo>
                    <a:cubicBezTo>
                      <a:pt x="13" y="24"/>
                      <a:pt x="12" y="24"/>
                      <a:pt x="12" y="24"/>
                    </a:cubicBezTo>
                    <a:cubicBezTo>
                      <a:pt x="12" y="23"/>
                      <a:pt x="12" y="23"/>
                      <a:pt x="12" y="22"/>
                    </a:cubicBezTo>
                    <a:cubicBezTo>
                      <a:pt x="11" y="22"/>
                      <a:pt x="11" y="22"/>
                      <a:pt x="11" y="21"/>
                    </a:cubicBezTo>
                    <a:cubicBezTo>
                      <a:pt x="11" y="21"/>
                      <a:pt x="12" y="20"/>
                      <a:pt x="12" y="20"/>
                    </a:cubicBezTo>
                    <a:cubicBezTo>
                      <a:pt x="12" y="19"/>
                      <a:pt x="13" y="18"/>
                      <a:pt x="14" y="18"/>
                    </a:cubicBezTo>
                    <a:cubicBezTo>
                      <a:pt x="15" y="18"/>
                      <a:pt x="16" y="18"/>
                      <a:pt x="17" y="18"/>
                    </a:cubicBezTo>
                    <a:cubicBezTo>
                      <a:pt x="18" y="18"/>
                      <a:pt x="19" y="18"/>
                      <a:pt x="20" y="19"/>
                    </a:cubicBezTo>
                    <a:cubicBezTo>
                      <a:pt x="21" y="19"/>
                      <a:pt x="22" y="20"/>
                      <a:pt x="22" y="20"/>
                    </a:cubicBezTo>
                    <a:cubicBezTo>
                      <a:pt x="24" y="21"/>
                      <a:pt x="25" y="21"/>
                      <a:pt x="26" y="22"/>
                    </a:cubicBezTo>
                    <a:cubicBezTo>
                      <a:pt x="27" y="22"/>
                      <a:pt x="28" y="23"/>
                      <a:pt x="29" y="24"/>
                    </a:cubicBezTo>
                    <a:cubicBezTo>
                      <a:pt x="31" y="25"/>
                      <a:pt x="33" y="26"/>
                      <a:pt x="36" y="26"/>
                    </a:cubicBezTo>
                    <a:cubicBezTo>
                      <a:pt x="38" y="27"/>
                      <a:pt x="40" y="28"/>
                      <a:pt x="42" y="28"/>
                    </a:cubicBezTo>
                    <a:cubicBezTo>
                      <a:pt x="42" y="27"/>
                      <a:pt x="41" y="26"/>
                      <a:pt x="40" y="25"/>
                    </a:cubicBezTo>
                    <a:cubicBezTo>
                      <a:pt x="40" y="25"/>
                      <a:pt x="39" y="24"/>
                      <a:pt x="38" y="23"/>
                    </a:cubicBezTo>
                    <a:cubicBezTo>
                      <a:pt x="37" y="22"/>
                      <a:pt x="36" y="22"/>
                      <a:pt x="35" y="21"/>
                    </a:cubicBezTo>
                    <a:cubicBezTo>
                      <a:pt x="35" y="21"/>
                      <a:pt x="34" y="20"/>
                      <a:pt x="33" y="19"/>
                    </a:cubicBezTo>
                    <a:cubicBezTo>
                      <a:pt x="31" y="18"/>
                      <a:pt x="29" y="17"/>
                      <a:pt x="27" y="15"/>
                    </a:cubicBezTo>
                    <a:cubicBezTo>
                      <a:pt x="25" y="14"/>
                      <a:pt x="23" y="13"/>
                      <a:pt x="21" y="11"/>
                    </a:cubicBezTo>
                    <a:cubicBezTo>
                      <a:pt x="20" y="11"/>
                      <a:pt x="20" y="10"/>
                      <a:pt x="19" y="10"/>
                    </a:cubicBezTo>
                    <a:cubicBezTo>
                      <a:pt x="18" y="9"/>
                      <a:pt x="17" y="8"/>
                      <a:pt x="16" y="8"/>
                    </a:cubicBezTo>
                    <a:cubicBezTo>
                      <a:pt x="15" y="7"/>
                      <a:pt x="15" y="7"/>
                      <a:pt x="14" y="6"/>
                    </a:cubicBezTo>
                    <a:cubicBezTo>
                      <a:pt x="14" y="6"/>
                      <a:pt x="14" y="6"/>
                      <a:pt x="13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2" y="4"/>
                      <a:pt x="12" y="4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3" y="2"/>
                      <a:pt x="14" y="1"/>
                      <a:pt x="15" y="1"/>
                    </a:cubicBezTo>
                    <a:cubicBezTo>
                      <a:pt x="16" y="1"/>
                      <a:pt x="16" y="0"/>
                      <a:pt x="17" y="0"/>
                    </a:cubicBezTo>
                    <a:cubicBezTo>
                      <a:pt x="18" y="0"/>
                      <a:pt x="19" y="1"/>
                      <a:pt x="20" y="1"/>
                    </a:cubicBezTo>
                    <a:cubicBezTo>
                      <a:pt x="21" y="1"/>
                      <a:pt x="22" y="2"/>
                      <a:pt x="23" y="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5" name="iṧ1íḑê">
                <a:extLst>
                  <a:ext uri="{FF2B5EF4-FFF2-40B4-BE49-F238E27FC236}">
                    <a16:creationId xmlns:a16="http://schemas.microsoft.com/office/drawing/2014/main" id="{61157899-8504-4EAA-A746-0406C09961CC}"/>
                  </a:ext>
                </a:extLst>
              </p:cNvPr>
              <p:cNvSpPr/>
              <p:nvPr/>
            </p:nvSpPr>
            <p:spPr>
              <a:xfrm flipH="1">
                <a:off x="9785760" y="3620103"/>
                <a:ext cx="99979" cy="159411"/>
              </a:xfrm>
              <a:custGeom>
                <a:avLst/>
                <a:gdLst/>
                <a:ahLst/>
                <a:cxnLst/>
                <a:rect l="l" t="t" r="r" b="b"/>
                <a:pathLst>
                  <a:path w="76" h="121" extrusionOk="0">
                    <a:moveTo>
                      <a:pt x="75" y="114"/>
                    </a:moveTo>
                    <a:cubicBezTo>
                      <a:pt x="74" y="115"/>
                      <a:pt x="74" y="116"/>
                      <a:pt x="73" y="117"/>
                    </a:cubicBezTo>
                    <a:cubicBezTo>
                      <a:pt x="72" y="117"/>
                      <a:pt x="72" y="118"/>
                      <a:pt x="71" y="119"/>
                    </a:cubicBezTo>
                    <a:cubicBezTo>
                      <a:pt x="70" y="119"/>
                      <a:pt x="69" y="120"/>
                      <a:pt x="68" y="120"/>
                    </a:cubicBezTo>
                    <a:cubicBezTo>
                      <a:pt x="67" y="121"/>
                      <a:pt x="66" y="121"/>
                      <a:pt x="65" y="121"/>
                    </a:cubicBezTo>
                    <a:cubicBezTo>
                      <a:pt x="63" y="121"/>
                      <a:pt x="61" y="121"/>
                      <a:pt x="59" y="119"/>
                    </a:cubicBezTo>
                    <a:cubicBezTo>
                      <a:pt x="58" y="118"/>
                      <a:pt x="56" y="117"/>
                      <a:pt x="55" y="115"/>
                    </a:cubicBezTo>
                    <a:cubicBezTo>
                      <a:pt x="54" y="113"/>
                      <a:pt x="53" y="112"/>
                      <a:pt x="52" y="110"/>
                    </a:cubicBezTo>
                    <a:cubicBezTo>
                      <a:pt x="50" y="108"/>
                      <a:pt x="49" y="106"/>
                      <a:pt x="48" y="105"/>
                    </a:cubicBezTo>
                    <a:cubicBezTo>
                      <a:pt x="46" y="100"/>
                      <a:pt x="44" y="96"/>
                      <a:pt x="42" y="91"/>
                    </a:cubicBezTo>
                    <a:cubicBezTo>
                      <a:pt x="40" y="87"/>
                      <a:pt x="38" y="82"/>
                      <a:pt x="36" y="78"/>
                    </a:cubicBezTo>
                    <a:cubicBezTo>
                      <a:pt x="34" y="82"/>
                      <a:pt x="31" y="86"/>
                      <a:pt x="29" y="91"/>
                    </a:cubicBezTo>
                    <a:cubicBezTo>
                      <a:pt x="27" y="95"/>
                      <a:pt x="25" y="100"/>
                      <a:pt x="23" y="104"/>
                    </a:cubicBezTo>
                    <a:cubicBezTo>
                      <a:pt x="22" y="105"/>
                      <a:pt x="21" y="107"/>
                      <a:pt x="20" y="109"/>
                    </a:cubicBezTo>
                    <a:cubicBezTo>
                      <a:pt x="19" y="111"/>
                      <a:pt x="18" y="113"/>
                      <a:pt x="17" y="114"/>
                    </a:cubicBezTo>
                    <a:cubicBezTo>
                      <a:pt x="16" y="116"/>
                      <a:pt x="15" y="118"/>
                      <a:pt x="13" y="119"/>
                    </a:cubicBezTo>
                    <a:cubicBezTo>
                      <a:pt x="12" y="120"/>
                      <a:pt x="10" y="121"/>
                      <a:pt x="8" y="121"/>
                    </a:cubicBezTo>
                    <a:cubicBezTo>
                      <a:pt x="7" y="121"/>
                      <a:pt x="5" y="120"/>
                      <a:pt x="4" y="120"/>
                    </a:cubicBezTo>
                    <a:cubicBezTo>
                      <a:pt x="3" y="119"/>
                      <a:pt x="3" y="119"/>
                      <a:pt x="2" y="118"/>
                    </a:cubicBezTo>
                    <a:cubicBezTo>
                      <a:pt x="1" y="117"/>
                      <a:pt x="1" y="116"/>
                      <a:pt x="0" y="115"/>
                    </a:cubicBezTo>
                    <a:cubicBezTo>
                      <a:pt x="0" y="114"/>
                      <a:pt x="0" y="113"/>
                      <a:pt x="0" y="111"/>
                    </a:cubicBezTo>
                    <a:cubicBezTo>
                      <a:pt x="0" y="111"/>
                      <a:pt x="0" y="110"/>
                      <a:pt x="0" y="110"/>
                    </a:cubicBezTo>
                    <a:cubicBezTo>
                      <a:pt x="0" y="109"/>
                      <a:pt x="0" y="109"/>
                      <a:pt x="0" y="108"/>
                    </a:cubicBezTo>
                    <a:cubicBezTo>
                      <a:pt x="0" y="105"/>
                      <a:pt x="1" y="101"/>
                      <a:pt x="3" y="98"/>
                    </a:cubicBezTo>
                    <a:cubicBezTo>
                      <a:pt x="4" y="95"/>
                      <a:pt x="6" y="92"/>
                      <a:pt x="7" y="89"/>
                    </a:cubicBezTo>
                    <a:cubicBezTo>
                      <a:pt x="9" y="86"/>
                      <a:pt x="11" y="83"/>
                      <a:pt x="13" y="80"/>
                    </a:cubicBezTo>
                    <a:cubicBezTo>
                      <a:pt x="15" y="77"/>
                      <a:pt x="17" y="74"/>
                      <a:pt x="19" y="71"/>
                    </a:cubicBezTo>
                    <a:cubicBezTo>
                      <a:pt x="20" y="69"/>
                      <a:pt x="22" y="67"/>
                      <a:pt x="23" y="65"/>
                    </a:cubicBezTo>
                    <a:cubicBezTo>
                      <a:pt x="25" y="62"/>
                      <a:pt x="26" y="60"/>
                      <a:pt x="27" y="58"/>
                    </a:cubicBezTo>
                    <a:cubicBezTo>
                      <a:pt x="26" y="53"/>
                      <a:pt x="24" y="48"/>
                      <a:pt x="22" y="44"/>
                    </a:cubicBezTo>
                    <a:cubicBezTo>
                      <a:pt x="20" y="39"/>
                      <a:pt x="18" y="34"/>
                      <a:pt x="16" y="30"/>
                    </a:cubicBezTo>
                    <a:cubicBezTo>
                      <a:pt x="16" y="28"/>
                      <a:pt x="15" y="26"/>
                      <a:pt x="14" y="24"/>
                    </a:cubicBezTo>
                    <a:cubicBezTo>
                      <a:pt x="13" y="22"/>
                      <a:pt x="13" y="20"/>
                      <a:pt x="12" y="18"/>
                    </a:cubicBezTo>
                    <a:cubicBezTo>
                      <a:pt x="11" y="16"/>
                      <a:pt x="11" y="15"/>
                      <a:pt x="10" y="13"/>
                    </a:cubicBezTo>
                    <a:cubicBezTo>
                      <a:pt x="10" y="11"/>
                      <a:pt x="10" y="9"/>
                      <a:pt x="10" y="7"/>
                    </a:cubicBezTo>
                    <a:cubicBezTo>
                      <a:pt x="10" y="6"/>
                      <a:pt x="10" y="5"/>
                      <a:pt x="11" y="4"/>
                    </a:cubicBezTo>
                    <a:cubicBezTo>
                      <a:pt x="11" y="3"/>
                      <a:pt x="12" y="3"/>
                      <a:pt x="12" y="2"/>
                    </a:cubicBezTo>
                    <a:cubicBezTo>
                      <a:pt x="13" y="2"/>
                      <a:pt x="14" y="1"/>
                      <a:pt x="15" y="1"/>
                    </a:cubicBezTo>
                    <a:cubicBezTo>
                      <a:pt x="16" y="1"/>
                      <a:pt x="17" y="1"/>
                      <a:pt x="18" y="0"/>
                    </a:cubicBezTo>
                    <a:cubicBezTo>
                      <a:pt x="19" y="0"/>
                      <a:pt x="20" y="0"/>
                      <a:pt x="21" y="0"/>
                    </a:cubicBezTo>
                    <a:cubicBezTo>
                      <a:pt x="22" y="0"/>
                      <a:pt x="23" y="0"/>
                      <a:pt x="23" y="0"/>
                    </a:cubicBezTo>
                    <a:cubicBezTo>
                      <a:pt x="24" y="1"/>
                      <a:pt x="25" y="1"/>
                      <a:pt x="25" y="2"/>
                    </a:cubicBezTo>
                    <a:cubicBezTo>
                      <a:pt x="26" y="3"/>
                      <a:pt x="26" y="3"/>
                      <a:pt x="27" y="4"/>
                    </a:cubicBezTo>
                    <a:cubicBezTo>
                      <a:pt x="28" y="6"/>
                      <a:pt x="29" y="8"/>
                      <a:pt x="30" y="11"/>
                    </a:cubicBezTo>
                    <a:cubicBezTo>
                      <a:pt x="31" y="13"/>
                      <a:pt x="32" y="15"/>
                      <a:pt x="33" y="17"/>
                    </a:cubicBezTo>
                    <a:cubicBezTo>
                      <a:pt x="35" y="20"/>
                      <a:pt x="36" y="24"/>
                      <a:pt x="37" y="27"/>
                    </a:cubicBezTo>
                    <a:cubicBezTo>
                      <a:pt x="38" y="30"/>
                      <a:pt x="40" y="33"/>
                      <a:pt x="41" y="36"/>
                    </a:cubicBezTo>
                    <a:cubicBezTo>
                      <a:pt x="43" y="33"/>
                      <a:pt x="45" y="29"/>
                      <a:pt x="47" y="26"/>
                    </a:cubicBezTo>
                    <a:cubicBezTo>
                      <a:pt x="49" y="22"/>
                      <a:pt x="51" y="19"/>
                      <a:pt x="53" y="15"/>
                    </a:cubicBezTo>
                    <a:cubicBezTo>
                      <a:pt x="54" y="14"/>
                      <a:pt x="55" y="12"/>
                      <a:pt x="55" y="11"/>
                    </a:cubicBezTo>
                    <a:cubicBezTo>
                      <a:pt x="56" y="9"/>
                      <a:pt x="57" y="8"/>
                      <a:pt x="58" y="7"/>
                    </a:cubicBezTo>
                    <a:cubicBezTo>
                      <a:pt x="59" y="5"/>
                      <a:pt x="60" y="4"/>
                      <a:pt x="61" y="3"/>
                    </a:cubicBezTo>
                    <a:cubicBezTo>
                      <a:pt x="63" y="1"/>
                      <a:pt x="64" y="0"/>
                      <a:pt x="66" y="0"/>
                    </a:cubicBezTo>
                    <a:cubicBezTo>
                      <a:pt x="67" y="0"/>
                      <a:pt x="68" y="0"/>
                      <a:pt x="70" y="1"/>
                    </a:cubicBezTo>
                    <a:cubicBezTo>
                      <a:pt x="71" y="2"/>
                      <a:pt x="72" y="3"/>
                      <a:pt x="73" y="4"/>
                    </a:cubicBezTo>
                    <a:cubicBezTo>
                      <a:pt x="74" y="5"/>
                      <a:pt x="75" y="6"/>
                      <a:pt x="75" y="7"/>
                    </a:cubicBezTo>
                    <a:cubicBezTo>
                      <a:pt x="76" y="9"/>
                      <a:pt x="76" y="10"/>
                      <a:pt x="76" y="12"/>
                    </a:cubicBezTo>
                    <a:cubicBezTo>
                      <a:pt x="75" y="16"/>
                      <a:pt x="74" y="21"/>
                      <a:pt x="72" y="25"/>
                    </a:cubicBezTo>
                    <a:cubicBezTo>
                      <a:pt x="70" y="29"/>
                      <a:pt x="68" y="33"/>
                      <a:pt x="65" y="37"/>
                    </a:cubicBezTo>
                    <a:cubicBezTo>
                      <a:pt x="63" y="41"/>
                      <a:pt x="60" y="45"/>
                      <a:pt x="57" y="48"/>
                    </a:cubicBezTo>
                    <a:cubicBezTo>
                      <a:pt x="54" y="52"/>
                      <a:pt x="52" y="56"/>
                      <a:pt x="49" y="59"/>
                    </a:cubicBezTo>
                    <a:cubicBezTo>
                      <a:pt x="51" y="65"/>
                      <a:pt x="53" y="70"/>
                      <a:pt x="56" y="75"/>
                    </a:cubicBezTo>
                    <a:cubicBezTo>
                      <a:pt x="59" y="80"/>
                      <a:pt x="61" y="85"/>
                      <a:pt x="64" y="91"/>
                    </a:cubicBezTo>
                    <a:cubicBezTo>
                      <a:pt x="66" y="95"/>
                      <a:pt x="68" y="98"/>
                      <a:pt x="70" y="102"/>
                    </a:cubicBezTo>
                    <a:cubicBezTo>
                      <a:pt x="72" y="106"/>
                      <a:pt x="74" y="110"/>
                      <a:pt x="75" y="11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6" name="ï$ḻïdè">
                <a:extLst>
                  <a:ext uri="{FF2B5EF4-FFF2-40B4-BE49-F238E27FC236}">
                    <a16:creationId xmlns:a16="http://schemas.microsoft.com/office/drawing/2014/main" id="{331B2250-9879-4705-925B-23E805F9C2F4}"/>
                  </a:ext>
                </a:extLst>
              </p:cNvPr>
              <p:cNvSpPr/>
              <p:nvPr/>
            </p:nvSpPr>
            <p:spPr>
              <a:xfrm flipH="1">
                <a:off x="10306205" y="3268509"/>
                <a:ext cx="127195" cy="169409"/>
              </a:xfrm>
              <a:custGeom>
                <a:avLst/>
                <a:gdLst/>
                <a:ahLst/>
                <a:cxnLst/>
                <a:rect l="l" t="t" r="r" b="b"/>
                <a:pathLst>
                  <a:path w="97" h="129" extrusionOk="0">
                    <a:moveTo>
                      <a:pt x="56" y="4"/>
                    </a:moveTo>
                    <a:cubicBezTo>
                      <a:pt x="57" y="5"/>
                      <a:pt x="58" y="7"/>
                      <a:pt x="59" y="9"/>
                    </a:cubicBezTo>
                    <a:cubicBezTo>
                      <a:pt x="60" y="11"/>
                      <a:pt x="61" y="13"/>
                      <a:pt x="62" y="15"/>
                    </a:cubicBezTo>
                    <a:cubicBezTo>
                      <a:pt x="63" y="17"/>
                      <a:pt x="63" y="20"/>
                      <a:pt x="64" y="22"/>
                    </a:cubicBezTo>
                    <a:cubicBezTo>
                      <a:pt x="64" y="24"/>
                      <a:pt x="65" y="26"/>
                      <a:pt x="65" y="29"/>
                    </a:cubicBezTo>
                    <a:cubicBezTo>
                      <a:pt x="67" y="34"/>
                      <a:pt x="68" y="39"/>
                      <a:pt x="69" y="44"/>
                    </a:cubicBezTo>
                    <a:cubicBezTo>
                      <a:pt x="70" y="49"/>
                      <a:pt x="71" y="55"/>
                      <a:pt x="73" y="60"/>
                    </a:cubicBezTo>
                    <a:cubicBezTo>
                      <a:pt x="75" y="66"/>
                      <a:pt x="77" y="72"/>
                      <a:pt x="80" y="78"/>
                    </a:cubicBezTo>
                    <a:cubicBezTo>
                      <a:pt x="82" y="83"/>
                      <a:pt x="85" y="89"/>
                      <a:pt x="87" y="95"/>
                    </a:cubicBezTo>
                    <a:cubicBezTo>
                      <a:pt x="88" y="98"/>
                      <a:pt x="90" y="100"/>
                      <a:pt x="91" y="103"/>
                    </a:cubicBezTo>
                    <a:cubicBezTo>
                      <a:pt x="92" y="105"/>
                      <a:pt x="93" y="108"/>
                      <a:pt x="94" y="110"/>
                    </a:cubicBezTo>
                    <a:cubicBezTo>
                      <a:pt x="95" y="111"/>
                      <a:pt x="95" y="113"/>
                      <a:pt x="95" y="114"/>
                    </a:cubicBezTo>
                    <a:cubicBezTo>
                      <a:pt x="96" y="115"/>
                      <a:pt x="96" y="116"/>
                      <a:pt x="97" y="118"/>
                    </a:cubicBezTo>
                    <a:cubicBezTo>
                      <a:pt x="97" y="119"/>
                      <a:pt x="97" y="120"/>
                      <a:pt x="97" y="121"/>
                    </a:cubicBezTo>
                    <a:cubicBezTo>
                      <a:pt x="97" y="123"/>
                      <a:pt x="96" y="124"/>
                      <a:pt x="96" y="125"/>
                    </a:cubicBezTo>
                    <a:cubicBezTo>
                      <a:pt x="94" y="126"/>
                      <a:pt x="93" y="127"/>
                      <a:pt x="91" y="128"/>
                    </a:cubicBezTo>
                    <a:cubicBezTo>
                      <a:pt x="89" y="128"/>
                      <a:pt x="88" y="129"/>
                      <a:pt x="86" y="128"/>
                    </a:cubicBezTo>
                    <a:cubicBezTo>
                      <a:pt x="84" y="128"/>
                      <a:pt x="82" y="127"/>
                      <a:pt x="81" y="126"/>
                    </a:cubicBezTo>
                    <a:cubicBezTo>
                      <a:pt x="79" y="126"/>
                      <a:pt x="78" y="124"/>
                      <a:pt x="77" y="123"/>
                    </a:cubicBezTo>
                    <a:cubicBezTo>
                      <a:pt x="74" y="120"/>
                      <a:pt x="72" y="117"/>
                      <a:pt x="71" y="114"/>
                    </a:cubicBezTo>
                    <a:cubicBezTo>
                      <a:pt x="69" y="111"/>
                      <a:pt x="68" y="107"/>
                      <a:pt x="66" y="104"/>
                    </a:cubicBezTo>
                    <a:cubicBezTo>
                      <a:pt x="65" y="100"/>
                      <a:pt x="64" y="97"/>
                      <a:pt x="63" y="93"/>
                    </a:cubicBezTo>
                    <a:cubicBezTo>
                      <a:pt x="62" y="90"/>
                      <a:pt x="61" y="86"/>
                      <a:pt x="60" y="83"/>
                    </a:cubicBezTo>
                    <a:cubicBezTo>
                      <a:pt x="57" y="85"/>
                      <a:pt x="55" y="87"/>
                      <a:pt x="53" y="87"/>
                    </a:cubicBezTo>
                    <a:cubicBezTo>
                      <a:pt x="50" y="88"/>
                      <a:pt x="47" y="89"/>
                      <a:pt x="44" y="88"/>
                    </a:cubicBezTo>
                    <a:cubicBezTo>
                      <a:pt x="42" y="88"/>
                      <a:pt x="39" y="88"/>
                      <a:pt x="36" y="87"/>
                    </a:cubicBezTo>
                    <a:cubicBezTo>
                      <a:pt x="33" y="86"/>
                      <a:pt x="31" y="85"/>
                      <a:pt x="28" y="83"/>
                    </a:cubicBezTo>
                    <a:cubicBezTo>
                      <a:pt x="24" y="80"/>
                      <a:pt x="19" y="77"/>
                      <a:pt x="15" y="73"/>
                    </a:cubicBezTo>
                    <a:cubicBezTo>
                      <a:pt x="11" y="69"/>
                      <a:pt x="8" y="65"/>
                      <a:pt x="4" y="61"/>
                    </a:cubicBezTo>
                    <a:cubicBezTo>
                      <a:pt x="3" y="60"/>
                      <a:pt x="2" y="58"/>
                      <a:pt x="2" y="57"/>
                    </a:cubicBezTo>
                    <a:cubicBezTo>
                      <a:pt x="1" y="56"/>
                      <a:pt x="1" y="54"/>
                      <a:pt x="1" y="53"/>
                    </a:cubicBezTo>
                    <a:cubicBezTo>
                      <a:pt x="0" y="51"/>
                      <a:pt x="0" y="50"/>
                      <a:pt x="1" y="48"/>
                    </a:cubicBezTo>
                    <a:cubicBezTo>
                      <a:pt x="1" y="47"/>
                      <a:pt x="2" y="46"/>
                      <a:pt x="3" y="44"/>
                    </a:cubicBezTo>
                    <a:cubicBezTo>
                      <a:pt x="4" y="43"/>
                      <a:pt x="5" y="43"/>
                      <a:pt x="6" y="42"/>
                    </a:cubicBezTo>
                    <a:cubicBezTo>
                      <a:pt x="7" y="42"/>
                      <a:pt x="8" y="42"/>
                      <a:pt x="9" y="43"/>
                    </a:cubicBezTo>
                    <a:cubicBezTo>
                      <a:pt x="11" y="43"/>
                      <a:pt x="12" y="44"/>
                      <a:pt x="13" y="45"/>
                    </a:cubicBezTo>
                    <a:cubicBezTo>
                      <a:pt x="14" y="45"/>
                      <a:pt x="15" y="46"/>
                      <a:pt x="16" y="47"/>
                    </a:cubicBezTo>
                    <a:cubicBezTo>
                      <a:pt x="19" y="49"/>
                      <a:pt x="22" y="52"/>
                      <a:pt x="25" y="55"/>
                    </a:cubicBezTo>
                    <a:cubicBezTo>
                      <a:pt x="27" y="57"/>
                      <a:pt x="30" y="60"/>
                      <a:pt x="33" y="63"/>
                    </a:cubicBezTo>
                    <a:cubicBezTo>
                      <a:pt x="34" y="64"/>
                      <a:pt x="36" y="64"/>
                      <a:pt x="37" y="65"/>
                    </a:cubicBezTo>
                    <a:cubicBezTo>
                      <a:pt x="38" y="66"/>
                      <a:pt x="40" y="66"/>
                      <a:pt x="41" y="67"/>
                    </a:cubicBezTo>
                    <a:cubicBezTo>
                      <a:pt x="43" y="67"/>
                      <a:pt x="44" y="67"/>
                      <a:pt x="45" y="67"/>
                    </a:cubicBezTo>
                    <a:cubicBezTo>
                      <a:pt x="47" y="67"/>
                      <a:pt x="48" y="66"/>
                      <a:pt x="49" y="65"/>
                    </a:cubicBezTo>
                    <a:cubicBezTo>
                      <a:pt x="50" y="62"/>
                      <a:pt x="50" y="60"/>
                      <a:pt x="50" y="57"/>
                    </a:cubicBezTo>
                    <a:cubicBezTo>
                      <a:pt x="50" y="55"/>
                      <a:pt x="50" y="53"/>
                      <a:pt x="49" y="50"/>
                    </a:cubicBezTo>
                    <a:cubicBezTo>
                      <a:pt x="49" y="48"/>
                      <a:pt x="48" y="45"/>
                      <a:pt x="47" y="43"/>
                    </a:cubicBezTo>
                    <a:cubicBezTo>
                      <a:pt x="46" y="41"/>
                      <a:pt x="45" y="38"/>
                      <a:pt x="45" y="36"/>
                    </a:cubicBezTo>
                    <a:cubicBezTo>
                      <a:pt x="44" y="34"/>
                      <a:pt x="43" y="32"/>
                      <a:pt x="42" y="29"/>
                    </a:cubicBezTo>
                    <a:cubicBezTo>
                      <a:pt x="41" y="27"/>
                      <a:pt x="41" y="25"/>
                      <a:pt x="40" y="22"/>
                    </a:cubicBezTo>
                    <a:cubicBezTo>
                      <a:pt x="39" y="20"/>
                      <a:pt x="38" y="18"/>
                      <a:pt x="38" y="15"/>
                    </a:cubicBezTo>
                    <a:cubicBezTo>
                      <a:pt x="37" y="13"/>
                      <a:pt x="36" y="10"/>
                      <a:pt x="36" y="8"/>
                    </a:cubicBezTo>
                    <a:cubicBezTo>
                      <a:pt x="36" y="7"/>
                      <a:pt x="36" y="6"/>
                      <a:pt x="37" y="5"/>
                    </a:cubicBezTo>
                    <a:cubicBezTo>
                      <a:pt x="38" y="4"/>
                      <a:pt x="38" y="3"/>
                      <a:pt x="39" y="3"/>
                    </a:cubicBezTo>
                    <a:cubicBezTo>
                      <a:pt x="40" y="2"/>
                      <a:pt x="42" y="1"/>
                      <a:pt x="43" y="1"/>
                    </a:cubicBezTo>
                    <a:cubicBezTo>
                      <a:pt x="45" y="0"/>
                      <a:pt x="46" y="0"/>
                      <a:pt x="47" y="0"/>
                    </a:cubicBezTo>
                    <a:cubicBezTo>
                      <a:pt x="49" y="0"/>
                      <a:pt x="50" y="1"/>
                      <a:pt x="52" y="1"/>
                    </a:cubicBezTo>
                    <a:cubicBezTo>
                      <a:pt x="53" y="2"/>
                      <a:pt x="54" y="3"/>
                      <a:pt x="56" y="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7" name="íṡḷíďé">
                <a:extLst>
                  <a:ext uri="{FF2B5EF4-FFF2-40B4-BE49-F238E27FC236}">
                    <a16:creationId xmlns:a16="http://schemas.microsoft.com/office/drawing/2014/main" id="{B035A8A8-744F-4E4A-969F-BBDD06AC12D1}"/>
                  </a:ext>
                </a:extLst>
              </p:cNvPr>
              <p:cNvSpPr/>
              <p:nvPr/>
            </p:nvSpPr>
            <p:spPr>
              <a:xfrm flipH="1">
                <a:off x="10146794" y="3905044"/>
                <a:ext cx="73873" cy="82761"/>
              </a:xfrm>
              <a:custGeom>
                <a:avLst/>
                <a:gdLst/>
                <a:ahLst/>
                <a:cxnLst/>
                <a:rect l="l" t="t" r="r" b="b"/>
                <a:pathLst>
                  <a:path w="56" h="63" extrusionOk="0">
                    <a:moveTo>
                      <a:pt x="36" y="60"/>
                    </a:moveTo>
                    <a:cubicBezTo>
                      <a:pt x="35" y="61"/>
                      <a:pt x="34" y="61"/>
                      <a:pt x="34" y="62"/>
                    </a:cubicBezTo>
                    <a:cubicBezTo>
                      <a:pt x="33" y="62"/>
                      <a:pt x="32" y="63"/>
                      <a:pt x="31" y="63"/>
                    </a:cubicBezTo>
                    <a:cubicBezTo>
                      <a:pt x="28" y="62"/>
                      <a:pt x="25" y="62"/>
                      <a:pt x="22" y="61"/>
                    </a:cubicBezTo>
                    <a:cubicBezTo>
                      <a:pt x="19" y="61"/>
                      <a:pt x="16" y="60"/>
                      <a:pt x="13" y="59"/>
                    </a:cubicBezTo>
                    <a:cubicBezTo>
                      <a:pt x="11" y="58"/>
                      <a:pt x="9" y="58"/>
                      <a:pt x="8" y="57"/>
                    </a:cubicBezTo>
                    <a:cubicBezTo>
                      <a:pt x="6" y="56"/>
                      <a:pt x="5" y="56"/>
                      <a:pt x="3" y="55"/>
                    </a:cubicBezTo>
                    <a:cubicBezTo>
                      <a:pt x="3" y="54"/>
                      <a:pt x="2" y="54"/>
                      <a:pt x="2" y="53"/>
                    </a:cubicBezTo>
                    <a:cubicBezTo>
                      <a:pt x="1" y="53"/>
                      <a:pt x="1" y="52"/>
                      <a:pt x="1" y="51"/>
                    </a:cubicBezTo>
                    <a:cubicBezTo>
                      <a:pt x="1" y="51"/>
                      <a:pt x="0" y="50"/>
                      <a:pt x="0" y="49"/>
                    </a:cubicBezTo>
                    <a:cubicBezTo>
                      <a:pt x="0" y="49"/>
                      <a:pt x="0" y="48"/>
                      <a:pt x="0" y="47"/>
                    </a:cubicBezTo>
                    <a:cubicBezTo>
                      <a:pt x="1" y="47"/>
                      <a:pt x="1" y="46"/>
                      <a:pt x="1" y="46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4" y="43"/>
                      <a:pt x="7" y="41"/>
                      <a:pt x="9" y="39"/>
                    </a:cubicBezTo>
                    <a:cubicBezTo>
                      <a:pt x="11" y="38"/>
                      <a:pt x="13" y="36"/>
                      <a:pt x="16" y="34"/>
                    </a:cubicBezTo>
                    <a:cubicBezTo>
                      <a:pt x="21" y="31"/>
                      <a:pt x="26" y="28"/>
                      <a:pt x="31" y="26"/>
                    </a:cubicBezTo>
                    <a:cubicBezTo>
                      <a:pt x="36" y="23"/>
                      <a:pt x="41" y="20"/>
                      <a:pt x="46" y="17"/>
                    </a:cubicBezTo>
                    <a:cubicBezTo>
                      <a:pt x="45" y="16"/>
                      <a:pt x="44" y="16"/>
                      <a:pt x="43" y="15"/>
                    </a:cubicBezTo>
                    <a:cubicBezTo>
                      <a:pt x="42" y="14"/>
                      <a:pt x="41" y="14"/>
                      <a:pt x="40" y="13"/>
                    </a:cubicBezTo>
                    <a:cubicBezTo>
                      <a:pt x="39" y="13"/>
                      <a:pt x="39" y="13"/>
                      <a:pt x="38" y="12"/>
                    </a:cubicBezTo>
                    <a:cubicBezTo>
                      <a:pt x="37" y="12"/>
                      <a:pt x="37" y="12"/>
                      <a:pt x="36" y="12"/>
                    </a:cubicBezTo>
                    <a:cubicBezTo>
                      <a:pt x="36" y="11"/>
                      <a:pt x="35" y="11"/>
                      <a:pt x="35" y="11"/>
                    </a:cubicBezTo>
                    <a:cubicBezTo>
                      <a:pt x="34" y="11"/>
                      <a:pt x="33" y="10"/>
                      <a:pt x="33" y="10"/>
                    </a:cubicBezTo>
                    <a:cubicBezTo>
                      <a:pt x="32" y="10"/>
                      <a:pt x="31" y="9"/>
                      <a:pt x="30" y="9"/>
                    </a:cubicBezTo>
                    <a:cubicBezTo>
                      <a:pt x="29" y="8"/>
                      <a:pt x="28" y="8"/>
                      <a:pt x="27" y="7"/>
                    </a:cubicBezTo>
                    <a:cubicBezTo>
                      <a:pt x="26" y="7"/>
                      <a:pt x="26" y="7"/>
                      <a:pt x="25" y="6"/>
                    </a:cubicBezTo>
                    <a:cubicBezTo>
                      <a:pt x="25" y="6"/>
                      <a:pt x="24" y="5"/>
                      <a:pt x="24" y="5"/>
                    </a:cubicBezTo>
                    <a:cubicBezTo>
                      <a:pt x="24" y="5"/>
                      <a:pt x="24" y="4"/>
                      <a:pt x="23" y="4"/>
                    </a:cubicBezTo>
                    <a:cubicBezTo>
                      <a:pt x="23" y="3"/>
                      <a:pt x="23" y="3"/>
                      <a:pt x="24" y="2"/>
                    </a:cubicBezTo>
                    <a:cubicBezTo>
                      <a:pt x="25" y="1"/>
                      <a:pt x="26" y="1"/>
                      <a:pt x="28" y="1"/>
                    </a:cubicBezTo>
                    <a:cubicBezTo>
                      <a:pt x="29" y="0"/>
                      <a:pt x="30" y="1"/>
                      <a:pt x="32" y="1"/>
                    </a:cubicBezTo>
                    <a:cubicBezTo>
                      <a:pt x="33" y="1"/>
                      <a:pt x="34" y="1"/>
                      <a:pt x="36" y="2"/>
                    </a:cubicBezTo>
                    <a:cubicBezTo>
                      <a:pt x="37" y="2"/>
                      <a:pt x="38" y="3"/>
                      <a:pt x="40" y="3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44" y="5"/>
                      <a:pt x="44" y="5"/>
                      <a:pt x="45" y="5"/>
                    </a:cubicBezTo>
                    <a:cubicBezTo>
                      <a:pt x="46" y="6"/>
                      <a:pt x="46" y="6"/>
                      <a:pt x="47" y="6"/>
                    </a:cubicBezTo>
                    <a:cubicBezTo>
                      <a:pt x="48" y="7"/>
                      <a:pt x="49" y="8"/>
                      <a:pt x="51" y="9"/>
                    </a:cubicBezTo>
                    <a:cubicBezTo>
                      <a:pt x="52" y="9"/>
                      <a:pt x="53" y="11"/>
                      <a:pt x="54" y="12"/>
                    </a:cubicBezTo>
                    <a:cubicBezTo>
                      <a:pt x="55" y="13"/>
                      <a:pt x="55" y="14"/>
                      <a:pt x="56" y="16"/>
                    </a:cubicBezTo>
                    <a:cubicBezTo>
                      <a:pt x="56" y="17"/>
                      <a:pt x="56" y="19"/>
                      <a:pt x="55" y="20"/>
                    </a:cubicBezTo>
                    <a:cubicBezTo>
                      <a:pt x="54" y="22"/>
                      <a:pt x="52" y="24"/>
                      <a:pt x="50" y="26"/>
                    </a:cubicBezTo>
                    <a:cubicBezTo>
                      <a:pt x="49" y="27"/>
                      <a:pt x="47" y="29"/>
                      <a:pt x="45" y="30"/>
                    </a:cubicBezTo>
                    <a:cubicBezTo>
                      <a:pt x="42" y="32"/>
                      <a:pt x="39" y="34"/>
                      <a:pt x="36" y="35"/>
                    </a:cubicBezTo>
                    <a:cubicBezTo>
                      <a:pt x="33" y="37"/>
                      <a:pt x="30" y="39"/>
                      <a:pt x="27" y="40"/>
                    </a:cubicBezTo>
                    <a:cubicBezTo>
                      <a:pt x="25" y="42"/>
                      <a:pt x="22" y="43"/>
                      <a:pt x="20" y="44"/>
                    </a:cubicBezTo>
                    <a:cubicBezTo>
                      <a:pt x="17" y="46"/>
                      <a:pt x="15" y="47"/>
                      <a:pt x="12" y="49"/>
                    </a:cubicBezTo>
                    <a:cubicBezTo>
                      <a:pt x="15" y="50"/>
                      <a:pt x="18" y="51"/>
                      <a:pt x="22" y="52"/>
                    </a:cubicBezTo>
                    <a:cubicBezTo>
                      <a:pt x="25" y="53"/>
                      <a:pt x="28" y="54"/>
                      <a:pt x="31" y="54"/>
                    </a:cubicBezTo>
                    <a:cubicBezTo>
                      <a:pt x="31" y="54"/>
                      <a:pt x="32" y="54"/>
                      <a:pt x="32" y="54"/>
                    </a:cubicBezTo>
                    <a:cubicBezTo>
                      <a:pt x="32" y="54"/>
                      <a:pt x="32" y="55"/>
                      <a:pt x="32" y="55"/>
                    </a:cubicBezTo>
                    <a:cubicBezTo>
                      <a:pt x="33" y="55"/>
                      <a:pt x="33" y="55"/>
                      <a:pt x="34" y="55"/>
                    </a:cubicBezTo>
                    <a:cubicBezTo>
                      <a:pt x="35" y="56"/>
                      <a:pt x="35" y="56"/>
                      <a:pt x="36" y="57"/>
                    </a:cubicBezTo>
                    <a:cubicBezTo>
                      <a:pt x="36" y="57"/>
                      <a:pt x="36" y="58"/>
                      <a:pt x="36" y="58"/>
                    </a:cubicBezTo>
                    <a:cubicBezTo>
                      <a:pt x="36" y="59"/>
                      <a:pt x="36" y="59"/>
                      <a:pt x="36" y="6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8" name="i$1iḑe">
                <a:extLst>
                  <a:ext uri="{FF2B5EF4-FFF2-40B4-BE49-F238E27FC236}">
                    <a16:creationId xmlns:a16="http://schemas.microsoft.com/office/drawing/2014/main" id="{590D81E1-D908-4226-83C1-019B2D4E8DCB}"/>
                  </a:ext>
                </a:extLst>
              </p:cNvPr>
              <p:cNvSpPr/>
              <p:nvPr/>
            </p:nvSpPr>
            <p:spPr>
              <a:xfrm flipH="1">
                <a:off x="9811865" y="3533454"/>
                <a:ext cx="132750" cy="60543"/>
              </a:xfrm>
              <a:custGeom>
                <a:avLst/>
                <a:gdLst/>
                <a:ahLst/>
                <a:cxnLst/>
                <a:rect l="l" t="t" r="r" b="b"/>
                <a:pathLst>
                  <a:path w="101" h="46" extrusionOk="0">
                    <a:moveTo>
                      <a:pt x="79" y="29"/>
                    </a:moveTo>
                    <a:cubicBezTo>
                      <a:pt x="75" y="30"/>
                      <a:pt x="70" y="31"/>
                      <a:pt x="66" y="32"/>
                    </a:cubicBezTo>
                    <a:cubicBezTo>
                      <a:pt x="62" y="33"/>
                      <a:pt x="57" y="34"/>
                      <a:pt x="53" y="35"/>
                    </a:cubicBezTo>
                    <a:cubicBezTo>
                      <a:pt x="48" y="37"/>
                      <a:pt x="44" y="37"/>
                      <a:pt x="39" y="38"/>
                    </a:cubicBezTo>
                    <a:cubicBezTo>
                      <a:pt x="35" y="39"/>
                      <a:pt x="30" y="40"/>
                      <a:pt x="26" y="42"/>
                    </a:cubicBezTo>
                    <a:cubicBezTo>
                      <a:pt x="25" y="42"/>
                      <a:pt x="24" y="42"/>
                      <a:pt x="23" y="43"/>
                    </a:cubicBezTo>
                    <a:cubicBezTo>
                      <a:pt x="22" y="43"/>
                      <a:pt x="20" y="43"/>
                      <a:pt x="19" y="44"/>
                    </a:cubicBezTo>
                    <a:cubicBezTo>
                      <a:pt x="18" y="44"/>
                      <a:pt x="17" y="44"/>
                      <a:pt x="16" y="45"/>
                    </a:cubicBezTo>
                    <a:cubicBezTo>
                      <a:pt x="15" y="45"/>
                      <a:pt x="14" y="45"/>
                      <a:pt x="13" y="45"/>
                    </a:cubicBezTo>
                    <a:cubicBezTo>
                      <a:pt x="12" y="46"/>
                      <a:pt x="11" y="46"/>
                      <a:pt x="10" y="46"/>
                    </a:cubicBezTo>
                    <a:cubicBezTo>
                      <a:pt x="9" y="46"/>
                      <a:pt x="8" y="46"/>
                      <a:pt x="7" y="46"/>
                    </a:cubicBezTo>
                    <a:cubicBezTo>
                      <a:pt x="6" y="46"/>
                      <a:pt x="5" y="46"/>
                      <a:pt x="4" y="46"/>
                    </a:cubicBezTo>
                    <a:cubicBezTo>
                      <a:pt x="3" y="45"/>
                      <a:pt x="2" y="44"/>
                      <a:pt x="1" y="43"/>
                    </a:cubicBezTo>
                    <a:cubicBezTo>
                      <a:pt x="0" y="42"/>
                      <a:pt x="0" y="41"/>
                      <a:pt x="0" y="39"/>
                    </a:cubicBezTo>
                    <a:cubicBezTo>
                      <a:pt x="0" y="38"/>
                      <a:pt x="1" y="36"/>
                      <a:pt x="1" y="35"/>
                    </a:cubicBezTo>
                    <a:cubicBezTo>
                      <a:pt x="3" y="33"/>
                      <a:pt x="5" y="32"/>
                      <a:pt x="8" y="31"/>
                    </a:cubicBezTo>
                    <a:cubicBezTo>
                      <a:pt x="10" y="31"/>
                      <a:pt x="12" y="30"/>
                      <a:pt x="15" y="29"/>
                    </a:cubicBezTo>
                    <a:cubicBezTo>
                      <a:pt x="19" y="28"/>
                      <a:pt x="23" y="27"/>
                      <a:pt x="27" y="26"/>
                    </a:cubicBezTo>
                    <a:cubicBezTo>
                      <a:pt x="31" y="25"/>
                      <a:pt x="35" y="24"/>
                      <a:pt x="38" y="23"/>
                    </a:cubicBezTo>
                    <a:cubicBezTo>
                      <a:pt x="43" y="22"/>
                      <a:pt x="47" y="22"/>
                      <a:pt x="51" y="21"/>
                    </a:cubicBezTo>
                    <a:cubicBezTo>
                      <a:pt x="55" y="20"/>
                      <a:pt x="59" y="19"/>
                      <a:pt x="63" y="18"/>
                    </a:cubicBezTo>
                    <a:cubicBezTo>
                      <a:pt x="65" y="17"/>
                      <a:pt x="66" y="17"/>
                      <a:pt x="68" y="16"/>
                    </a:cubicBezTo>
                    <a:cubicBezTo>
                      <a:pt x="69" y="16"/>
                      <a:pt x="71" y="15"/>
                      <a:pt x="72" y="15"/>
                    </a:cubicBezTo>
                    <a:cubicBezTo>
                      <a:pt x="73" y="14"/>
                      <a:pt x="75" y="13"/>
                      <a:pt x="76" y="13"/>
                    </a:cubicBezTo>
                    <a:cubicBezTo>
                      <a:pt x="77" y="12"/>
                      <a:pt x="79" y="11"/>
                      <a:pt x="80" y="10"/>
                    </a:cubicBezTo>
                    <a:cubicBezTo>
                      <a:pt x="80" y="9"/>
                      <a:pt x="80" y="8"/>
                      <a:pt x="81" y="7"/>
                    </a:cubicBezTo>
                    <a:cubicBezTo>
                      <a:pt x="81" y="6"/>
                      <a:pt x="82" y="5"/>
                      <a:pt x="82" y="5"/>
                    </a:cubicBezTo>
                    <a:cubicBezTo>
                      <a:pt x="83" y="4"/>
                      <a:pt x="83" y="3"/>
                      <a:pt x="84" y="2"/>
                    </a:cubicBezTo>
                    <a:cubicBezTo>
                      <a:pt x="85" y="2"/>
                      <a:pt x="86" y="1"/>
                      <a:pt x="87" y="1"/>
                    </a:cubicBezTo>
                    <a:cubicBezTo>
                      <a:pt x="88" y="1"/>
                      <a:pt x="89" y="0"/>
                      <a:pt x="91" y="0"/>
                    </a:cubicBezTo>
                    <a:cubicBezTo>
                      <a:pt x="92" y="0"/>
                      <a:pt x="93" y="0"/>
                      <a:pt x="94" y="1"/>
                    </a:cubicBezTo>
                    <a:cubicBezTo>
                      <a:pt x="96" y="1"/>
                      <a:pt x="97" y="1"/>
                      <a:pt x="98" y="2"/>
                    </a:cubicBezTo>
                    <a:cubicBezTo>
                      <a:pt x="99" y="3"/>
                      <a:pt x="100" y="4"/>
                      <a:pt x="101" y="5"/>
                    </a:cubicBezTo>
                    <a:cubicBezTo>
                      <a:pt x="101" y="7"/>
                      <a:pt x="101" y="9"/>
                      <a:pt x="101" y="11"/>
                    </a:cubicBezTo>
                    <a:cubicBezTo>
                      <a:pt x="100" y="13"/>
                      <a:pt x="100" y="14"/>
                      <a:pt x="99" y="16"/>
                    </a:cubicBezTo>
                    <a:cubicBezTo>
                      <a:pt x="98" y="18"/>
                      <a:pt x="97" y="19"/>
                      <a:pt x="95" y="21"/>
                    </a:cubicBezTo>
                    <a:cubicBezTo>
                      <a:pt x="94" y="22"/>
                      <a:pt x="93" y="23"/>
                      <a:pt x="91" y="24"/>
                    </a:cubicBezTo>
                    <a:cubicBezTo>
                      <a:pt x="87" y="26"/>
                      <a:pt x="83" y="28"/>
                      <a:pt x="79" y="2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19" name="íS1iḑè">
                <a:extLst>
                  <a:ext uri="{FF2B5EF4-FFF2-40B4-BE49-F238E27FC236}">
                    <a16:creationId xmlns:a16="http://schemas.microsoft.com/office/drawing/2014/main" id="{E361DB2E-4A1B-43C8-AF23-2BB16144045A}"/>
                  </a:ext>
                </a:extLst>
              </p:cNvPr>
              <p:cNvSpPr/>
              <p:nvPr/>
            </p:nvSpPr>
            <p:spPr>
              <a:xfrm flipH="1">
                <a:off x="10036818" y="3512904"/>
                <a:ext cx="229952" cy="376588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87" extrusionOk="0">
                    <a:moveTo>
                      <a:pt x="174" y="250"/>
                    </a:moveTo>
                    <a:cubicBezTo>
                      <a:pt x="170" y="255"/>
                      <a:pt x="166" y="258"/>
                      <a:pt x="160" y="261"/>
                    </a:cubicBezTo>
                    <a:cubicBezTo>
                      <a:pt x="155" y="264"/>
                      <a:pt x="150" y="266"/>
                      <a:pt x="144" y="268"/>
                    </a:cubicBezTo>
                    <a:cubicBezTo>
                      <a:pt x="139" y="270"/>
                      <a:pt x="133" y="272"/>
                      <a:pt x="127" y="273"/>
                    </a:cubicBezTo>
                    <a:cubicBezTo>
                      <a:pt x="121" y="275"/>
                      <a:pt x="116" y="276"/>
                      <a:pt x="110" y="278"/>
                    </a:cubicBezTo>
                    <a:cubicBezTo>
                      <a:pt x="98" y="280"/>
                      <a:pt x="84" y="282"/>
                      <a:pt x="71" y="284"/>
                    </a:cubicBezTo>
                    <a:cubicBezTo>
                      <a:pt x="58" y="286"/>
                      <a:pt x="45" y="287"/>
                      <a:pt x="32" y="286"/>
                    </a:cubicBezTo>
                    <a:cubicBezTo>
                      <a:pt x="28" y="286"/>
                      <a:pt x="25" y="285"/>
                      <a:pt x="22" y="283"/>
                    </a:cubicBezTo>
                    <a:cubicBezTo>
                      <a:pt x="20" y="281"/>
                      <a:pt x="17" y="278"/>
                      <a:pt x="16" y="275"/>
                    </a:cubicBezTo>
                    <a:cubicBezTo>
                      <a:pt x="14" y="273"/>
                      <a:pt x="13" y="269"/>
                      <a:pt x="12" y="266"/>
                    </a:cubicBezTo>
                    <a:cubicBezTo>
                      <a:pt x="12" y="262"/>
                      <a:pt x="12" y="259"/>
                      <a:pt x="12" y="255"/>
                    </a:cubicBezTo>
                    <a:cubicBezTo>
                      <a:pt x="13" y="244"/>
                      <a:pt x="16" y="234"/>
                      <a:pt x="21" y="224"/>
                    </a:cubicBezTo>
                    <a:cubicBezTo>
                      <a:pt x="26" y="214"/>
                      <a:pt x="31" y="204"/>
                      <a:pt x="37" y="195"/>
                    </a:cubicBezTo>
                    <a:cubicBezTo>
                      <a:pt x="45" y="183"/>
                      <a:pt x="53" y="171"/>
                      <a:pt x="61" y="160"/>
                    </a:cubicBezTo>
                    <a:cubicBezTo>
                      <a:pt x="69" y="148"/>
                      <a:pt x="77" y="136"/>
                      <a:pt x="85" y="125"/>
                    </a:cubicBezTo>
                    <a:cubicBezTo>
                      <a:pt x="88" y="120"/>
                      <a:pt x="91" y="115"/>
                      <a:pt x="94" y="110"/>
                    </a:cubicBezTo>
                    <a:cubicBezTo>
                      <a:pt x="97" y="105"/>
                      <a:pt x="100" y="99"/>
                      <a:pt x="103" y="94"/>
                    </a:cubicBezTo>
                    <a:cubicBezTo>
                      <a:pt x="105" y="88"/>
                      <a:pt x="108" y="83"/>
                      <a:pt x="109" y="78"/>
                    </a:cubicBezTo>
                    <a:cubicBezTo>
                      <a:pt x="111" y="72"/>
                      <a:pt x="112" y="66"/>
                      <a:pt x="113" y="60"/>
                    </a:cubicBezTo>
                    <a:cubicBezTo>
                      <a:pt x="114" y="58"/>
                      <a:pt x="114" y="55"/>
                      <a:pt x="113" y="52"/>
                    </a:cubicBezTo>
                    <a:cubicBezTo>
                      <a:pt x="113" y="49"/>
                      <a:pt x="112" y="47"/>
                      <a:pt x="110" y="45"/>
                    </a:cubicBezTo>
                    <a:cubicBezTo>
                      <a:pt x="108" y="42"/>
                      <a:pt x="106" y="41"/>
                      <a:pt x="104" y="40"/>
                    </a:cubicBezTo>
                    <a:cubicBezTo>
                      <a:pt x="101" y="38"/>
                      <a:pt x="99" y="38"/>
                      <a:pt x="95" y="39"/>
                    </a:cubicBezTo>
                    <a:cubicBezTo>
                      <a:pt x="87" y="39"/>
                      <a:pt x="80" y="40"/>
                      <a:pt x="72" y="43"/>
                    </a:cubicBezTo>
                    <a:cubicBezTo>
                      <a:pt x="65" y="46"/>
                      <a:pt x="58" y="49"/>
                      <a:pt x="50" y="52"/>
                    </a:cubicBezTo>
                    <a:cubicBezTo>
                      <a:pt x="47" y="55"/>
                      <a:pt x="44" y="58"/>
                      <a:pt x="42" y="62"/>
                    </a:cubicBezTo>
                    <a:cubicBezTo>
                      <a:pt x="40" y="66"/>
                      <a:pt x="38" y="70"/>
                      <a:pt x="36" y="74"/>
                    </a:cubicBezTo>
                    <a:cubicBezTo>
                      <a:pt x="35" y="78"/>
                      <a:pt x="32" y="81"/>
                      <a:pt x="28" y="84"/>
                    </a:cubicBezTo>
                    <a:cubicBezTo>
                      <a:pt x="24" y="87"/>
                      <a:pt x="20" y="88"/>
                      <a:pt x="16" y="88"/>
                    </a:cubicBezTo>
                    <a:cubicBezTo>
                      <a:pt x="12" y="89"/>
                      <a:pt x="9" y="88"/>
                      <a:pt x="6" y="86"/>
                    </a:cubicBezTo>
                    <a:cubicBezTo>
                      <a:pt x="4" y="85"/>
                      <a:pt x="3" y="82"/>
                      <a:pt x="2" y="80"/>
                    </a:cubicBezTo>
                    <a:cubicBezTo>
                      <a:pt x="1" y="77"/>
                      <a:pt x="0" y="74"/>
                      <a:pt x="0" y="70"/>
                    </a:cubicBezTo>
                    <a:cubicBezTo>
                      <a:pt x="0" y="67"/>
                      <a:pt x="0" y="64"/>
                      <a:pt x="1" y="61"/>
                    </a:cubicBezTo>
                    <a:cubicBezTo>
                      <a:pt x="2" y="55"/>
                      <a:pt x="4" y="49"/>
                      <a:pt x="8" y="44"/>
                    </a:cubicBezTo>
                    <a:cubicBezTo>
                      <a:pt x="11" y="39"/>
                      <a:pt x="15" y="35"/>
                      <a:pt x="19" y="31"/>
                    </a:cubicBezTo>
                    <a:cubicBezTo>
                      <a:pt x="24" y="27"/>
                      <a:pt x="29" y="24"/>
                      <a:pt x="34" y="21"/>
                    </a:cubicBezTo>
                    <a:cubicBezTo>
                      <a:pt x="40" y="17"/>
                      <a:pt x="45" y="15"/>
                      <a:pt x="50" y="13"/>
                    </a:cubicBezTo>
                    <a:cubicBezTo>
                      <a:pt x="62" y="8"/>
                      <a:pt x="73" y="4"/>
                      <a:pt x="85" y="3"/>
                    </a:cubicBezTo>
                    <a:cubicBezTo>
                      <a:pt x="97" y="1"/>
                      <a:pt x="109" y="0"/>
                      <a:pt x="121" y="1"/>
                    </a:cubicBezTo>
                    <a:cubicBezTo>
                      <a:pt x="125" y="1"/>
                      <a:pt x="128" y="2"/>
                      <a:pt x="131" y="3"/>
                    </a:cubicBezTo>
                    <a:cubicBezTo>
                      <a:pt x="135" y="4"/>
                      <a:pt x="137" y="6"/>
                      <a:pt x="140" y="8"/>
                    </a:cubicBezTo>
                    <a:cubicBezTo>
                      <a:pt x="142" y="11"/>
                      <a:pt x="145" y="13"/>
                      <a:pt x="147" y="16"/>
                    </a:cubicBezTo>
                    <a:cubicBezTo>
                      <a:pt x="148" y="19"/>
                      <a:pt x="150" y="22"/>
                      <a:pt x="151" y="26"/>
                    </a:cubicBezTo>
                    <a:cubicBezTo>
                      <a:pt x="154" y="32"/>
                      <a:pt x="156" y="39"/>
                      <a:pt x="157" y="46"/>
                    </a:cubicBezTo>
                    <a:cubicBezTo>
                      <a:pt x="159" y="54"/>
                      <a:pt x="159" y="61"/>
                      <a:pt x="158" y="68"/>
                    </a:cubicBezTo>
                    <a:cubicBezTo>
                      <a:pt x="158" y="73"/>
                      <a:pt x="157" y="78"/>
                      <a:pt x="156" y="84"/>
                    </a:cubicBezTo>
                    <a:cubicBezTo>
                      <a:pt x="154" y="89"/>
                      <a:pt x="153" y="94"/>
                      <a:pt x="150" y="98"/>
                    </a:cubicBezTo>
                    <a:cubicBezTo>
                      <a:pt x="148" y="103"/>
                      <a:pt x="146" y="108"/>
                      <a:pt x="143" y="113"/>
                    </a:cubicBezTo>
                    <a:cubicBezTo>
                      <a:pt x="141" y="117"/>
                      <a:pt x="138" y="122"/>
                      <a:pt x="135" y="126"/>
                    </a:cubicBezTo>
                    <a:cubicBezTo>
                      <a:pt x="128" y="137"/>
                      <a:pt x="121" y="147"/>
                      <a:pt x="114" y="157"/>
                    </a:cubicBezTo>
                    <a:cubicBezTo>
                      <a:pt x="107" y="167"/>
                      <a:pt x="100" y="177"/>
                      <a:pt x="93" y="187"/>
                    </a:cubicBezTo>
                    <a:cubicBezTo>
                      <a:pt x="90" y="192"/>
                      <a:pt x="87" y="196"/>
                      <a:pt x="84" y="201"/>
                    </a:cubicBezTo>
                    <a:cubicBezTo>
                      <a:pt x="81" y="205"/>
                      <a:pt x="78" y="210"/>
                      <a:pt x="76" y="215"/>
                    </a:cubicBezTo>
                    <a:cubicBezTo>
                      <a:pt x="73" y="220"/>
                      <a:pt x="71" y="225"/>
                      <a:pt x="69" y="230"/>
                    </a:cubicBezTo>
                    <a:cubicBezTo>
                      <a:pt x="67" y="235"/>
                      <a:pt x="66" y="240"/>
                      <a:pt x="65" y="245"/>
                    </a:cubicBezTo>
                    <a:cubicBezTo>
                      <a:pt x="73" y="244"/>
                      <a:pt x="81" y="242"/>
                      <a:pt x="88" y="241"/>
                    </a:cubicBezTo>
                    <a:cubicBezTo>
                      <a:pt x="96" y="240"/>
                      <a:pt x="103" y="238"/>
                      <a:pt x="111" y="236"/>
                    </a:cubicBezTo>
                    <a:cubicBezTo>
                      <a:pt x="118" y="235"/>
                      <a:pt x="126" y="233"/>
                      <a:pt x="133" y="232"/>
                    </a:cubicBezTo>
                    <a:cubicBezTo>
                      <a:pt x="140" y="230"/>
                      <a:pt x="147" y="229"/>
                      <a:pt x="155" y="229"/>
                    </a:cubicBezTo>
                    <a:cubicBezTo>
                      <a:pt x="156" y="229"/>
                      <a:pt x="157" y="229"/>
                      <a:pt x="158" y="229"/>
                    </a:cubicBezTo>
                    <a:cubicBezTo>
                      <a:pt x="160" y="229"/>
                      <a:pt x="161" y="229"/>
                      <a:pt x="162" y="229"/>
                    </a:cubicBezTo>
                    <a:cubicBezTo>
                      <a:pt x="164" y="230"/>
                      <a:pt x="165" y="232"/>
                      <a:pt x="167" y="233"/>
                    </a:cubicBezTo>
                    <a:cubicBezTo>
                      <a:pt x="168" y="235"/>
                      <a:pt x="169" y="237"/>
                      <a:pt x="171" y="239"/>
                    </a:cubicBezTo>
                    <a:cubicBezTo>
                      <a:pt x="172" y="240"/>
                      <a:pt x="173" y="242"/>
                      <a:pt x="174" y="244"/>
                    </a:cubicBezTo>
                    <a:cubicBezTo>
                      <a:pt x="174" y="246"/>
                      <a:pt x="175" y="248"/>
                      <a:pt x="174" y="25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0" name="îṧḷïḍê">
                <a:extLst>
                  <a:ext uri="{FF2B5EF4-FFF2-40B4-BE49-F238E27FC236}">
                    <a16:creationId xmlns:a16="http://schemas.microsoft.com/office/drawing/2014/main" id="{EB6F6C71-DEDF-4DE5-B6C8-4956FC847CD6}"/>
                  </a:ext>
                </a:extLst>
              </p:cNvPr>
              <p:cNvSpPr/>
              <p:nvPr/>
            </p:nvSpPr>
            <p:spPr>
              <a:xfrm flipH="1">
                <a:off x="10300651" y="4003913"/>
                <a:ext cx="58876" cy="93314"/>
              </a:xfrm>
              <a:custGeom>
                <a:avLst/>
                <a:gdLst/>
                <a:ahLst/>
                <a:cxnLst/>
                <a:rect l="l" t="t" r="r" b="b"/>
                <a:pathLst>
                  <a:path w="45" h="71" extrusionOk="0">
                    <a:moveTo>
                      <a:pt x="44" y="42"/>
                    </a:moveTo>
                    <a:cubicBezTo>
                      <a:pt x="44" y="44"/>
                      <a:pt x="44" y="46"/>
                      <a:pt x="43" y="48"/>
                    </a:cubicBezTo>
                    <a:cubicBezTo>
                      <a:pt x="43" y="50"/>
                      <a:pt x="42" y="52"/>
                      <a:pt x="41" y="53"/>
                    </a:cubicBezTo>
                    <a:cubicBezTo>
                      <a:pt x="40" y="55"/>
                      <a:pt x="38" y="57"/>
                      <a:pt x="37" y="58"/>
                    </a:cubicBezTo>
                    <a:cubicBezTo>
                      <a:pt x="36" y="60"/>
                      <a:pt x="34" y="61"/>
                      <a:pt x="33" y="62"/>
                    </a:cubicBezTo>
                    <a:cubicBezTo>
                      <a:pt x="31" y="64"/>
                      <a:pt x="30" y="65"/>
                      <a:pt x="28" y="66"/>
                    </a:cubicBezTo>
                    <a:cubicBezTo>
                      <a:pt x="26" y="67"/>
                      <a:pt x="24" y="68"/>
                      <a:pt x="23" y="69"/>
                    </a:cubicBezTo>
                    <a:cubicBezTo>
                      <a:pt x="21" y="69"/>
                      <a:pt x="19" y="70"/>
                      <a:pt x="17" y="70"/>
                    </a:cubicBezTo>
                    <a:cubicBezTo>
                      <a:pt x="15" y="71"/>
                      <a:pt x="13" y="71"/>
                      <a:pt x="11" y="71"/>
                    </a:cubicBezTo>
                    <a:cubicBezTo>
                      <a:pt x="10" y="71"/>
                      <a:pt x="9" y="70"/>
                      <a:pt x="8" y="70"/>
                    </a:cubicBezTo>
                    <a:cubicBezTo>
                      <a:pt x="8" y="69"/>
                      <a:pt x="7" y="68"/>
                      <a:pt x="6" y="68"/>
                    </a:cubicBezTo>
                    <a:cubicBezTo>
                      <a:pt x="6" y="67"/>
                      <a:pt x="5" y="66"/>
                      <a:pt x="5" y="65"/>
                    </a:cubicBezTo>
                    <a:cubicBezTo>
                      <a:pt x="5" y="64"/>
                      <a:pt x="5" y="63"/>
                      <a:pt x="5" y="62"/>
                    </a:cubicBezTo>
                    <a:cubicBezTo>
                      <a:pt x="5" y="61"/>
                      <a:pt x="5" y="61"/>
                      <a:pt x="5" y="60"/>
                    </a:cubicBezTo>
                    <a:cubicBezTo>
                      <a:pt x="6" y="60"/>
                      <a:pt x="6" y="60"/>
                      <a:pt x="6" y="59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8" y="59"/>
                      <a:pt x="8" y="59"/>
                      <a:pt x="8" y="59"/>
                    </a:cubicBezTo>
                    <a:cubicBezTo>
                      <a:pt x="9" y="59"/>
                      <a:pt x="11" y="59"/>
                      <a:pt x="12" y="59"/>
                    </a:cubicBezTo>
                    <a:cubicBezTo>
                      <a:pt x="13" y="59"/>
                      <a:pt x="14" y="59"/>
                      <a:pt x="15" y="59"/>
                    </a:cubicBezTo>
                    <a:cubicBezTo>
                      <a:pt x="17" y="58"/>
                      <a:pt x="19" y="57"/>
                      <a:pt x="21" y="57"/>
                    </a:cubicBezTo>
                    <a:cubicBezTo>
                      <a:pt x="23" y="56"/>
                      <a:pt x="25" y="55"/>
                      <a:pt x="27" y="53"/>
                    </a:cubicBezTo>
                    <a:cubicBezTo>
                      <a:pt x="28" y="53"/>
                      <a:pt x="29" y="52"/>
                      <a:pt x="29" y="51"/>
                    </a:cubicBezTo>
                    <a:cubicBezTo>
                      <a:pt x="30" y="50"/>
                      <a:pt x="31" y="49"/>
                      <a:pt x="32" y="48"/>
                    </a:cubicBezTo>
                    <a:cubicBezTo>
                      <a:pt x="32" y="48"/>
                      <a:pt x="33" y="47"/>
                      <a:pt x="33" y="46"/>
                    </a:cubicBezTo>
                    <a:cubicBezTo>
                      <a:pt x="34" y="45"/>
                      <a:pt x="34" y="44"/>
                      <a:pt x="34" y="42"/>
                    </a:cubicBezTo>
                    <a:cubicBezTo>
                      <a:pt x="34" y="42"/>
                      <a:pt x="34" y="41"/>
                      <a:pt x="34" y="41"/>
                    </a:cubicBezTo>
                    <a:cubicBezTo>
                      <a:pt x="34" y="40"/>
                      <a:pt x="34" y="39"/>
                      <a:pt x="33" y="39"/>
                    </a:cubicBezTo>
                    <a:cubicBezTo>
                      <a:pt x="33" y="38"/>
                      <a:pt x="33" y="38"/>
                      <a:pt x="32" y="38"/>
                    </a:cubicBezTo>
                    <a:cubicBezTo>
                      <a:pt x="32" y="37"/>
                      <a:pt x="31" y="37"/>
                      <a:pt x="30" y="37"/>
                    </a:cubicBezTo>
                    <a:cubicBezTo>
                      <a:pt x="27" y="37"/>
                      <a:pt x="25" y="37"/>
                      <a:pt x="22" y="38"/>
                    </a:cubicBezTo>
                    <a:cubicBezTo>
                      <a:pt x="19" y="38"/>
                      <a:pt x="16" y="39"/>
                      <a:pt x="13" y="41"/>
                    </a:cubicBezTo>
                    <a:cubicBezTo>
                      <a:pt x="12" y="41"/>
                      <a:pt x="12" y="42"/>
                      <a:pt x="11" y="42"/>
                    </a:cubicBezTo>
                    <a:cubicBezTo>
                      <a:pt x="10" y="42"/>
                      <a:pt x="9" y="43"/>
                      <a:pt x="9" y="43"/>
                    </a:cubicBezTo>
                    <a:cubicBezTo>
                      <a:pt x="8" y="43"/>
                      <a:pt x="7" y="43"/>
                      <a:pt x="7" y="42"/>
                    </a:cubicBezTo>
                    <a:cubicBezTo>
                      <a:pt x="6" y="42"/>
                      <a:pt x="6" y="41"/>
                      <a:pt x="5" y="41"/>
                    </a:cubicBezTo>
                    <a:cubicBezTo>
                      <a:pt x="5" y="40"/>
                      <a:pt x="4" y="40"/>
                      <a:pt x="4" y="39"/>
                    </a:cubicBezTo>
                    <a:cubicBezTo>
                      <a:pt x="4" y="38"/>
                      <a:pt x="3" y="38"/>
                      <a:pt x="3" y="37"/>
                    </a:cubicBezTo>
                    <a:cubicBezTo>
                      <a:pt x="4" y="36"/>
                      <a:pt x="4" y="35"/>
                      <a:pt x="4" y="35"/>
                    </a:cubicBezTo>
                    <a:cubicBezTo>
                      <a:pt x="5" y="34"/>
                      <a:pt x="5" y="34"/>
                      <a:pt x="5" y="33"/>
                    </a:cubicBezTo>
                    <a:cubicBezTo>
                      <a:pt x="6" y="33"/>
                      <a:pt x="7" y="32"/>
                      <a:pt x="7" y="32"/>
                    </a:cubicBezTo>
                    <a:cubicBezTo>
                      <a:pt x="8" y="31"/>
                      <a:pt x="8" y="31"/>
                      <a:pt x="9" y="30"/>
                    </a:cubicBezTo>
                    <a:cubicBezTo>
                      <a:pt x="11" y="29"/>
                      <a:pt x="12" y="28"/>
                      <a:pt x="14" y="27"/>
                    </a:cubicBezTo>
                    <a:cubicBezTo>
                      <a:pt x="16" y="26"/>
                      <a:pt x="17" y="25"/>
                      <a:pt x="19" y="24"/>
                    </a:cubicBezTo>
                    <a:cubicBezTo>
                      <a:pt x="21" y="23"/>
                      <a:pt x="22" y="22"/>
                      <a:pt x="23" y="20"/>
                    </a:cubicBezTo>
                    <a:cubicBezTo>
                      <a:pt x="24" y="19"/>
                      <a:pt x="25" y="17"/>
                      <a:pt x="25" y="15"/>
                    </a:cubicBezTo>
                    <a:cubicBezTo>
                      <a:pt x="25" y="15"/>
                      <a:pt x="25" y="14"/>
                      <a:pt x="25" y="14"/>
                    </a:cubicBezTo>
                    <a:cubicBezTo>
                      <a:pt x="25" y="14"/>
                      <a:pt x="25" y="13"/>
                      <a:pt x="25" y="13"/>
                    </a:cubicBezTo>
                    <a:cubicBezTo>
                      <a:pt x="25" y="12"/>
                      <a:pt x="25" y="12"/>
                      <a:pt x="24" y="12"/>
                    </a:cubicBezTo>
                    <a:cubicBezTo>
                      <a:pt x="24" y="11"/>
                      <a:pt x="24" y="11"/>
                      <a:pt x="23" y="11"/>
                    </a:cubicBezTo>
                    <a:cubicBezTo>
                      <a:pt x="22" y="11"/>
                      <a:pt x="21" y="12"/>
                      <a:pt x="21" y="12"/>
                    </a:cubicBezTo>
                    <a:cubicBezTo>
                      <a:pt x="20" y="12"/>
                      <a:pt x="19" y="13"/>
                      <a:pt x="18" y="13"/>
                    </a:cubicBezTo>
                    <a:cubicBezTo>
                      <a:pt x="17" y="14"/>
                      <a:pt x="16" y="14"/>
                      <a:pt x="15" y="14"/>
                    </a:cubicBezTo>
                    <a:cubicBezTo>
                      <a:pt x="15" y="15"/>
                      <a:pt x="14" y="15"/>
                      <a:pt x="13" y="16"/>
                    </a:cubicBezTo>
                    <a:cubicBezTo>
                      <a:pt x="12" y="17"/>
                      <a:pt x="10" y="18"/>
                      <a:pt x="9" y="18"/>
                    </a:cubicBezTo>
                    <a:cubicBezTo>
                      <a:pt x="8" y="19"/>
                      <a:pt x="7" y="20"/>
                      <a:pt x="5" y="21"/>
                    </a:cubicBezTo>
                    <a:cubicBezTo>
                      <a:pt x="5" y="21"/>
                      <a:pt x="4" y="20"/>
                      <a:pt x="3" y="20"/>
                    </a:cubicBezTo>
                    <a:cubicBezTo>
                      <a:pt x="3" y="20"/>
                      <a:pt x="2" y="19"/>
                      <a:pt x="2" y="19"/>
                    </a:cubicBezTo>
                    <a:cubicBezTo>
                      <a:pt x="1" y="18"/>
                      <a:pt x="1" y="18"/>
                      <a:pt x="1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15"/>
                      <a:pt x="1" y="15"/>
                      <a:pt x="1" y="14"/>
                    </a:cubicBezTo>
                    <a:cubicBezTo>
                      <a:pt x="2" y="13"/>
                      <a:pt x="2" y="12"/>
                      <a:pt x="3" y="11"/>
                    </a:cubicBezTo>
                    <a:cubicBezTo>
                      <a:pt x="4" y="10"/>
                      <a:pt x="5" y="10"/>
                      <a:pt x="6" y="9"/>
                    </a:cubicBezTo>
                    <a:cubicBezTo>
                      <a:pt x="7" y="8"/>
                      <a:pt x="8" y="7"/>
                      <a:pt x="9" y="7"/>
                    </a:cubicBezTo>
                    <a:cubicBezTo>
                      <a:pt x="10" y="6"/>
                      <a:pt x="11" y="5"/>
                      <a:pt x="12" y="5"/>
                    </a:cubicBezTo>
                    <a:cubicBezTo>
                      <a:pt x="13" y="4"/>
                      <a:pt x="14" y="4"/>
                      <a:pt x="15" y="3"/>
                    </a:cubicBezTo>
                    <a:cubicBezTo>
                      <a:pt x="16" y="3"/>
                      <a:pt x="17" y="2"/>
                      <a:pt x="18" y="2"/>
                    </a:cubicBezTo>
                    <a:cubicBezTo>
                      <a:pt x="19" y="1"/>
                      <a:pt x="21" y="1"/>
                      <a:pt x="22" y="1"/>
                    </a:cubicBezTo>
                    <a:cubicBezTo>
                      <a:pt x="23" y="0"/>
                      <a:pt x="24" y="0"/>
                      <a:pt x="25" y="0"/>
                    </a:cubicBezTo>
                    <a:cubicBezTo>
                      <a:pt x="27" y="0"/>
                      <a:pt x="29" y="1"/>
                      <a:pt x="30" y="1"/>
                    </a:cubicBezTo>
                    <a:cubicBezTo>
                      <a:pt x="32" y="2"/>
                      <a:pt x="33" y="3"/>
                      <a:pt x="34" y="4"/>
                    </a:cubicBezTo>
                    <a:cubicBezTo>
                      <a:pt x="35" y="5"/>
                      <a:pt x="36" y="6"/>
                      <a:pt x="37" y="8"/>
                    </a:cubicBezTo>
                    <a:cubicBezTo>
                      <a:pt x="38" y="9"/>
                      <a:pt x="38" y="11"/>
                      <a:pt x="38" y="13"/>
                    </a:cubicBezTo>
                    <a:cubicBezTo>
                      <a:pt x="38" y="14"/>
                      <a:pt x="37" y="15"/>
                      <a:pt x="37" y="16"/>
                    </a:cubicBezTo>
                    <a:cubicBezTo>
                      <a:pt x="37" y="17"/>
                      <a:pt x="36" y="19"/>
                      <a:pt x="36" y="20"/>
                    </a:cubicBezTo>
                    <a:cubicBezTo>
                      <a:pt x="35" y="21"/>
                      <a:pt x="34" y="22"/>
                      <a:pt x="34" y="23"/>
                    </a:cubicBezTo>
                    <a:cubicBezTo>
                      <a:pt x="33" y="24"/>
                      <a:pt x="32" y="25"/>
                      <a:pt x="31" y="26"/>
                    </a:cubicBezTo>
                    <a:cubicBezTo>
                      <a:pt x="34" y="26"/>
                      <a:pt x="36" y="26"/>
                      <a:pt x="37" y="27"/>
                    </a:cubicBezTo>
                    <a:cubicBezTo>
                      <a:pt x="39" y="28"/>
                      <a:pt x="41" y="29"/>
                      <a:pt x="42" y="31"/>
                    </a:cubicBezTo>
                    <a:cubicBezTo>
                      <a:pt x="43" y="32"/>
                      <a:pt x="44" y="34"/>
                      <a:pt x="44" y="36"/>
                    </a:cubicBezTo>
                    <a:cubicBezTo>
                      <a:pt x="45" y="38"/>
                      <a:pt x="45" y="40"/>
                      <a:pt x="44" y="4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1" name="i$ļïdé">
                <a:extLst>
                  <a:ext uri="{FF2B5EF4-FFF2-40B4-BE49-F238E27FC236}">
                    <a16:creationId xmlns:a16="http://schemas.microsoft.com/office/drawing/2014/main" id="{09009322-02C6-4CD8-90EB-A824138A6A26}"/>
                  </a:ext>
                </a:extLst>
              </p:cNvPr>
              <p:cNvSpPr/>
              <p:nvPr/>
            </p:nvSpPr>
            <p:spPr>
              <a:xfrm flipH="1">
                <a:off x="10362305" y="3755631"/>
                <a:ext cx="208845" cy="332153"/>
              </a:xfrm>
              <a:custGeom>
                <a:avLst/>
                <a:gdLst/>
                <a:ahLst/>
                <a:cxnLst/>
                <a:rect l="l" t="t" r="r" b="b"/>
                <a:pathLst>
                  <a:path w="159" h="253" extrusionOk="0">
                    <a:moveTo>
                      <a:pt x="158" y="142"/>
                    </a:moveTo>
                    <a:cubicBezTo>
                      <a:pt x="158" y="144"/>
                      <a:pt x="158" y="146"/>
                      <a:pt x="157" y="148"/>
                    </a:cubicBezTo>
                    <a:cubicBezTo>
                      <a:pt x="156" y="150"/>
                      <a:pt x="155" y="152"/>
                      <a:pt x="154" y="154"/>
                    </a:cubicBezTo>
                    <a:cubicBezTo>
                      <a:pt x="153" y="156"/>
                      <a:pt x="151" y="157"/>
                      <a:pt x="149" y="159"/>
                    </a:cubicBezTo>
                    <a:cubicBezTo>
                      <a:pt x="148" y="160"/>
                      <a:pt x="146" y="160"/>
                      <a:pt x="143" y="160"/>
                    </a:cubicBezTo>
                    <a:cubicBezTo>
                      <a:pt x="143" y="163"/>
                      <a:pt x="142" y="166"/>
                      <a:pt x="141" y="168"/>
                    </a:cubicBezTo>
                    <a:cubicBezTo>
                      <a:pt x="141" y="171"/>
                      <a:pt x="140" y="174"/>
                      <a:pt x="140" y="177"/>
                    </a:cubicBezTo>
                    <a:cubicBezTo>
                      <a:pt x="139" y="181"/>
                      <a:pt x="139" y="185"/>
                      <a:pt x="139" y="189"/>
                    </a:cubicBezTo>
                    <a:cubicBezTo>
                      <a:pt x="139" y="193"/>
                      <a:pt x="138" y="197"/>
                      <a:pt x="138" y="201"/>
                    </a:cubicBezTo>
                    <a:cubicBezTo>
                      <a:pt x="138" y="206"/>
                      <a:pt x="138" y="210"/>
                      <a:pt x="137" y="214"/>
                    </a:cubicBezTo>
                    <a:cubicBezTo>
                      <a:pt x="137" y="218"/>
                      <a:pt x="137" y="222"/>
                      <a:pt x="137" y="226"/>
                    </a:cubicBezTo>
                    <a:cubicBezTo>
                      <a:pt x="136" y="229"/>
                      <a:pt x="136" y="231"/>
                      <a:pt x="135" y="234"/>
                    </a:cubicBezTo>
                    <a:cubicBezTo>
                      <a:pt x="134" y="237"/>
                      <a:pt x="132" y="240"/>
                      <a:pt x="131" y="243"/>
                    </a:cubicBezTo>
                    <a:cubicBezTo>
                      <a:pt x="129" y="245"/>
                      <a:pt x="128" y="247"/>
                      <a:pt x="125" y="249"/>
                    </a:cubicBezTo>
                    <a:cubicBezTo>
                      <a:pt x="123" y="251"/>
                      <a:pt x="120" y="252"/>
                      <a:pt x="117" y="253"/>
                    </a:cubicBezTo>
                    <a:cubicBezTo>
                      <a:pt x="115" y="253"/>
                      <a:pt x="113" y="253"/>
                      <a:pt x="111" y="253"/>
                    </a:cubicBezTo>
                    <a:cubicBezTo>
                      <a:pt x="108" y="252"/>
                      <a:pt x="106" y="252"/>
                      <a:pt x="105" y="251"/>
                    </a:cubicBezTo>
                    <a:cubicBezTo>
                      <a:pt x="103" y="250"/>
                      <a:pt x="101" y="248"/>
                      <a:pt x="100" y="246"/>
                    </a:cubicBezTo>
                    <a:cubicBezTo>
                      <a:pt x="99" y="245"/>
                      <a:pt x="98" y="243"/>
                      <a:pt x="98" y="240"/>
                    </a:cubicBezTo>
                    <a:cubicBezTo>
                      <a:pt x="97" y="236"/>
                      <a:pt x="96" y="232"/>
                      <a:pt x="96" y="227"/>
                    </a:cubicBezTo>
                    <a:cubicBezTo>
                      <a:pt x="97" y="222"/>
                      <a:pt x="97" y="218"/>
                      <a:pt x="97" y="213"/>
                    </a:cubicBezTo>
                    <a:cubicBezTo>
                      <a:pt x="98" y="210"/>
                      <a:pt x="99" y="207"/>
                      <a:pt x="99" y="204"/>
                    </a:cubicBezTo>
                    <a:cubicBezTo>
                      <a:pt x="99" y="201"/>
                      <a:pt x="99" y="198"/>
                      <a:pt x="100" y="195"/>
                    </a:cubicBezTo>
                    <a:cubicBezTo>
                      <a:pt x="100" y="192"/>
                      <a:pt x="101" y="189"/>
                      <a:pt x="102" y="186"/>
                    </a:cubicBezTo>
                    <a:cubicBezTo>
                      <a:pt x="102" y="183"/>
                      <a:pt x="103" y="180"/>
                      <a:pt x="103" y="177"/>
                    </a:cubicBezTo>
                    <a:cubicBezTo>
                      <a:pt x="103" y="174"/>
                      <a:pt x="103" y="172"/>
                      <a:pt x="104" y="170"/>
                    </a:cubicBezTo>
                    <a:cubicBezTo>
                      <a:pt x="104" y="167"/>
                      <a:pt x="104" y="165"/>
                      <a:pt x="103" y="162"/>
                    </a:cubicBezTo>
                    <a:cubicBezTo>
                      <a:pt x="99" y="162"/>
                      <a:pt x="95" y="161"/>
                      <a:pt x="91" y="161"/>
                    </a:cubicBezTo>
                    <a:cubicBezTo>
                      <a:pt x="87" y="161"/>
                      <a:pt x="83" y="161"/>
                      <a:pt x="79" y="160"/>
                    </a:cubicBezTo>
                    <a:cubicBezTo>
                      <a:pt x="73" y="160"/>
                      <a:pt x="66" y="159"/>
                      <a:pt x="59" y="159"/>
                    </a:cubicBezTo>
                    <a:cubicBezTo>
                      <a:pt x="52" y="158"/>
                      <a:pt x="45" y="157"/>
                      <a:pt x="39" y="156"/>
                    </a:cubicBezTo>
                    <a:cubicBezTo>
                      <a:pt x="32" y="155"/>
                      <a:pt x="26" y="153"/>
                      <a:pt x="20" y="150"/>
                    </a:cubicBezTo>
                    <a:cubicBezTo>
                      <a:pt x="14" y="147"/>
                      <a:pt x="8" y="144"/>
                      <a:pt x="3" y="139"/>
                    </a:cubicBezTo>
                    <a:cubicBezTo>
                      <a:pt x="2" y="137"/>
                      <a:pt x="1" y="134"/>
                      <a:pt x="0" y="131"/>
                    </a:cubicBezTo>
                    <a:cubicBezTo>
                      <a:pt x="0" y="128"/>
                      <a:pt x="0" y="125"/>
                      <a:pt x="0" y="122"/>
                    </a:cubicBezTo>
                    <a:cubicBezTo>
                      <a:pt x="0" y="115"/>
                      <a:pt x="2" y="107"/>
                      <a:pt x="5" y="100"/>
                    </a:cubicBezTo>
                    <a:cubicBezTo>
                      <a:pt x="7" y="93"/>
                      <a:pt x="10" y="86"/>
                      <a:pt x="13" y="79"/>
                    </a:cubicBezTo>
                    <a:cubicBezTo>
                      <a:pt x="16" y="72"/>
                      <a:pt x="20" y="64"/>
                      <a:pt x="23" y="57"/>
                    </a:cubicBezTo>
                    <a:cubicBezTo>
                      <a:pt x="26" y="50"/>
                      <a:pt x="30" y="43"/>
                      <a:pt x="35" y="37"/>
                    </a:cubicBezTo>
                    <a:cubicBezTo>
                      <a:pt x="37" y="34"/>
                      <a:pt x="39" y="31"/>
                      <a:pt x="41" y="28"/>
                    </a:cubicBezTo>
                    <a:cubicBezTo>
                      <a:pt x="43" y="25"/>
                      <a:pt x="45" y="22"/>
                      <a:pt x="47" y="19"/>
                    </a:cubicBezTo>
                    <a:cubicBezTo>
                      <a:pt x="49" y="16"/>
                      <a:pt x="51" y="13"/>
                      <a:pt x="54" y="11"/>
                    </a:cubicBezTo>
                    <a:cubicBezTo>
                      <a:pt x="56" y="9"/>
                      <a:pt x="59" y="7"/>
                      <a:pt x="62" y="5"/>
                    </a:cubicBezTo>
                    <a:cubicBezTo>
                      <a:pt x="65" y="5"/>
                      <a:pt x="68" y="5"/>
                      <a:pt x="70" y="7"/>
                    </a:cubicBezTo>
                    <a:cubicBezTo>
                      <a:pt x="73" y="8"/>
                      <a:pt x="75" y="10"/>
                      <a:pt x="77" y="12"/>
                    </a:cubicBezTo>
                    <a:cubicBezTo>
                      <a:pt x="79" y="14"/>
                      <a:pt x="80" y="16"/>
                      <a:pt x="82" y="18"/>
                    </a:cubicBezTo>
                    <a:cubicBezTo>
                      <a:pt x="83" y="21"/>
                      <a:pt x="83" y="23"/>
                      <a:pt x="84" y="26"/>
                    </a:cubicBezTo>
                    <a:cubicBezTo>
                      <a:pt x="81" y="33"/>
                      <a:pt x="78" y="40"/>
                      <a:pt x="75" y="46"/>
                    </a:cubicBezTo>
                    <a:cubicBezTo>
                      <a:pt x="71" y="52"/>
                      <a:pt x="68" y="59"/>
                      <a:pt x="64" y="65"/>
                    </a:cubicBezTo>
                    <a:cubicBezTo>
                      <a:pt x="62" y="69"/>
                      <a:pt x="61" y="72"/>
                      <a:pt x="59" y="76"/>
                    </a:cubicBezTo>
                    <a:cubicBezTo>
                      <a:pt x="57" y="79"/>
                      <a:pt x="55" y="83"/>
                      <a:pt x="53" y="86"/>
                    </a:cubicBezTo>
                    <a:cubicBezTo>
                      <a:pt x="51" y="90"/>
                      <a:pt x="50" y="93"/>
                      <a:pt x="48" y="97"/>
                    </a:cubicBezTo>
                    <a:cubicBezTo>
                      <a:pt x="47" y="101"/>
                      <a:pt x="45" y="104"/>
                      <a:pt x="45" y="108"/>
                    </a:cubicBezTo>
                    <a:cubicBezTo>
                      <a:pt x="45" y="111"/>
                      <a:pt x="45" y="111"/>
                      <a:pt x="45" y="111"/>
                    </a:cubicBezTo>
                    <a:cubicBezTo>
                      <a:pt x="45" y="111"/>
                      <a:pt x="45" y="111"/>
                      <a:pt x="45" y="111"/>
                    </a:cubicBezTo>
                    <a:cubicBezTo>
                      <a:pt x="50" y="111"/>
                      <a:pt x="54" y="111"/>
                      <a:pt x="59" y="112"/>
                    </a:cubicBezTo>
                    <a:cubicBezTo>
                      <a:pt x="63" y="112"/>
                      <a:pt x="67" y="113"/>
                      <a:pt x="72" y="114"/>
                    </a:cubicBezTo>
                    <a:cubicBezTo>
                      <a:pt x="76" y="115"/>
                      <a:pt x="81" y="116"/>
                      <a:pt x="85" y="117"/>
                    </a:cubicBezTo>
                    <a:cubicBezTo>
                      <a:pt x="90" y="117"/>
                      <a:pt x="94" y="118"/>
                      <a:pt x="99" y="118"/>
                    </a:cubicBezTo>
                    <a:cubicBezTo>
                      <a:pt x="102" y="118"/>
                      <a:pt x="102" y="118"/>
                      <a:pt x="102" y="118"/>
                    </a:cubicBezTo>
                    <a:cubicBezTo>
                      <a:pt x="103" y="118"/>
                      <a:pt x="103" y="118"/>
                      <a:pt x="103" y="118"/>
                    </a:cubicBezTo>
                    <a:cubicBezTo>
                      <a:pt x="105" y="106"/>
                      <a:pt x="107" y="94"/>
                      <a:pt x="108" y="82"/>
                    </a:cubicBezTo>
                    <a:cubicBezTo>
                      <a:pt x="109" y="71"/>
                      <a:pt x="110" y="59"/>
                      <a:pt x="111" y="47"/>
                    </a:cubicBezTo>
                    <a:cubicBezTo>
                      <a:pt x="112" y="43"/>
                      <a:pt x="112" y="38"/>
                      <a:pt x="112" y="33"/>
                    </a:cubicBezTo>
                    <a:cubicBezTo>
                      <a:pt x="113" y="28"/>
                      <a:pt x="113" y="23"/>
                      <a:pt x="115" y="18"/>
                    </a:cubicBezTo>
                    <a:cubicBezTo>
                      <a:pt x="115" y="16"/>
                      <a:pt x="116" y="13"/>
                      <a:pt x="117" y="11"/>
                    </a:cubicBezTo>
                    <a:cubicBezTo>
                      <a:pt x="118" y="9"/>
                      <a:pt x="120" y="7"/>
                      <a:pt x="121" y="5"/>
                    </a:cubicBezTo>
                    <a:cubicBezTo>
                      <a:pt x="123" y="4"/>
                      <a:pt x="125" y="2"/>
                      <a:pt x="127" y="1"/>
                    </a:cubicBezTo>
                    <a:cubicBezTo>
                      <a:pt x="129" y="0"/>
                      <a:pt x="132" y="0"/>
                      <a:pt x="134" y="0"/>
                    </a:cubicBezTo>
                    <a:cubicBezTo>
                      <a:pt x="137" y="1"/>
                      <a:pt x="140" y="2"/>
                      <a:pt x="142" y="3"/>
                    </a:cubicBezTo>
                    <a:cubicBezTo>
                      <a:pt x="144" y="5"/>
                      <a:pt x="146" y="6"/>
                      <a:pt x="148" y="9"/>
                    </a:cubicBezTo>
                    <a:cubicBezTo>
                      <a:pt x="149" y="11"/>
                      <a:pt x="151" y="13"/>
                      <a:pt x="151" y="16"/>
                    </a:cubicBezTo>
                    <a:cubicBezTo>
                      <a:pt x="152" y="19"/>
                      <a:pt x="152" y="22"/>
                      <a:pt x="152" y="25"/>
                    </a:cubicBezTo>
                    <a:cubicBezTo>
                      <a:pt x="151" y="32"/>
                      <a:pt x="151" y="39"/>
                      <a:pt x="150" y="46"/>
                    </a:cubicBezTo>
                    <a:cubicBezTo>
                      <a:pt x="150" y="53"/>
                      <a:pt x="149" y="60"/>
                      <a:pt x="148" y="67"/>
                    </a:cubicBezTo>
                    <a:cubicBezTo>
                      <a:pt x="148" y="74"/>
                      <a:pt x="147" y="80"/>
                      <a:pt x="147" y="86"/>
                    </a:cubicBezTo>
                    <a:cubicBezTo>
                      <a:pt x="147" y="92"/>
                      <a:pt x="146" y="98"/>
                      <a:pt x="145" y="104"/>
                    </a:cubicBezTo>
                    <a:cubicBezTo>
                      <a:pt x="144" y="107"/>
                      <a:pt x="144" y="110"/>
                      <a:pt x="144" y="113"/>
                    </a:cubicBezTo>
                    <a:cubicBezTo>
                      <a:pt x="144" y="116"/>
                      <a:pt x="144" y="119"/>
                      <a:pt x="145" y="122"/>
                    </a:cubicBezTo>
                    <a:cubicBezTo>
                      <a:pt x="149" y="124"/>
                      <a:pt x="152" y="126"/>
                      <a:pt x="155" y="130"/>
                    </a:cubicBezTo>
                    <a:cubicBezTo>
                      <a:pt x="158" y="133"/>
                      <a:pt x="159" y="138"/>
                      <a:pt x="158" y="14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2" name="iśḷíďe">
                <a:extLst>
                  <a:ext uri="{FF2B5EF4-FFF2-40B4-BE49-F238E27FC236}">
                    <a16:creationId xmlns:a16="http://schemas.microsoft.com/office/drawing/2014/main" id="{BFDD5457-398D-4E51-911B-CFCE3A8EEC5C}"/>
                  </a:ext>
                </a:extLst>
              </p:cNvPr>
              <p:cNvSpPr/>
              <p:nvPr/>
            </p:nvSpPr>
            <p:spPr>
              <a:xfrm flipH="1">
                <a:off x="9869632" y="3311834"/>
                <a:ext cx="164409" cy="244393"/>
              </a:xfrm>
              <a:custGeom>
                <a:avLst/>
                <a:gdLst/>
                <a:ahLst/>
                <a:cxnLst/>
                <a:rect l="l" t="t" r="r" b="b"/>
                <a:pathLst>
                  <a:path w="125" h="186" extrusionOk="0">
                    <a:moveTo>
                      <a:pt x="124" y="102"/>
                    </a:moveTo>
                    <a:cubicBezTo>
                      <a:pt x="123" y="108"/>
                      <a:pt x="122" y="113"/>
                      <a:pt x="119" y="119"/>
                    </a:cubicBezTo>
                    <a:cubicBezTo>
                      <a:pt x="117" y="124"/>
                      <a:pt x="114" y="129"/>
                      <a:pt x="111" y="134"/>
                    </a:cubicBezTo>
                    <a:cubicBezTo>
                      <a:pt x="107" y="139"/>
                      <a:pt x="103" y="144"/>
                      <a:pt x="99" y="148"/>
                    </a:cubicBezTo>
                    <a:cubicBezTo>
                      <a:pt x="95" y="153"/>
                      <a:pt x="90" y="157"/>
                      <a:pt x="86" y="160"/>
                    </a:cubicBezTo>
                    <a:cubicBezTo>
                      <a:pt x="81" y="164"/>
                      <a:pt x="77" y="168"/>
                      <a:pt x="72" y="171"/>
                    </a:cubicBezTo>
                    <a:cubicBezTo>
                      <a:pt x="67" y="175"/>
                      <a:pt x="61" y="177"/>
                      <a:pt x="56" y="180"/>
                    </a:cubicBezTo>
                    <a:cubicBezTo>
                      <a:pt x="51" y="182"/>
                      <a:pt x="45" y="184"/>
                      <a:pt x="39" y="185"/>
                    </a:cubicBezTo>
                    <a:cubicBezTo>
                      <a:pt x="34" y="186"/>
                      <a:pt x="28" y="186"/>
                      <a:pt x="22" y="186"/>
                    </a:cubicBezTo>
                    <a:cubicBezTo>
                      <a:pt x="20" y="185"/>
                      <a:pt x="18" y="184"/>
                      <a:pt x="16" y="183"/>
                    </a:cubicBezTo>
                    <a:cubicBezTo>
                      <a:pt x="13" y="182"/>
                      <a:pt x="12" y="180"/>
                      <a:pt x="11" y="178"/>
                    </a:cubicBezTo>
                    <a:cubicBezTo>
                      <a:pt x="9" y="176"/>
                      <a:pt x="8" y="173"/>
                      <a:pt x="8" y="171"/>
                    </a:cubicBezTo>
                    <a:cubicBezTo>
                      <a:pt x="7" y="169"/>
                      <a:pt x="7" y="166"/>
                      <a:pt x="7" y="164"/>
                    </a:cubicBezTo>
                    <a:cubicBezTo>
                      <a:pt x="7" y="162"/>
                      <a:pt x="7" y="160"/>
                      <a:pt x="8" y="158"/>
                    </a:cubicBezTo>
                    <a:cubicBezTo>
                      <a:pt x="10" y="156"/>
                      <a:pt x="11" y="155"/>
                      <a:pt x="13" y="154"/>
                    </a:cubicBezTo>
                    <a:cubicBezTo>
                      <a:pt x="16" y="154"/>
                      <a:pt x="18" y="154"/>
                      <a:pt x="21" y="154"/>
                    </a:cubicBezTo>
                    <a:cubicBezTo>
                      <a:pt x="23" y="153"/>
                      <a:pt x="26" y="153"/>
                      <a:pt x="29" y="153"/>
                    </a:cubicBezTo>
                    <a:cubicBezTo>
                      <a:pt x="31" y="153"/>
                      <a:pt x="34" y="153"/>
                      <a:pt x="37" y="153"/>
                    </a:cubicBezTo>
                    <a:cubicBezTo>
                      <a:pt x="39" y="153"/>
                      <a:pt x="42" y="153"/>
                      <a:pt x="45" y="152"/>
                    </a:cubicBezTo>
                    <a:cubicBezTo>
                      <a:pt x="50" y="150"/>
                      <a:pt x="56" y="147"/>
                      <a:pt x="60" y="143"/>
                    </a:cubicBezTo>
                    <a:cubicBezTo>
                      <a:pt x="65" y="139"/>
                      <a:pt x="69" y="135"/>
                      <a:pt x="73" y="130"/>
                    </a:cubicBezTo>
                    <a:cubicBezTo>
                      <a:pt x="75" y="128"/>
                      <a:pt x="77" y="126"/>
                      <a:pt x="79" y="124"/>
                    </a:cubicBezTo>
                    <a:cubicBezTo>
                      <a:pt x="80" y="121"/>
                      <a:pt x="82" y="119"/>
                      <a:pt x="84" y="116"/>
                    </a:cubicBezTo>
                    <a:cubicBezTo>
                      <a:pt x="85" y="114"/>
                      <a:pt x="87" y="111"/>
                      <a:pt x="88" y="109"/>
                    </a:cubicBezTo>
                    <a:cubicBezTo>
                      <a:pt x="89" y="106"/>
                      <a:pt x="90" y="103"/>
                      <a:pt x="90" y="100"/>
                    </a:cubicBezTo>
                    <a:cubicBezTo>
                      <a:pt x="91" y="99"/>
                      <a:pt x="91" y="97"/>
                      <a:pt x="91" y="96"/>
                    </a:cubicBezTo>
                    <a:cubicBezTo>
                      <a:pt x="91" y="94"/>
                      <a:pt x="90" y="93"/>
                      <a:pt x="90" y="91"/>
                    </a:cubicBezTo>
                    <a:cubicBezTo>
                      <a:pt x="89" y="90"/>
                      <a:pt x="88" y="89"/>
                      <a:pt x="87" y="88"/>
                    </a:cubicBezTo>
                    <a:cubicBezTo>
                      <a:pt x="86" y="87"/>
                      <a:pt x="85" y="86"/>
                      <a:pt x="83" y="86"/>
                    </a:cubicBezTo>
                    <a:cubicBezTo>
                      <a:pt x="78" y="87"/>
                      <a:pt x="73" y="89"/>
                      <a:pt x="68" y="91"/>
                    </a:cubicBezTo>
                    <a:cubicBezTo>
                      <a:pt x="64" y="94"/>
                      <a:pt x="59" y="97"/>
                      <a:pt x="55" y="100"/>
                    </a:cubicBezTo>
                    <a:cubicBezTo>
                      <a:pt x="51" y="104"/>
                      <a:pt x="46" y="107"/>
                      <a:pt x="42" y="111"/>
                    </a:cubicBezTo>
                    <a:cubicBezTo>
                      <a:pt x="38" y="114"/>
                      <a:pt x="34" y="117"/>
                      <a:pt x="29" y="121"/>
                    </a:cubicBezTo>
                    <a:cubicBezTo>
                      <a:pt x="27" y="122"/>
                      <a:pt x="25" y="124"/>
                      <a:pt x="22" y="125"/>
                    </a:cubicBezTo>
                    <a:cubicBezTo>
                      <a:pt x="20" y="126"/>
                      <a:pt x="17" y="127"/>
                      <a:pt x="15" y="127"/>
                    </a:cubicBezTo>
                    <a:cubicBezTo>
                      <a:pt x="12" y="126"/>
                      <a:pt x="9" y="125"/>
                      <a:pt x="7" y="123"/>
                    </a:cubicBezTo>
                    <a:cubicBezTo>
                      <a:pt x="5" y="122"/>
                      <a:pt x="4" y="119"/>
                      <a:pt x="3" y="117"/>
                    </a:cubicBezTo>
                    <a:cubicBezTo>
                      <a:pt x="2" y="114"/>
                      <a:pt x="1" y="111"/>
                      <a:pt x="1" y="108"/>
                    </a:cubicBezTo>
                    <a:cubicBezTo>
                      <a:pt x="0" y="106"/>
                      <a:pt x="0" y="103"/>
                      <a:pt x="1" y="100"/>
                    </a:cubicBezTo>
                    <a:cubicBezTo>
                      <a:pt x="1" y="94"/>
                      <a:pt x="2" y="88"/>
                      <a:pt x="3" y="82"/>
                    </a:cubicBezTo>
                    <a:cubicBezTo>
                      <a:pt x="3" y="77"/>
                      <a:pt x="4" y="71"/>
                      <a:pt x="5" y="65"/>
                    </a:cubicBezTo>
                    <a:cubicBezTo>
                      <a:pt x="6" y="59"/>
                      <a:pt x="7" y="54"/>
                      <a:pt x="8" y="48"/>
                    </a:cubicBezTo>
                    <a:cubicBezTo>
                      <a:pt x="9" y="42"/>
                      <a:pt x="10" y="37"/>
                      <a:pt x="11" y="31"/>
                    </a:cubicBezTo>
                    <a:cubicBezTo>
                      <a:pt x="12" y="28"/>
                      <a:pt x="12" y="26"/>
                      <a:pt x="13" y="24"/>
                    </a:cubicBezTo>
                    <a:cubicBezTo>
                      <a:pt x="14" y="21"/>
                      <a:pt x="15" y="19"/>
                      <a:pt x="16" y="17"/>
                    </a:cubicBezTo>
                    <a:cubicBezTo>
                      <a:pt x="21" y="13"/>
                      <a:pt x="26" y="9"/>
                      <a:pt x="31" y="7"/>
                    </a:cubicBezTo>
                    <a:cubicBezTo>
                      <a:pt x="36" y="5"/>
                      <a:pt x="41" y="3"/>
                      <a:pt x="47" y="2"/>
                    </a:cubicBezTo>
                    <a:cubicBezTo>
                      <a:pt x="53" y="1"/>
                      <a:pt x="59" y="0"/>
                      <a:pt x="64" y="0"/>
                    </a:cubicBezTo>
                    <a:cubicBezTo>
                      <a:pt x="70" y="0"/>
                      <a:pt x="76" y="0"/>
                      <a:pt x="81" y="0"/>
                    </a:cubicBezTo>
                    <a:cubicBezTo>
                      <a:pt x="84" y="0"/>
                      <a:pt x="86" y="0"/>
                      <a:pt x="88" y="0"/>
                    </a:cubicBezTo>
                    <a:cubicBezTo>
                      <a:pt x="91" y="1"/>
                      <a:pt x="93" y="2"/>
                      <a:pt x="95" y="3"/>
                    </a:cubicBezTo>
                    <a:cubicBezTo>
                      <a:pt x="99" y="7"/>
                      <a:pt x="101" y="11"/>
                      <a:pt x="100" y="16"/>
                    </a:cubicBezTo>
                    <a:cubicBezTo>
                      <a:pt x="100" y="18"/>
                      <a:pt x="100" y="19"/>
                      <a:pt x="99" y="21"/>
                    </a:cubicBezTo>
                    <a:cubicBezTo>
                      <a:pt x="98" y="22"/>
                      <a:pt x="96" y="23"/>
                      <a:pt x="95" y="23"/>
                    </a:cubicBezTo>
                    <a:cubicBezTo>
                      <a:pt x="94" y="24"/>
                      <a:pt x="93" y="24"/>
                      <a:pt x="92" y="23"/>
                    </a:cubicBezTo>
                    <a:cubicBezTo>
                      <a:pt x="90" y="23"/>
                      <a:pt x="89" y="23"/>
                      <a:pt x="88" y="23"/>
                    </a:cubicBezTo>
                    <a:cubicBezTo>
                      <a:pt x="84" y="23"/>
                      <a:pt x="80" y="23"/>
                      <a:pt x="76" y="24"/>
                    </a:cubicBezTo>
                    <a:cubicBezTo>
                      <a:pt x="71" y="24"/>
                      <a:pt x="67" y="24"/>
                      <a:pt x="63" y="25"/>
                    </a:cubicBezTo>
                    <a:cubicBezTo>
                      <a:pt x="59" y="26"/>
                      <a:pt x="55" y="26"/>
                      <a:pt x="51" y="27"/>
                    </a:cubicBezTo>
                    <a:cubicBezTo>
                      <a:pt x="47" y="28"/>
                      <a:pt x="43" y="30"/>
                      <a:pt x="40" y="32"/>
                    </a:cubicBezTo>
                    <a:cubicBezTo>
                      <a:pt x="39" y="36"/>
                      <a:pt x="38" y="40"/>
                      <a:pt x="38" y="44"/>
                    </a:cubicBezTo>
                    <a:cubicBezTo>
                      <a:pt x="37" y="49"/>
                      <a:pt x="36" y="53"/>
                      <a:pt x="35" y="57"/>
                    </a:cubicBezTo>
                    <a:cubicBezTo>
                      <a:pt x="35" y="61"/>
                      <a:pt x="34" y="66"/>
                      <a:pt x="33" y="70"/>
                    </a:cubicBezTo>
                    <a:cubicBezTo>
                      <a:pt x="33" y="74"/>
                      <a:pt x="32" y="78"/>
                      <a:pt x="32" y="83"/>
                    </a:cubicBezTo>
                    <a:cubicBezTo>
                      <a:pt x="31" y="85"/>
                      <a:pt x="31" y="85"/>
                      <a:pt x="31" y="85"/>
                    </a:cubicBezTo>
                    <a:cubicBezTo>
                      <a:pt x="32" y="87"/>
                      <a:pt x="32" y="87"/>
                      <a:pt x="32" y="87"/>
                    </a:cubicBezTo>
                    <a:cubicBezTo>
                      <a:pt x="35" y="82"/>
                      <a:pt x="38" y="78"/>
                      <a:pt x="42" y="74"/>
                    </a:cubicBezTo>
                    <a:cubicBezTo>
                      <a:pt x="46" y="70"/>
                      <a:pt x="51" y="66"/>
                      <a:pt x="55" y="63"/>
                    </a:cubicBezTo>
                    <a:cubicBezTo>
                      <a:pt x="60" y="61"/>
                      <a:pt x="65" y="58"/>
                      <a:pt x="70" y="57"/>
                    </a:cubicBezTo>
                    <a:cubicBezTo>
                      <a:pt x="76" y="55"/>
                      <a:pt x="81" y="55"/>
                      <a:pt x="86" y="55"/>
                    </a:cubicBezTo>
                    <a:cubicBezTo>
                      <a:pt x="93" y="54"/>
                      <a:pt x="99" y="55"/>
                      <a:pt x="104" y="58"/>
                    </a:cubicBezTo>
                    <a:cubicBezTo>
                      <a:pt x="109" y="60"/>
                      <a:pt x="113" y="64"/>
                      <a:pt x="116" y="68"/>
                    </a:cubicBezTo>
                    <a:cubicBezTo>
                      <a:pt x="120" y="73"/>
                      <a:pt x="122" y="78"/>
                      <a:pt x="123" y="84"/>
                    </a:cubicBezTo>
                    <a:cubicBezTo>
                      <a:pt x="125" y="90"/>
                      <a:pt x="125" y="96"/>
                      <a:pt x="124" y="10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3" name="íṣľïḑê">
                <a:extLst>
                  <a:ext uri="{FF2B5EF4-FFF2-40B4-BE49-F238E27FC236}">
                    <a16:creationId xmlns:a16="http://schemas.microsoft.com/office/drawing/2014/main" id="{5210C0F6-2B4C-4BDD-B353-087A8EC7516D}"/>
                  </a:ext>
                </a:extLst>
              </p:cNvPr>
              <p:cNvSpPr/>
              <p:nvPr/>
            </p:nvSpPr>
            <p:spPr>
              <a:xfrm flipH="1">
                <a:off x="10591145" y="3416812"/>
                <a:ext cx="267721" cy="382143"/>
              </a:xfrm>
              <a:custGeom>
                <a:avLst/>
                <a:gdLst/>
                <a:ahLst/>
                <a:cxnLst/>
                <a:rect l="l" t="t" r="r" b="b"/>
                <a:pathLst>
                  <a:path w="204" h="291" extrusionOk="0">
                    <a:moveTo>
                      <a:pt x="194" y="215"/>
                    </a:moveTo>
                    <a:cubicBezTo>
                      <a:pt x="187" y="228"/>
                      <a:pt x="179" y="239"/>
                      <a:pt x="168" y="250"/>
                    </a:cubicBezTo>
                    <a:cubicBezTo>
                      <a:pt x="157" y="260"/>
                      <a:pt x="145" y="269"/>
                      <a:pt x="132" y="275"/>
                    </a:cubicBezTo>
                    <a:cubicBezTo>
                      <a:pt x="125" y="279"/>
                      <a:pt x="118" y="282"/>
                      <a:pt x="111" y="285"/>
                    </a:cubicBezTo>
                    <a:cubicBezTo>
                      <a:pt x="104" y="287"/>
                      <a:pt x="97" y="289"/>
                      <a:pt x="90" y="290"/>
                    </a:cubicBezTo>
                    <a:cubicBezTo>
                      <a:pt x="82" y="291"/>
                      <a:pt x="75" y="291"/>
                      <a:pt x="68" y="291"/>
                    </a:cubicBezTo>
                    <a:cubicBezTo>
                      <a:pt x="61" y="290"/>
                      <a:pt x="54" y="288"/>
                      <a:pt x="47" y="285"/>
                    </a:cubicBezTo>
                    <a:cubicBezTo>
                      <a:pt x="41" y="283"/>
                      <a:pt x="35" y="280"/>
                      <a:pt x="30" y="276"/>
                    </a:cubicBezTo>
                    <a:cubicBezTo>
                      <a:pt x="26" y="272"/>
                      <a:pt x="22" y="267"/>
                      <a:pt x="18" y="262"/>
                    </a:cubicBezTo>
                    <a:cubicBezTo>
                      <a:pt x="14" y="257"/>
                      <a:pt x="11" y="252"/>
                      <a:pt x="9" y="246"/>
                    </a:cubicBezTo>
                    <a:cubicBezTo>
                      <a:pt x="7" y="240"/>
                      <a:pt x="5" y="234"/>
                      <a:pt x="4" y="228"/>
                    </a:cubicBezTo>
                    <a:cubicBezTo>
                      <a:pt x="1" y="217"/>
                      <a:pt x="0" y="205"/>
                      <a:pt x="1" y="192"/>
                    </a:cubicBezTo>
                    <a:cubicBezTo>
                      <a:pt x="1" y="180"/>
                      <a:pt x="4" y="168"/>
                      <a:pt x="10" y="157"/>
                    </a:cubicBezTo>
                    <a:cubicBezTo>
                      <a:pt x="17" y="141"/>
                      <a:pt x="26" y="126"/>
                      <a:pt x="36" y="113"/>
                    </a:cubicBezTo>
                    <a:cubicBezTo>
                      <a:pt x="47" y="99"/>
                      <a:pt x="58" y="86"/>
                      <a:pt x="69" y="73"/>
                    </a:cubicBezTo>
                    <a:cubicBezTo>
                      <a:pt x="74" y="66"/>
                      <a:pt x="80" y="60"/>
                      <a:pt x="86" y="53"/>
                    </a:cubicBezTo>
                    <a:cubicBezTo>
                      <a:pt x="92" y="47"/>
                      <a:pt x="98" y="41"/>
                      <a:pt x="104" y="35"/>
                    </a:cubicBezTo>
                    <a:cubicBezTo>
                      <a:pt x="110" y="28"/>
                      <a:pt x="116" y="23"/>
                      <a:pt x="123" y="17"/>
                    </a:cubicBezTo>
                    <a:cubicBezTo>
                      <a:pt x="129" y="12"/>
                      <a:pt x="136" y="7"/>
                      <a:pt x="144" y="3"/>
                    </a:cubicBezTo>
                    <a:cubicBezTo>
                      <a:pt x="148" y="1"/>
                      <a:pt x="152" y="0"/>
                      <a:pt x="156" y="0"/>
                    </a:cubicBezTo>
                    <a:cubicBezTo>
                      <a:pt x="161" y="0"/>
                      <a:pt x="165" y="1"/>
                      <a:pt x="169" y="2"/>
                    </a:cubicBezTo>
                    <a:cubicBezTo>
                      <a:pt x="171" y="3"/>
                      <a:pt x="173" y="3"/>
                      <a:pt x="175" y="4"/>
                    </a:cubicBezTo>
                    <a:cubicBezTo>
                      <a:pt x="176" y="5"/>
                      <a:pt x="178" y="6"/>
                      <a:pt x="179" y="8"/>
                    </a:cubicBezTo>
                    <a:cubicBezTo>
                      <a:pt x="179" y="11"/>
                      <a:pt x="180" y="14"/>
                      <a:pt x="180" y="16"/>
                    </a:cubicBezTo>
                    <a:cubicBezTo>
                      <a:pt x="180" y="18"/>
                      <a:pt x="180" y="20"/>
                      <a:pt x="179" y="21"/>
                    </a:cubicBezTo>
                    <a:cubicBezTo>
                      <a:pt x="179" y="23"/>
                      <a:pt x="178" y="25"/>
                      <a:pt x="178" y="28"/>
                    </a:cubicBezTo>
                    <a:cubicBezTo>
                      <a:pt x="177" y="30"/>
                      <a:pt x="176" y="32"/>
                      <a:pt x="175" y="34"/>
                    </a:cubicBezTo>
                    <a:cubicBezTo>
                      <a:pt x="169" y="40"/>
                      <a:pt x="162" y="46"/>
                      <a:pt x="155" y="52"/>
                    </a:cubicBezTo>
                    <a:cubicBezTo>
                      <a:pt x="149" y="58"/>
                      <a:pt x="142" y="64"/>
                      <a:pt x="135" y="70"/>
                    </a:cubicBezTo>
                    <a:cubicBezTo>
                      <a:pt x="126" y="78"/>
                      <a:pt x="118" y="85"/>
                      <a:pt x="110" y="93"/>
                    </a:cubicBezTo>
                    <a:cubicBezTo>
                      <a:pt x="102" y="101"/>
                      <a:pt x="95" y="110"/>
                      <a:pt x="89" y="119"/>
                    </a:cubicBezTo>
                    <a:cubicBezTo>
                      <a:pt x="95" y="117"/>
                      <a:pt x="102" y="115"/>
                      <a:pt x="108" y="114"/>
                    </a:cubicBezTo>
                    <a:cubicBezTo>
                      <a:pt x="114" y="113"/>
                      <a:pt x="120" y="113"/>
                      <a:pt x="127" y="114"/>
                    </a:cubicBezTo>
                    <a:cubicBezTo>
                      <a:pt x="133" y="114"/>
                      <a:pt x="139" y="115"/>
                      <a:pt x="145" y="117"/>
                    </a:cubicBezTo>
                    <a:cubicBezTo>
                      <a:pt x="151" y="119"/>
                      <a:pt x="157" y="120"/>
                      <a:pt x="163" y="123"/>
                    </a:cubicBezTo>
                    <a:cubicBezTo>
                      <a:pt x="172" y="126"/>
                      <a:pt x="180" y="131"/>
                      <a:pt x="187" y="138"/>
                    </a:cubicBezTo>
                    <a:cubicBezTo>
                      <a:pt x="194" y="144"/>
                      <a:pt x="199" y="152"/>
                      <a:pt x="201" y="162"/>
                    </a:cubicBezTo>
                    <a:cubicBezTo>
                      <a:pt x="204" y="171"/>
                      <a:pt x="204" y="180"/>
                      <a:pt x="202" y="189"/>
                    </a:cubicBezTo>
                    <a:cubicBezTo>
                      <a:pt x="201" y="198"/>
                      <a:pt x="198" y="207"/>
                      <a:pt x="194" y="215"/>
                    </a:cubicBezTo>
                    <a:close/>
                    <a:moveTo>
                      <a:pt x="151" y="203"/>
                    </a:moveTo>
                    <a:cubicBezTo>
                      <a:pt x="153" y="200"/>
                      <a:pt x="154" y="196"/>
                      <a:pt x="155" y="192"/>
                    </a:cubicBezTo>
                    <a:cubicBezTo>
                      <a:pt x="156" y="188"/>
                      <a:pt x="156" y="184"/>
                      <a:pt x="156" y="180"/>
                    </a:cubicBezTo>
                    <a:cubicBezTo>
                      <a:pt x="155" y="176"/>
                      <a:pt x="154" y="173"/>
                      <a:pt x="151" y="170"/>
                    </a:cubicBezTo>
                    <a:cubicBezTo>
                      <a:pt x="149" y="166"/>
                      <a:pt x="146" y="164"/>
                      <a:pt x="141" y="163"/>
                    </a:cubicBezTo>
                    <a:cubicBezTo>
                      <a:pt x="135" y="161"/>
                      <a:pt x="128" y="160"/>
                      <a:pt x="121" y="160"/>
                    </a:cubicBezTo>
                    <a:cubicBezTo>
                      <a:pt x="115" y="160"/>
                      <a:pt x="108" y="161"/>
                      <a:pt x="101" y="163"/>
                    </a:cubicBezTo>
                    <a:cubicBezTo>
                      <a:pt x="95" y="164"/>
                      <a:pt x="88" y="166"/>
                      <a:pt x="82" y="168"/>
                    </a:cubicBezTo>
                    <a:cubicBezTo>
                      <a:pt x="75" y="171"/>
                      <a:pt x="69" y="174"/>
                      <a:pt x="64" y="179"/>
                    </a:cubicBezTo>
                    <a:cubicBezTo>
                      <a:pt x="60" y="182"/>
                      <a:pt x="56" y="186"/>
                      <a:pt x="52" y="191"/>
                    </a:cubicBezTo>
                    <a:cubicBezTo>
                      <a:pt x="49" y="195"/>
                      <a:pt x="46" y="200"/>
                      <a:pt x="43" y="205"/>
                    </a:cubicBezTo>
                    <a:cubicBezTo>
                      <a:pt x="41" y="209"/>
                      <a:pt x="40" y="213"/>
                      <a:pt x="41" y="217"/>
                    </a:cubicBezTo>
                    <a:cubicBezTo>
                      <a:pt x="41" y="221"/>
                      <a:pt x="43" y="224"/>
                      <a:pt x="45" y="227"/>
                    </a:cubicBezTo>
                    <a:cubicBezTo>
                      <a:pt x="48" y="230"/>
                      <a:pt x="51" y="233"/>
                      <a:pt x="54" y="235"/>
                    </a:cubicBezTo>
                    <a:cubicBezTo>
                      <a:pt x="57" y="238"/>
                      <a:pt x="61" y="239"/>
                      <a:pt x="65" y="240"/>
                    </a:cubicBezTo>
                    <a:cubicBezTo>
                      <a:pt x="73" y="244"/>
                      <a:pt x="81" y="245"/>
                      <a:pt x="90" y="245"/>
                    </a:cubicBezTo>
                    <a:cubicBezTo>
                      <a:pt x="99" y="245"/>
                      <a:pt x="108" y="243"/>
                      <a:pt x="116" y="240"/>
                    </a:cubicBezTo>
                    <a:cubicBezTo>
                      <a:pt x="124" y="236"/>
                      <a:pt x="131" y="230"/>
                      <a:pt x="136" y="224"/>
                    </a:cubicBezTo>
                    <a:cubicBezTo>
                      <a:pt x="142" y="218"/>
                      <a:pt x="147" y="211"/>
                      <a:pt x="151" y="20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4" name="işlïdé">
                <a:extLst>
                  <a:ext uri="{FF2B5EF4-FFF2-40B4-BE49-F238E27FC236}">
                    <a16:creationId xmlns:a16="http://schemas.microsoft.com/office/drawing/2014/main" id="{15148A8C-1F1B-4363-AF73-CA46C49B87B2}"/>
                  </a:ext>
                </a:extLst>
              </p:cNvPr>
              <p:cNvSpPr/>
              <p:nvPr/>
            </p:nvSpPr>
            <p:spPr>
              <a:xfrm flipH="1">
                <a:off x="10047371" y="3393484"/>
                <a:ext cx="59987" cy="98313"/>
              </a:xfrm>
              <a:custGeom>
                <a:avLst/>
                <a:gdLst/>
                <a:ahLst/>
                <a:cxnLst/>
                <a:rect l="l" t="t" r="r" b="b"/>
                <a:pathLst>
                  <a:path w="46" h="75" extrusionOk="0">
                    <a:moveTo>
                      <a:pt x="46" y="9"/>
                    </a:moveTo>
                    <a:cubicBezTo>
                      <a:pt x="45" y="11"/>
                      <a:pt x="45" y="13"/>
                      <a:pt x="44" y="14"/>
                    </a:cubicBezTo>
                    <a:cubicBezTo>
                      <a:pt x="43" y="16"/>
                      <a:pt x="42" y="18"/>
                      <a:pt x="42" y="20"/>
                    </a:cubicBezTo>
                    <a:cubicBezTo>
                      <a:pt x="39" y="26"/>
                      <a:pt x="36" y="32"/>
                      <a:pt x="34" y="38"/>
                    </a:cubicBezTo>
                    <a:cubicBezTo>
                      <a:pt x="31" y="44"/>
                      <a:pt x="28" y="50"/>
                      <a:pt x="25" y="56"/>
                    </a:cubicBezTo>
                    <a:cubicBezTo>
                      <a:pt x="25" y="57"/>
                      <a:pt x="24" y="58"/>
                      <a:pt x="24" y="59"/>
                    </a:cubicBezTo>
                    <a:cubicBezTo>
                      <a:pt x="23" y="60"/>
                      <a:pt x="23" y="61"/>
                      <a:pt x="23" y="62"/>
                    </a:cubicBezTo>
                    <a:cubicBezTo>
                      <a:pt x="22" y="64"/>
                      <a:pt x="22" y="65"/>
                      <a:pt x="22" y="66"/>
                    </a:cubicBezTo>
                    <a:cubicBezTo>
                      <a:pt x="22" y="66"/>
                      <a:pt x="22" y="67"/>
                      <a:pt x="21" y="69"/>
                    </a:cubicBezTo>
                    <a:cubicBezTo>
                      <a:pt x="21" y="69"/>
                      <a:pt x="21" y="70"/>
                      <a:pt x="21" y="71"/>
                    </a:cubicBezTo>
                    <a:cubicBezTo>
                      <a:pt x="20" y="72"/>
                      <a:pt x="20" y="73"/>
                      <a:pt x="20" y="74"/>
                    </a:cubicBezTo>
                    <a:cubicBezTo>
                      <a:pt x="18" y="75"/>
                      <a:pt x="17" y="75"/>
                      <a:pt x="15" y="75"/>
                    </a:cubicBezTo>
                    <a:cubicBezTo>
                      <a:pt x="14" y="75"/>
                      <a:pt x="13" y="75"/>
                      <a:pt x="13" y="74"/>
                    </a:cubicBezTo>
                    <a:cubicBezTo>
                      <a:pt x="12" y="74"/>
                      <a:pt x="11" y="73"/>
                      <a:pt x="11" y="73"/>
                    </a:cubicBezTo>
                    <a:cubicBezTo>
                      <a:pt x="10" y="72"/>
                      <a:pt x="10" y="71"/>
                      <a:pt x="10" y="70"/>
                    </a:cubicBezTo>
                    <a:cubicBezTo>
                      <a:pt x="9" y="69"/>
                      <a:pt x="9" y="68"/>
                      <a:pt x="9" y="67"/>
                    </a:cubicBezTo>
                    <a:cubicBezTo>
                      <a:pt x="10" y="65"/>
                      <a:pt x="10" y="63"/>
                      <a:pt x="11" y="61"/>
                    </a:cubicBezTo>
                    <a:cubicBezTo>
                      <a:pt x="12" y="59"/>
                      <a:pt x="12" y="56"/>
                      <a:pt x="13" y="54"/>
                    </a:cubicBezTo>
                    <a:cubicBezTo>
                      <a:pt x="16" y="49"/>
                      <a:pt x="18" y="43"/>
                      <a:pt x="21" y="38"/>
                    </a:cubicBezTo>
                    <a:cubicBezTo>
                      <a:pt x="24" y="32"/>
                      <a:pt x="26" y="27"/>
                      <a:pt x="28" y="21"/>
                    </a:cubicBezTo>
                    <a:cubicBezTo>
                      <a:pt x="29" y="19"/>
                      <a:pt x="30" y="18"/>
                      <a:pt x="30" y="16"/>
                    </a:cubicBezTo>
                    <a:cubicBezTo>
                      <a:pt x="31" y="14"/>
                      <a:pt x="32" y="13"/>
                      <a:pt x="32" y="11"/>
                    </a:cubicBezTo>
                    <a:cubicBezTo>
                      <a:pt x="32" y="11"/>
                      <a:pt x="31" y="11"/>
                      <a:pt x="30" y="11"/>
                    </a:cubicBezTo>
                    <a:cubicBezTo>
                      <a:pt x="30" y="11"/>
                      <a:pt x="29" y="10"/>
                      <a:pt x="28" y="10"/>
                    </a:cubicBezTo>
                    <a:cubicBezTo>
                      <a:pt x="27" y="10"/>
                      <a:pt x="27" y="10"/>
                      <a:pt x="26" y="10"/>
                    </a:cubicBezTo>
                    <a:cubicBezTo>
                      <a:pt x="25" y="10"/>
                      <a:pt x="25" y="10"/>
                      <a:pt x="24" y="10"/>
                    </a:cubicBezTo>
                    <a:cubicBezTo>
                      <a:pt x="22" y="10"/>
                      <a:pt x="20" y="10"/>
                      <a:pt x="19" y="11"/>
                    </a:cubicBezTo>
                    <a:cubicBezTo>
                      <a:pt x="17" y="11"/>
                      <a:pt x="15" y="12"/>
                      <a:pt x="14" y="12"/>
                    </a:cubicBezTo>
                    <a:cubicBezTo>
                      <a:pt x="13" y="13"/>
                      <a:pt x="12" y="13"/>
                      <a:pt x="12" y="14"/>
                    </a:cubicBezTo>
                    <a:cubicBezTo>
                      <a:pt x="11" y="15"/>
                      <a:pt x="10" y="15"/>
                      <a:pt x="10" y="16"/>
                    </a:cubicBezTo>
                    <a:cubicBezTo>
                      <a:pt x="9" y="17"/>
                      <a:pt x="9" y="17"/>
                      <a:pt x="8" y="18"/>
                    </a:cubicBezTo>
                    <a:cubicBezTo>
                      <a:pt x="8" y="18"/>
                      <a:pt x="7" y="18"/>
                      <a:pt x="6" y="18"/>
                    </a:cubicBezTo>
                    <a:cubicBezTo>
                      <a:pt x="5" y="18"/>
                      <a:pt x="3" y="18"/>
                      <a:pt x="1" y="17"/>
                    </a:cubicBezTo>
                    <a:cubicBezTo>
                      <a:pt x="1" y="17"/>
                      <a:pt x="0" y="16"/>
                      <a:pt x="0" y="16"/>
                    </a:cubicBezTo>
                    <a:cubicBezTo>
                      <a:pt x="0" y="15"/>
                      <a:pt x="0" y="14"/>
                      <a:pt x="0" y="14"/>
                    </a:cubicBezTo>
                    <a:cubicBezTo>
                      <a:pt x="0" y="12"/>
                      <a:pt x="1" y="10"/>
                      <a:pt x="1" y="9"/>
                    </a:cubicBezTo>
                    <a:cubicBezTo>
                      <a:pt x="2" y="8"/>
                      <a:pt x="3" y="7"/>
                      <a:pt x="5" y="6"/>
                    </a:cubicBezTo>
                    <a:cubicBezTo>
                      <a:pt x="6" y="5"/>
                      <a:pt x="7" y="4"/>
                      <a:pt x="9" y="3"/>
                    </a:cubicBezTo>
                    <a:cubicBezTo>
                      <a:pt x="10" y="2"/>
                      <a:pt x="12" y="2"/>
                      <a:pt x="13" y="1"/>
                    </a:cubicBezTo>
                    <a:cubicBezTo>
                      <a:pt x="17" y="0"/>
                      <a:pt x="20" y="0"/>
                      <a:pt x="23" y="0"/>
                    </a:cubicBezTo>
                    <a:cubicBezTo>
                      <a:pt x="26" y="0"/>
                      <a:pt x="30" y="0"/>
                      <a:pt x="33" y="0"/>
                    </a:cubicBezTo>
                    <a:cubicBezTo>
                      <a:pt x="34" y="0"/>
                      <a:pt x="36" y="1"/>
                      <a:pt x="37" y="1"/>
                    </a:cubicBezTo>
                    <a:cubicBezTo>
                      <a:pt x="39" y="1"/>
                      <a:pt x="40" y="2"/>
                      <a:pt x="41" y="2"/>
                    </a:cubicBezTo>
                    <a:cubicBezTo>
                      <a:pt x="43" y="3"/>
                      <a:pt x="44" y="4"/>
                      <a:pt x="44" y="5"/>
                    </a:cubicBezTo>
                    <a:cubicBezTo>
                      <a:pt x="45" y="6"/>
                      <a:pt x="46" y="7"/>
                      <a:pt x="46" y="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5" name="ïšļîdè">
                <a:extLst>
                  <a:ext uri="{FF2B5EF4-FFF2-40B4-BE49-F238E27FC236}">
                    <a16:creationId xmlns:a16="http://schemas.microsoft.com/office/drawing/2014/main" id="{18C644A2-AEC8-4508-B568-DD39B52034A8}"/>
                  </a:ext>
                </a:extLst>
              </p:cNvPr>
              <p:cNvSpPr/>
              <p:nvPr/>
            </p:nvSpPr>
            <p:spPr>
              <a:xfrm flipH="1">
                <a:off x="9709665" y="2346479"/>
                <a:ext cx="984791" cy="930917"/>
              </a:xfrm>
              <a:custGeom>
                <a:avLst/>
                <a:gdLst/>
                <a:ahLst/>
                <a:cxnLst/>
                <a:rect l="l" t="t" r="r" b="b"/>
                <a:pathLst>
                  <a:path w="1773" h="1676" extrusionOk="0">
                    <a:moveTo>
                      <a:pt x="926" y="1672"/>
                    </a:moveTo>
                    <a:lnTo>
                      <a:pt x="971" y="1076"/>
                    </a:lnTo>
                    <a:lnTo>
                      <a:pt x="1773" y="0"/>
                    </a:lnTo>
                    <a:lnTo>
                      <a:pt x="0" y="12"/>
                    </a:lnTo>
                    <a:lnTo>
                      <a:pt x="830" y="1059"/>
                    </a:lnTo>
                    <a:lnTo>
                      <a:pt x="837" y="1676"/>
                    </a:lnTo>
                    <a:lnTo>
                      <a:pt x="926" y="167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>
                  <a:solidFill>
                    <a:schemeClr val="dk1"/>
                  </a:solidFill>
                </a:endParaRPr>
              </a:p>
            </p:txBody>
          </p:sp>
          <p:sp>
            <p:nvSpPr>
              <p:cNvPr id="126" name="îṩḻïḋé">
                <a:extLst>
                  <a:ext uri="{FF2B5EF4-FFF2-40B4-BE49-F238E27FC236}">
                    <a16:creationId xmlns:a16="http://schemas.microsoft.com/office/drawing/2014/main" id="{5DFFECBD-A763-4849-9393-834C8A5EC82B}"/>
                  </a:ext>
                </a:extLst>
              </p:cNvPr>
              <p:cNvSpPr/>
              <p:nvPr/>
            </p:nvSpPr>
            <p:spPr>
              <a:xfrm flipH="1">
                <a:off x="10496165" y="1888241"/>
                <a:ext cx="189404" cy="239395"/>
              </a:xfrm>
              <a:custGeom>
                <a:avLst/>
                <a:gdLst/>
                <a:ahLst/>
                <a:cxnLst/>
                <a:rect l="l" t="t" r="r" b="b"/>
                <a:pathLst>
                  <a:path w="144" h="182" extrusionOk="0">
                    <a:moveTo>
                      <a:pt x="143" y="45"/>
                    </a:moveTo>
                    <a:cubicBezTo>
                      <a:pt x="142" y="47"/>
                      <a:pt x="141" y="49"/>
                      <a:pt x="139" y="50"/>
                    </a:cubicBezTo>
                    <a:cubicBezTo>
                      <a:pt x="138" y="51"/>
                      <a:pt x="136" y="52"/>
                      <a:pt x="134" y="52"/>
                    </a:cubicBezTo>
                    <a:cubicBezTo>
                      <a:pt x="132" y="53"/>
                      <a:pt x="129" y="53"/>
                      <a:pt x="127" y="53"/>
                    </a:cubicBezTo>
                    <a:cubicBezTo>
                      <a:pt x="125" y="52"/>
                      <a:pt x="123" y="52"/>
                      <a:pt x="121" y="52"/>
                    </a:cubicBezTo>
                    <a:cubicBezTo>
                      <a:pt x="116" y="51"/>
                      <a:pt x="111" y="49"/>
                      <a:pt x="106" y="48"/>
                    </a:cubicBezTo>
                    <a:cubicBezTo>
                      <a:pt x="102" y="46"/>
                      <a:pt x="97" y="45"/>
                      <a:pt x="92" y="43"/>
                    </a:cubicBezTo>
                    <a:cubicBezTo>
                      <a:pt x="88" y="52"/>
                      <a:pt x="83" y="62"/>
                      <a:pt x="79" y="71"/>
                    </a:cubicBezTo>
                    <a:cubicBezTo>
                      <a:pt x="75" y="80"/>
                      <a:pt x="71" y="90"/>
                      <a:pt x="66" y="99"/>
                    </a:cubicBezTo>
                    <a:cubicBezTo>
                      <a:pt x="62" y="108"/>
                      <a:pt x="58" y="118"/>
                      <a:pt x="54" y="127"/>
                    </a:cubicBezTo>
                    <a:cubicBezTo>
                      <a:pt x="49" y="136"/>
                      <a:pt x="45" y="146"/>
                      <a:pt x="40" y="155"/>
                    </a:cubicBezTo>
                    <a:cubicBezTo>
                      <a:pt x="39" y="158"/>
                      <a:pt x="37" y="160"/>
                      <a:pt x="35" y="163"/>
                    </a:cubicBezTo>
                    <a:cubicBezTo>
                      <a:pt x="34" y="167"/>
                      <a:pt x="32" y="169"/>
                      <a:pt x="30" y="172"/>
                    </a:cubicBezTo>
                    <a:cubicBezTo>
                      <a:pt x="28" y="175"/>
                      <a:pt x="26" y="177"/>
                      <a:pt x="23" y="179"/>
                    </a:cubicBezTo>
                    <a:cubicBezTo>
                      <a:pt x="21" y="181"/>
                      <a:pt x="18" y="182"/>
                      <a:pt x="14" y="182"/>
                    </a:cubicBezTo>
                    <a:cubicBezTo>
                      <a:pt x="12" y="182"/>
                      <a:pt x="9" y="181"/>
                      <a:pt x="7" y="179"/>
                    </a:cubicBezTo>
                    <a:cubicBezTo>
                      <a:pt x="5" y="178"/>
                      <a:pt x="3" y="176"/>
                      <a:pt x="2" y="174"/>
                    </a:cubicBezTo>
                    <a:cubicBezTo>
                      <a:pt x="1" y="173"/>
                      <a:pt x="0" y="170"/>
                      <a:pt x="0" y="168"/>
                    </a:cubicBezTo>
                    <a:cubicBezTo>
                      <a:pt x="0" y="166"/>
                      <a:pt x="0" y="163"/>
                      <a:pt x="1" y="161"/>
                    </a:cubicBezTo>
                    <a:cubicBezTo>
                      <a:pt x="3" y="157"/>
                      <a:pt x="5" y="153"/>
                      <a:pt x="6" y="149"/>
                    </a:cubicBezTo>
                    <a:cubicBezTo>
                      <a:pt x="8" y="145"/>
                      <a:pt x="10" y="141"/>
                      <a:pt x="12" y="138"/>
                    </a:cubicBezTo>
                    <a:cubicBezTo>
                      <a:pt x="16" y="130"/>
                      <a:pt x="20" y="122"/>
                      <a:pt x="25" y="114"/>
                    </a:cubicBezTo>
                    <a:cubicBezTo>
                      <a:pt x="29" y="107"/>
                      <a:pt x="33" y="99"/>
                      <a:pt x="36" y="91"/>
                    </a:cubicBezTo>
                    <a:cubicBezTo>
                      <a:pt x="40" y="81"/>
                      <a:pt x="43" y="71"/>
                      <a:pt x="46" y="61"/>
                    </a:cubicBezTo>
                    <a:cubicBezTo>
                      <a:pt x="50" y="51"/>
                      <a:pt x="52" y="41"/>
                      <a:pt x="53" y="31"/>
                    </a:cubicBezTo>
                    <a:cubicBezTo>
                      <a:pt x="47" y="29"/>
                      <a:pt x="40" y="28"/>
                      <a:pt x="34" y="26"/>
                    </a:cubicBezTo>
                    <a:cubicBezTo>
                      <a:pt x="27" y="25"/>
                      <a:pt x="20" y="23"/>
                      <a:pt x="14" y="22"/>
                    </a:cubicBezTo>
                    <a:cubicBezTo>
                      <a:pt x="13" y="21"/>
                      <a:pt x="12" y="20"/>
                      <a:pt x="12" y="19"/>
                    </a:cubicBezTo>
                    <a:cubicBezTo>
                      <a:pt x="12" y="17"/>
                      <a:pt x="12" y="16"/>
                      <a:pt x="12" y="15"/>
                    </a:cubicBezTo>
                    <a:cubicBezTo>
                      <a:pt x="12" y="15"/>
                      <a:pt x="12" y="14"/>
                      <a:pt x="12" y="13"/>
                    </a:cubicBezTo>
                    <a:cubicBezTo>
                      <a:pt x="12" y="12"/>
                      <a:pt x="12" y="10"/>
                      <a:pt x="13" y="9"/>
                    </a:cubicBezTo>
                    <a:cubicBezTo>
                      <a:pt x="13" y="7"/>
                      <a:pt x="14" y="6"/>
                      <a:pt x="14" y="4"/>
                    </a:cubicBezTo>
                    <a:cubicBezTo>
                      <a:pt x="15" y="3"/>
                      <a:pt x="16" y="2"/>
                      <a:pt x="17" y="1"/>
                    </a:cubicBezTo>
                    <a:cubicBezTo>
                      <a:pt x="18" y="1"/>
                      <a:pt x="19" y="0"/>
                      <a:pt x="20" y="0"/>
                    </a:cubicBezTo>
                    <a:cubicBezTo>
                      <a:pt x="22" y="0"/>
                      <a:pt x="23" y="0"/>
                      <a:pt x="24" y="0"/>
                    </a:cubicBezTo>
                    <a:cubicBezTo>
                      <a:pt x="26" y="0"/>
                      <a:pt x="27" y="0"/>
                      <a:pt x="28" y="0"/>
                    </a:cubicBezTo>
                    <a:cubicBezTo>
                      <a:pt x="38" y="2"/>
                      <a:pt x="48" y="3"/>
                      <a:pt x="58" y="5"/>
                    </a:cubicBezTo>
                    <a:cubicBezTo>
                      <a:pt x="68" y="7"/>
                      <a:pt x="78" y="9"/>
                      <a:pt x="88" y="11"/>
                    </a:cubicBezTo>
                    <a:cubicBezTo>
                      <a:pt x="96" y="13"/>
                      <a:pt x="103" y="15"/>
                      <a:pt x="110" y="17"/>
                    </a:cubicBezTo>
                    <a:cubicBezTo>
                      <a:pt x="118" y="19"/>
                      <a:pt x="125" y="22"/>
                      <a:pt x="132" y="24"/>
                    </a:cubicBezTo>
                    <a:cubicBezTo>
                      <a:pt x="134" y="25"/>
                      <a:pt x="136" y="26"/>
                      <a:pt x="137" y="28"/>
                    </a:cubicBezTo>
                    <a:cubicBezTo>
                      <a:pt x="138" y="29"/>
                      <a:pt x="140" y="31"/>
                      <a:pt x="141" y="33"/>
                    </a:cubicBezTo>
                    <a:cubicBezTo>
                      <a:pt x="142" y="35"/>
                      <a:pt x="142" y="37"/>
                      <a:pt x="143" y="39"/>
                    </a:cubicBezTo>
                    <a:cubicBezTo>
                      <a:pt x="143" y="41"/>
                      <a:pt x="144" y="43"/>
                      <a:pt x="143" y="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7" name="ïṡ1íďè">
                <a:extLst>
                  <a:ext uri="{FF2B5EF4-FFF2-40B4-BE49-F238E27FC236}">
                    <a16:creationId xmlns:a16="http://schemas.microsoft.com/office/drawing/2014/main" id="{E04C672C-2A57-4196-8960-27B88E6779A2}"/>
                  </a:ext>
                </a:extLst>
              </p:cNvPr>
              <p:cNvSpPr/>
              <p:nvPr/>
            </p:nvSpPr>
            <p:spPr>
              <a:xfrm flipH="1">
                <a:off x="10256216" y="2049874"/>
                <a:ext cx="320488" cy="399362"/>
              </a:xfrm>
              <a:custGeom>
                <a:avLst/>
                <a:gdLst/>
                <a:ahLst/>
                <a:cxnLst/>
                <a:rect l="l" t="t" r="r" b="b"/>
                <a:pathLst>
                  <a:path w="244" h="304" extrusionOk="0">
                    <a:moveTo>
                      <a:pt x="239" y="111"/>
                    </a:moveTo>
                    <a:cubicBezTo>
                      <a:pt x="237" y="119"/>
                      <a:pt x="233" y="127"/>
                      <a:pt x="228" y="133"/>
                    </a:cubicBezTo>
                    <a:cubicBezTo>
                      <a:pt x="222" y="139"/>
                      <a:pt x="216" y="145"/>
                      <a:pt x="209" y="149"/>
                    </a:cubicBezTo>
                    <a:cubicBezTo>
                      <a:pt x="202" y="154"/>
                      <a:pt x="194" y="157"/>
                      <a:pt x="186" y="160"/>
                    </a:cubicBezTo>
                    <a:cubicBezTo>
                      <a:pt x="177" y="162"/>
                      <a:pt x="169" y="164"/>
                      <a:pt x="161" y="164"/>
                    </a:cubicBezTo>
                    <a:cubicBezTo>
                      <a:pt x="166" y="168"/>
                      <a:pt x="171" y="173"/>
                      <a:pt x="176" y="179"/>
                    </a:cubicBezTo>
                    <a:cubicBezTo>
                      <a:pt x="180" y="185"/>
                      <a:pt x="184" y="191"/>
                      <a:pt x="186" y="198"/>
                    </a:cubicBezTo>
                    <a:cubicBezTo>
                      <a:pt x="188" y="205"/>
                      <a:pt x="190" y="212"/>
                      <a:pt x="189" y="219"/>
                    </a:cubicBezTo>
                    <a:cubicBezTo>
                      <a:pt x="189" y="226"/>
                      <a:pt x="188" y="234"/>
                      <a:pt x="184" y="241"/>
                    </a:cubicBezTo>
                    <a:cubicBezTo>
                      <a:pt x="179" y="252"/>
                      <a:pt x="172" y="261"/>
                      <a:pt x="163" y="270"/>
                    </a:cubicBezTo>
                    <a:cubicBezTo>
                      <a:pt x="154" y="279"/>
                      <a:pt x="143" y="286"/>
                      <a:pt x="132" y="291"/>
                    </a:cubicBezTo>
                    <a:cubicBezTo>
                      <a:pt x="121" y="296"/>
                      <a:pt x="109" y="300"/>
                      <a:pt x="97" y="302"/>
                    </a:cubicBezTo>
                    <a:cubicBezTo>
                      <a:pt x="84" y="304"/>
                      <a:pt x="72" y="303"/>
                      <a:pt x="61" y="299"/>
                    </a:cubicBezTo>
                    <a:cubicBezTo>
                      <a:pt x="50" y="295"/>
                      <a:pt x="40" y="290"/>
                      <a:pt x="32" y="283"/>
                    </a:cubicBezTo>
                    <a:cubicBezTo>
                      <a:pt x="23" y="277"/>
                      <a:pt x="16" y="268"/>
                      <a:pt x="11" y="259"/>
                    </a:cubicBezTo>
                    <a:cubicBezTo>
                      <a:pt x="6" y="249"/>
                      <a:pt x="2" y="239"/>
                      <a:pt x="1" y="228"/>
                    </a:cubicBezTo>
                    <a:cubicBezTo>
                      <a:pt x="0" y="217"/>
                      <a:pt x="1" y="206"/>
                      <a:pt x="4" y="196"/>
                    </a:cubicBezTo>
                    <a:cubicBezTo>
                      <a:pt x="7" y="188"/>
                      <a:pt x="11" y="182"/>
                      <a:pt x="16" y="175"/>
                    </a:cubicBezTo>
                    <a:cubicBezTo>
                      <a:pt x="22" y="169"/>
                      <a:pt x="28" y="164"/>
                      <a:pt x="35" y="160"/>
                    </a:cubicBezTo>
                    <a:cubicBezTo>
                      <a:pt x="43" y="155"/>
                      <a:pt x="51" y="152"/>
                      <a:pt x="59" y="149"/>
                    </a:cubicBezTo>
                    <a:cubicBezTo>
                      <a:pt x="68" y="146"/>
                      <a:pt x="76" y="145"/>
                      <a:pt x="85" y="145"/>
                    </a:cubicBezTo>
                    <a:cubicBezTo>
                      <a:pt x="79" y="141"/>
                      <a:pt x="73" y="136"/>
                      <a:pt x="68" y="130"/>
                    </a:cubicBezTo>
                    <a:cubicBezTo>
                      <a:pt x="63" y="124"/>
                      <a:pt x="59" y="118"/>
                      <a:pt x="56" y="111"/>
                    </a:cubicBezTo>
                    <a:cubicBezTo>
                      <a:pt x="52" y="105"/>
                      <a:pt x="51" y="97"/>
                      <a:pt x="50" y="90"/>
                    </a:cubicBezTo>
                    <a:cubicBezTo>
                      <a:pt x="50" y="82"/>
                      <a:pt x="52" y="75"/>
                      <a:pt x="55" y="67"/>
                    </a:cubicBezTo>
                    <a:cubicBezTo>
                      <a:pt x="61" y="56"/>
                      <a:pt x="68" y="46"/>
                      <a:pt x="78" y="37"/>
                    </a:cubicBezTo>
                    <a:cubicBezTo>
                      <a:pt x="88" y="28"/>
                      <a:pt x="99" y="21"/>
                      <a:pt x="110" y="15"/>
                    </a:cubicBezTo>
                    <a:cubicBezTo>
                      <a:pt x="122" y="9"/>
                      <a:pt x="135" y="4"/>
                      <a:pt x="148" y="2"/>
                    </a:cubicBezTo>
                    <a:cubicBezTo>
                      <a:pt x="161" y="0"/>
                      <a:pt x="174" y="1"/>
                      <a:pt x="186" y="5"/>
                    </a:cubicBezTo>
                    <a:cubicBezTo>
                      <a:pt x="197" y="8"/>
                      <a:pt x="206" y="14"/>
                      <a:pt x="214" y="21"/>
                    </a:cubicBezTo>
                    <a:cubicBezTo>
                      <a:pt x="222" y="29"/>
                      <a:pt x="229" y="38"/>
                      <a:pt x="233" y="48"/>
                    </a:cubicBezTo>
                    <a:cubicBezTo>
                      <a:pt x="238" y="58"/>
                      <a:pt x="241" y="68"/>
                      <a:pt x="242" y="79"/>
                    </a:cubicBezTo>
                    <a:cubicBezTo>
                      <a:pt x="244" y="89"/>
                      <a:pt x="243" y="100"/>
                      <a:pt x="239" y="111"/>
                    </a:cubicBezTo>
                    <a:close/>
                    <a:moveTo>
                      <a:pt x="129" y="234"/>
                    </a:moveTo>
                    <a:cubicBezTo>
                      <a:pt x="131" y="230"/>
                      <a:pt x="132" y="226"/>
                      <a:pt x="131" y="222"/>
                    </a:cubicBezTo>
                    <a:cubicBezTo>
                      <a:pt x="131" y="217"/>
                      <a:pt x="130" y="213"/>
                      <a:pt x="128" y="209"/>
                    </a:cubicBezTo>
                    <a:cubicBezTo>
                      <a:pt x="126" y="205"/>
                      <a:pt x="124" y="201"/>
                      <a:pt x="120" y="199"/>
                    </a:cubicBezTo>
                    <a:cubicBezTo>
                      <a:pt x="117" y="196"/>
                      <a:pt x="113" y="194"/>
                      <a:pt x="109" y="192"/>
                    </a:cubicBezTo>
                    <a:cubicBezTo>
                      <a:pt x="104" y="191"/>
                      <a:pt x="98" y="190"/>
                      <a:pt x="92" y="191"/>
                    </a:cubicBezTo>
                    <a:cubicBezTo>
                      <a:pt x="87" y="191"/>
                      <a:pt x="81" y="193"/>
                      <a:pt x="76" y="195"/>
                    </a:cubicBezTo>
                    <a:cubicBezTo>
                      <a:pt x="71" y="197"/>
                      <a:pt x="66" y="199"/>
                      <a:pt x="62" y="203"/>
                    </a:cubicBezTo>
                    <a:cubicBezTo>
                      <a:pt x="58" y="206"/>
                      <a:pt x="55" y="210"/>
                      <a:pt x="53" y="215"/>
                    </a:cubicBezTo>
                    <a:cubicBezTo>
                      <a:pt x="52" y="219"/>
                      <a:pt x="51" y="223"/>
                      <a:pt x="52" y="227"/>
                    </a:cubicBezTo>
                    <a:cubicBezTo>
                      <a:pt x="54" y="231"/>
                      <a:pt x="55" y="235"/>
                      <a:pt x="58" y="238"/>
                    </a:cubicBezTo>
                    <a:cubicBezTo>
                      <a:pt x="60" y="241"/>
                      <a:pt x="64" y="244"/>
                      <a:pt x="68" y="246"/>
                    </a:cubicBezTo>
                    <a:cubicBezTo>
                      <a:pt x="71" y="248"/>
                      <a:pt x="75" y="250"/>
                      <a:pt x="79" y="251"/>
                    </a:cubicBezTo>
                    <a:cubicBezTo>
                      <a:pt x="89" y="254"/>
                      <a:pt x="98" y="255"/>
                      <a:pt x="109" y="253"/>
                    </a:cubicBezTo>
                    <a:cubicBezTo>
                      <a:pt x="113" y="251"/>
                      <a:pt x="117" y="249"/>
                      <a:pt x="121" y="246"/>
                    </a:cubicBezTo>
                    <a:cubicBezTo>
                      <a:pt x="125" y="243"/>
                      <a:pt x="128" y="239"/>
                      <a:pt x="129" y="234"/>
                    </a:cubicBezTo>
                    <a:close/>
                    <a:moveTo>
                      <a:pt x="189" y="87"/>
                    </a:moveTo>
                    <a:cubicBezTo>
                      <a:pt x="190" y="83"/>
                      <a:pt x="191" y="80"/>
                      <a:pt x="191" y="75"/>
                    </a:cubicBezTo>
                    <a:cubicBezTo>
                      <a:pt x="191" y="71"/>
                      <a:pt x="190" y="67"/>
                      <a:pt x="189" y="64"/>
                    </a:cubicBezTo>
                    <a:cubicBezTo>
                      <a:pt x="188" y="60"/>
                      <a:pt x="186" y="57"/>
                      <a:pt x="183" y="54"/>
                    </a:cubicBezTo>
                    <a:cubicBezTo>
                      <a:pt x="180" y="51"/>
                      <a:pt x="177" y="49"/>
                      <a:pt x="173" y="48"/>
                    </a:cubicBezTo>
                    <a:cubicBezTo>
                      <a:pt x="167" y="46"/>
                      <a:pt x="161" y="46"/>
                      <a:pt x="155" y="47"/>
                    </a:cubicBezTo>
                    <a:cubicBezTo>
                      <a:pt x="149" y="48"/>
                      <a:pt x="144" y="49"/>
                      <a:pt x="139" y="52"/>
                    </a:cubicBezTo>
                    <a:cubicBezTo>
                      <a:pt x="134" y="55"/>
                      <a:pt x="129" y="58"/>
                      <a:pt x="124" y="62"/>
                    </a:cubicBezTo>
                    <a:cubicBezTo>
                      <a:pt x="120" y="66"/>
                      <a:pt x="116" y="70"/>
                      <a:pt x="114" y="75"/>
                    </a:cubicBezTo>
                    <a:cubicBezTo>
                      <a:pt x="112" y="79"/>
                      <a:pt x="111" y="83"/>
                      <a:pt x="111" y="88"/>
                    </a:cubicBezTo>
                    <a:cubicBezTo>
                      <a:pt x="111" y="92"/>
                      <a:pt x="112" y="96"/>
                      <a:pt x="113" y="100"/>
                    </a:cubicBezTo>
                    <a:cubicBezTo>
                      <a:pt x="115" y="104"/>
                      <a:pt x="118" y="108"/>
                      <a:pt x="121" y="110"/>
                    </a:cubicBezTo>
                    <a:cubicBezTo>
                      <a:pt x="124" y="113"/>
                      <a:pt x="128" y="115"/>
                      <a:pt x="132" y="117"/>
                    </a:cubicBezTo>
                    <a:cubicBezTo>
                      <a:pt x="138" y="118"/>
                      <a:pt x="144" y="119"/>
                      <a:pt x="149" y="117"/>
                    </a:cubicBezTo>
                    <a:cubicBezTo>
                      <a:pt x="155" y="116"/>
                      <a:pt x="161" y="114"/>
                      <a:pt x="166" y="111"/>
                    </a:cubicBezTo>
                    <a:cubicBezTo>
                      <a:pt x="171" y="108"/>
                      <a:pt x="175" y="105"/>
                      <a:pt x="179" y="101"/>
                    </a:cubicBezTo>
                    <a:cubicBezTo>
                      <a:pt x="184" y="97"/>
                      <a:pt x="187" y="93"/>
                      <a:pt x="189" y="8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8" name="ís1iḑe">
                <a:extLst>
                  <a:ext uri="{FF2B5EF4-FFF2-40B4-BE49-F238E27FC236}">
                    <a16:creationId xmlns:a16="http://schemas.microsoft.com/office/drawing/2014/main" id="{4ED0DA45-B546-4A97-B476-1F0C38E8EDBE}"/>
                  </a:ext>
                </a:extLst>
              </p:cNvPr>
              <p:cNvSpPr/>
              <p:nvPr/>
            </p:nvSpPr>
            <p:spPr>
              <a:xfrm flipH="1">
                <a:off x="9804089" y="2079868"/>
                <a:ext cx="283829" cy="450462"/>
              </a:xfrm>
              <a:custGeom>
                <a:avLst/>
                <a:gdLst/>
                <a:ahLst/>
                <a:cxnLst/>
                <a:rect l="l" t="t" r="r" b="b"/>
                <a:pathLst>
                  <a:path w="216" h="343" extrusionOk="0">
                    <a:moveTo>
                      <a:pt x="215" y="119"/>
                    </a:moveTo>
                    <a:cubicBezTo>
                      <a:pt x="214" y="130"/>
                      <a:pt x="213" y="140"/>
                      <a:pt x="211" y="151"/>
                    </a:cubicBezTo>
                    <a:cubicBezTo>
                      <a:pt x="209" y="162"/>
                      <a:pt x="206" y="172"/>
                      <a:pt x="203" y="183"/>
                    </a:cubicBezTo>
                    <a:cubicBezTo>
                      <a:pt x="200" y="193"/>
                      <a:pt x="196" y="203"/>
                      <a:pt x="192" y="214"/>
                    </a:cubicBezTo>
                    <a:cubicBezTo>
                      <a:pt x="188" y="224"/>
                      <a:pt x="184" y="234"/>
                      <a:pt x="180" y="244"/>
                    </a:cubicBezTo>
                    <a:cubicBezTo>
                      <a:pt x="176" y="253"/>
                      <a:pt x="172" y="262"/>
                      <a:pt x="168" y="272"/>
                    </a:cubicBezTo>
                    <a:cubicBezTo>
                      <a:pt x="164" y="281"/>
                      <a:pt x="159" y="291"/>
                      <a:pt x="154" y="300"/>
                    </a:cubicBezTo>
                    <a:cubicBezTo>
                      <a:pt x="149" y="309"/>
                      <a:pt x="143" y="317"/>
                      <a:pt x="137" y="325"/>
                    </a:cubicBezTo>
                    <a:cubicBezTo>
                      <a:pt x="130" y="332"/>
                      <a:pt x="122" y="338"/>
                      <a:pt x="113" y="343"/>
                    </a:cubicBezTo>
                    <a:cubicBezTo>
                      <a:pt x="108" y="343"/>
                      <a:pt x="104" y="342"/>
                      <a:pt x="101" y="339"/>
                    </a:cubicBezTo>
                    <a:cubicBezTo>
                      <a:pt x="98" y="335"/>
                      <a:pt x="97" y="331"/>
                      <a:pt x="97" y="326"/>
                    </a:cubicBezTo>
                    <a:cubicBezTo>
                      <a:pt x="98" y="319"/>
                      <a:pt x="98" y="319"/>
                      <a:pt x="98" y="319"/>
                    </a:cubicBezTo>
                    <a:cubicBezTo>
                      <a:pt x="98" y="318"/>
                      <a:pt x="99" y="317"/>
                      <a:pt x="99" y="316"/>
                    </a:cubicBezTo>
                    <a:cubicBezTo>
                      <a:pt x="99" y="315"/>
                      <a:pt x="99" y="313"/>
                      <a:pt x="99" y="312"/>
                    </a:cubicBezTo>
                    <a:cubicBezTo>
                      <a:pt x="101" y="305"/>
                      <a:pt x="104" y="298"/>
                      <a:pt x="107" y="291"/>
                    </a:cubicBezTo>
                    <a:cubicBezTo>
                      <a:pt x="110" y="284"/>
                      <a:pt x="113" y="277"/>
                      <a:pt x="116" y="270"/>
                    </a:cubicBezTo>
                    <a:cubicBezTo>
                      <a:pt x="119" y="263"/>
                      <a:pt x="123" y="256"/>
                      <a:pt x="126" y="249"/>
                    </a:cubicBezTo>
                    <a:cubicBezTo>
                      <a:pt x="130" y="242"/>
                      <a:pt x="134" y="236"/>
                      <a:pt x="137" y="229"/>
                    </a:cubicBezTo>
                    <a:cubicBezTo>
                      <a:pt x="142" y="219"/>
                      <a:pt x="147" y="209"/>
                      <a:pt x="151" y="198"/>
                    </a:cubicBezTo>
                    <a:cubicBezTo>
                      <a:pt x="155" y="188"/>
                      <a:pt x="159" y="178"/>
                      <a:pt x="161" y="167"/>
                    </a:cubicBezTo>
                    <a:cubicBezTo>
                      <a:pt x="156" y="174"/>
                      <a:pt x="150" y="181"/>
                      <a:pt x="143" y="187"/>
                    </a:cubicBezTo>
                    <a:cubicBezTo>
                      <a:pt x="136" y="192"/>
                      <a:pt x="129" y="197"/>
                      <a:pt x="121" y="201"/>
                    </a:cubicBezTo>
                    <a:cubicBezTo>
                      <a:pt x="113" y="205"/>
                      <a:pt x="104" y="208"/>
                      <a:pt x="96" y="210"/>
                    </a:cubicBezTo>
                    <a:cubicBezTo>
                      <a:pt x="87" y="213"/>
                      <a:pt x="78" y="214"/>
                      <a:pt x="70" y="214"/>
                    </a:cubicBezTo>
                    <a:cubicBezTo>
                      <a:pt x="59" y="214"/>
                      <a:pt x="48" y="212"/>
                      <a:pt x="38" y="208"/>
                    </a:cubicBezTo>
                    <a:cubicBezTo>
                      <a:pt x="28" y="203"/>
                      <a:pt x="20" y="197"/>
                      <a:pt x="14" y="188"/>
                    </a:cubicBezTo>
                    <a:cubicBezTo>
                      <a:pt x="8" y="180"/>
                      <a:pt x="4" y="171"/>
                      <a:pt x="3" y="161"/>
                    </a:cubicBezTo>
                    <a:cubicBezTo>
                      <a:pt x="1" y="150"/>
                      <a:pt x="0" y="140"/>
                      <a:pt x="1" y="130"/>
                    </a:cubicBezTo>
                    <a:cubicBezTo>
                      <a:pt x="2" y="118"/>
                      <a:pt x="5" y="107"/>
                      <a:pt x="9" y="95"/>
                    </a:cubicBezTo>
                    <a:cubicBezTo>
                      <a:pt x="13" y="84"/>
                      <a:pt x="18" y="73"/>
                      <a:pt x="25" y="62"/>
                    </a:cubicBezTo>
                    <a:cubicBezTo>
                      <a:pt x="31" y="52"/>
                      <a:pt x="39" y="43"/>
                      <a:pt x="48" y="34"/>
                    </a:cubicBezTo>
                    <a:cubicBezTo>
                      <a:pt x="56" y="26"/>
                      <a:pt x="66" y="19"/>
                      <a:pt x="77" y="13"/>
                    </a:cubicBezTo>
                    <a:cubicBezTo>
                      <a:pt x="84" y="8"/>
                      <a:pt x="92" y="5"/>
                      <a:pt x="100" y="3"/>
                    </a:cubicBezTo>
                    <a:cubicBezTo>
                      <a:pt x="108" y="1"/>
                      <a:pt x="116" y="0"/>
                      <a:pt x="125" y="0"/>
                    </a:cubicBezTo>
                    <a:cubicBezTo>
                      <a:pt x="132" y="0"/>
                      <a:pt x="139" y="1"/>
                      <a:pt x="146" y="3"/>
                    </a:cubicBezTo>
                    <a:cubicBezTo>
                      <a:pt x="153" y="5"/>
                      <a:pt x="159" y="7"/>
                      <a:pt x="165" y="11"/>
                    </a:cubicBezTo>
                    <a:cubicBezTo>
                      <a:pt x="171" y="14"/>
                      <a:pt x="176" y="19"/>
                      <a:pt x="181" y="24"/>
                    </a:cubicBezTo>
                    <a:cubicBezTo>
                      <a:pt x="186" y="28"/>
                      <a:pt x="191" y="34"/>
                      <a:pt x="194" y="40"/>
                    </a:cubicBezTo>
                    <a:cubicBezTo>
                      <a:pt x="202" y="51"/>
                      <a:pt x="208" y="63"/>
                      <a:pt x="211" y="77"/>
                    </a:cubicBezTo>
                    <a:cubicBezTo>
                      <a:pt x="215" y="91"/>
                      <a:pt x="216" y="105"/>
                      <a:pt x="215" y="119"/>
                    </a:cubicBezTo>
                    <a:close/>
                    <a:moveTo>
                      <a:pt x="160" y="82"/>
                    </a:moveTo>
                    <a:cubicBezTo>
                      <a:pt x="161" y="78"/>
                      <a:pt x="160" y="74"/>
                      <a:pt x="158" y="70"/>
                    </a:cubicBezTo>
                    <a:cubicBezTo>
                      <a:pt x="156" y="67"/>
                      <a:pt x="153" y="65"/>
                      <a:pt x="150" y="63"/>
                    </a:cubicBezTo>
                    <a:cubicBezTo>
                      <a:pt x="147" y="61"/>
                      <a:pt x="143" y="59"/>
                      <a:pt x="139" y="59"/>
                    </a:cubicBezTo>
                    <a:cubicBezTo>
                      <a:pt x="134" y="58"/>
                      <a:pt x="130" y="57"/>
                      <a:pt x="126" y="58"/>
                    </a:cubicBezTo>
                    <a:cubicBezTo>
                      <a:pt x="116" y="57"/>
                      <a:pt x="107" y="58"/>
                      <a:pt x="98" y="62"/>
                    </a:cubicBezTo>
                    <a:cubicBezTo>
                      <a:pt x="89" y="66"/>
                      <a:pt x="81" y="71"/>
                      <a:pt x="74" y="78"/>
                    </a:cubicBezTo>
                    <a:cubicBezTo>
                      <a:pt x="67" y="85"/>
                      <a:pt x="61" y="93"/>
                      <a:pt x="57" y="102"/>
                    </a:cubicBezTo>
                    <a:cubicBezTo>
                      <a:pt x="53" y="112"/>
                      <a:pt x="51" y="121"/>
                      <a:pt x="50" y="131"/>
                    </a:cubicBezTo>
                    <a:cubicBezTo>
                      <a:pt x="50" y="135"/>
                      <a:pt x="49" y="139"/>
                      <a:pt x="50" y="144"/>
                    </a:cubicBezTo>
                    <a:cubicBezTo>
                      <a:pt x="50" y="148"/>
                      <a:pt x="51" y="152"/>
                      <a:pt x="53" y="156"/>
                    </a:cubicBezTo>
                    <a:cubicBezTo>
                      <a:pt x="55" y="160"/>
                      <a:pt x="57" y="163"/>
                      <a:pt x="60" y="165"/>
                    </a:cubicBezTo>
                    <a:cubicBezTo>
                      <a:pt x="63" y="167"/>
                      <a:pt x="67" y="168"/>
                      <a:pt x="73" y="168"/>
                    </a:cubicBezTo>
                    <a:cubicBezTo>
                      <a:pt x="80" y="168"/>
                      <a:pt x="88" y="166"/>
                      <a:pt x="95" y="163"/>
                    </a:cubicBezTo>
                    <a:cubicBezTo>
                      <a:pt x="103" y="159"/>
                      <a:pt x="109" y="155"/>
                      <a:pt x="116" y="150"/>
                    </a:cubicBezTo>
                    <a:cubicBezTo>
                      <a:pt x="122" y="146"/>
                      <a:pt x="128" y="141"/>
                      <a:pt x="134" y="135"/>
                    </a:cubicBezTo>
                    <a:cubicBezTo>
                      <a:pt x="139" y="130"/>
                      <a:pt x="144" y="124"/>
                      <a:pt x="148" y="117"/>
                    </a:cubicBezTo>
                    <a:cubicBezTo>
                      <a:pt x="150" y="112"/>
                      <a:pt x="153" y="106"/>
                      <a:pt x="155" y="100"/>
                    </a:cubicBezTo>
                    <a:cubicBezTo>
                      <a:pt x="158" y="95"/>
                      <a:pt x="159" y="89"/>
                      <a:pt x="160" y="8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29" name="ïšliḓé">
                <a:extLst>
                  <a:ext uri="{FF2B5EF4-FFF2-40B4-BE49-F238E27FC236}">
                    <a16:creationId xmlns:a16="http://schemas.microsoft.com/office/drawing/2014/main" id="{89B67D0C-D073-406F-BD5E-9E6D4EA3DE3F}"/>
                  </a:ext>
                </a:extLst>
              </p:cNvPr>
              <p:cNvSpPr/>
              <p:nvPr/>
            </p:nvSpPr>
            <p:spPr>
              <a:xfrm flipH="1">
                <a:off x="10715563" y="1288366"/>
                <a:ext cx="319377" cy="424356"/>
              </a:xfrm>
              <a:custGeom>
                <a:avLst/>
                <a:gdLst/>
                <a:ahLst/>
                <a:cxnLst/>
                <a:rect l="l" t="t" r="r" b="b"/>
                <a:pathLst>
                  <a:path w="243" h="323" extrusionOk="0">
                    <a:moveTo>
                      <a:pt x="215" y="114"/>
                    </a:moveTo>
                    <a:cubicBezTo>
                      <a:pt x="223" y="130"/>
                      <a:pt x="229" y="147"/>
                      <a:pt x="234" y="164"/>
                    </a:cubicBezTo>
                    <a:cubicBezTo>
                      <a:pt x="239" y="181"/>
                      <a:pt x="242" y="199"/>
                      <a:pt x="243" y="217"/>
                    </a:cubicBezTo>
                    <a:cubicBezTo>
                      <a:pt x="243" y="226"/>
                      <a:pt x="242" y="235"/>
                      <a:pt x="241" y="245"/>
                    </a:cubicBezTo>
                    <a:cubicBezTo>
                      <a:pt x="239" y="254"/>
                      <a:pt x="236" y="263"/>
                      <a:pt x="233" y="271"/>
                    </a:cubicBezTo>
                    <a:cubicBezTo>
                      <a:pt x="229" y="280"/>
                      <a:pt x="225" y="288"/>
                      <a:pt x="219" y="295"/>
                    </a:cubicBezTo>
                    <a:cubicBezTo>
                      <a:pt x="214" y="302"/>
                      <a:pt x="207" y="308"/>
                      <a:pt x="199" y="312"/>
                    </a:cubicBezTo>
                    <a:cubicBezTo>
                      <a:pt x="191" y="318"/>
                      <a:pt x="183" y="321"/>
                      <a:pt x="174" y="322"/>
                    </a:cubicBezTo>
                    <a:cubicBezTo>
                      <a:pt x="166" y="323"/>
                      <a:pt x="157" y="323"/>
                      <a:pt x="149" y="321"/>
                    </a:cubicBezTo>
                    <a:cubicBezTo>
                      <a:pt x="141" y="320"/>
                      <a:pt x="132" y="317"/>
                      <a:pt x="124" y="313"/>
                    </a:cubicBezTo>
                    <a:cubicBezTo>
                      <a:pt x="116" y="309"/>
                      <a:pt x="109" y="305"/>
                      <a:pt x="102" y="301"/>
                    </a:cubicBezTo>
                    <a:cubicBezTo>
                      <a:pt x="88" y="291"/>
                      <a:pt x="75" y="280"/>
                      <a:pt x="63" y="267"/>
                    </a:cubicBezTo>
                    <a:cubicBezTo>
                      <a:pt x="52" y="254"/>
                      <a:pt x="42" y="239"/>
                      <a:pt x="33" y="224"/>
                    </a:cubicBezTo>
                    <a:cubicBezTo>
                      <a:pt x="16" y="191"/>
                      <a:pt x="5" y="156"/>
                      <a:pt x="1" y="118"/>
                    </a:cubicBezTo>
                    <a:cubicBezTo>
                      <a:pt x="0" y="109"/>
                      <a:pt x="0" y="100"/>
                      <a:pt x="0" y="90"/>
                    </a:cubicBezTo>
                    <a:cubicBezTo>
                      <a:pt x="0" y="81"/>
                      <a:pt x="1" y="71"/>
                      <a:pt x="3" y="62"/>
                    </a:cubicBezTo>
                    <a:cubicBezTo>
                      <a:pt x="5" y="53"/>
                      <a:pt x="8" y="44"/>
                      <a:pt x="13" y="36"/>
                    </a:cubicBezTo>
                    <a:cubicBezTo>
                      <a:pt x="17" y="28"/>
                      <a:pt x="24" y="22"/>
                      <a:pt x="31" y="16"/>
                    </a:cubicBezTo>
                    <a:cubicBezTo>
                      <a:pt x="44" y="8"/>
                      <a:pt x="57" y="3"/>
                      <a:pt x="69" y="2"/>
                    </a:cubicBezTo>
                    <a:cubicBezTo>
                      <a:pt x="82" y="0"/>
                      <a:pt x="94" y="1"/>
                      <a:pt x="106" y="5"/>
                    </a:cubicBezTo>
                    <a:cubicBezTo>
                      <a:pt x="118" y="8"/>
                      <a:pt x="129" y="14"/>
                      <a:pt x="140" y="22"/>
                    </a:cubicBezTo>
                    <a:cubicBezTo>
                      <a:pt x="151" y="29"/>
                      <a:pt x="161" y="38"/>
                      <a:pt x="170" y="48"/>
                    </a:cubicBezTo>
                    <a:cubicBezTo>
                      <a:pt x="179" y="58"/>
                      <a:pt x="188" y="69"/>
                      <a:pt x="195" y="80"/>
                    </a:cubicBezTo>
                    <a:cubicBezTo>
                      <a:pt x="203" y="92"/>
                      <a:pt x="209" y="103"/>
                      <a:pt x="215" y="114"/>
                    </a:cubicBezTo>
                    <a:close/>
                    <a:moveTo>
                      <a:pt x="169" y="135"/>
                    </a:moveTo>
                    <a:cubicBezTo>
                      <a:pt x="163" y="124"/>
                      <a:pt x="156" y="113"/>
                      <a:pt x="150" y="102"/>
                    </a:cubicBezTo>
                    <a:cubicBezTo>
                      <a:pt x="143" y="92"/>
                      <a:pt x="135" y="82"/>
                      <a:pt x="127" y="73"/>
                    </a:cubicBezTo>
                    <a:cubicBezTo>
                      <a:pt x="122" y="69"/>
                      <a:pt x="117" y="64"/>
                      <a:pt x="112" y="61"/>
                    </a:cubicBezTo>
                    <a:cubicBezTo>
                      <a:pt x="107" y="57"/>
                      <a:pt x="101" y="55"/>
                      <a:pt x="96" y="53"/>
                    </a:cubicBezTo>
                    <a:cubicBezTo>
                      <a:pt x="90" y="51"/>
                      <a:pt x="85" y="50"/>
                      <a:pt x="79" y="51"/>
                    </a:cubicBezTo>
                    <a:cubicBezTo>
                      <a:pt x="74" y="51"/>
                      <a:pt x="69" y="53"/>
                      <a:pt x="64" y="57"/>
                    </a:cubicBezTo>
                    <a:cubicBezTo>
                      <a:pt x="58" y="61"/>
                      <a:pt x="54" y="66"/>
                      <a:pt x="52" y="72"/>
                    </a:cubicBezTo>
                    <a:cubicBezTo>
                      <a:pt x="50" y="78"/>
                      <a:pt x="49" y="84"/>
                      <a:pt x="49" y="91"/>
                    </a:cubicBezTo>
                    <a:cubicBezTo>
                      <a:pt x="49" y="98"/>
                      <a:pt x="49" y="104"/>
                      <a:pt x="50" y="111"/>
                    </a:cubicBezTo>
                    <a:cubicBezTo>
                      <a:pt x="52" y="118"/>
                      <a:pt x="53" y="124"/>
                      <a:pt x="54" y="130"/>
                    </a:cubicBezTo>
                    <a:cubicBezTo>
                      <a:pt x="57" y="144"/>
                      <a:pt x="61" y="157"/>
                      <a:pt x="66" y="169"/>
                    </a:cubicBezTo>
                    <a:cubicBezTo>
                      <a:pt x="70" y="182"/>
                      <a:pt x="76" y="195"/>
                      <a:pt x="82" y="207"/>
                    </a:cubicBezTo>
                    <a:cubicBezTo>
                      <a:pt x="85" y="212"/>
                      <a:pt x="88" y="217"/>
                      <a:pt x="92" y="223"/>
                    </a:cubicBezTo>
                    <a:cubicBezTo>
                      <a:pt x="95" y="228"/>
                      <a:pt x="99" y="234"/>
                      <a:pt x="103" y="239"/>
                    </a:cubicBezTo>
                    <a:cubicBezTo>
                      <a:pt x="107" y="245"/>
                      <a:pt x="111" y="250"/>
                      <a:pt x="116" y="254"/>
                    </a:cubicBezTo>
                    <a:cubicBezTo>
                      <a:pt x="121" y="259"/>
                      <a:pt x="126" y="262"/>
                      <a:pt x="131" y="265"/>
                    </a:cubicBezTo>
                    <a:cubicBezTo>
                      <a:pt x="136" y="268"/>
                      <a:pt x="142" y="269"/>
                      <a:pt x="148" y="269"/>
                    </a:cubicBezTo>
                    <a:cubicBezTo>
                      <a:pt x="154" y="269"/>
                      <a:pt x="160" y="268"/>
                      <a:pt x="167" y="264"/>
                    </a:cubicBezTo>
                    <a:cubicBezTo>
                      <a:pt x="172" y="261"/>
                      <a:pt x="176" y="258"/>
                      <a:pt x="180" y="253"/>
                    </a:cubicBezTo>
                    <a:cubicBezTo>
                      <a:pt x="183" y="248"/>
                      <a:pt x="186" y="243"/>
                      <a:pt x="188" y="237"/>
                    </a:cubicBezTo>
                    <a:cubicBezTo>
                      <a:pt x="189" y="232"/>
                      <a:pt x="191" y="226"/>
                      <a:pt x="191" y="220"/>
                    </a:cubicBezTo>
                    <a:cubicBezTo>
                      <a:pt x="191" y="214"/>
                      <a:pt x="191" y="208"/>
                      <a:pt x="190" y="202"/>
                    </a:cubicBezTo>
                    <a:cubicBezTo>
                      <a:pt x="189" y="190"/>
                      <a:pt x="186" y="179"/>
                      <a:pt x="182" y="167"/>
                    </a:cubicBezTo>
                    <a:cubicBezTo>
                      <a:pt x="179" y="156"/>
                      <a:pt x="174" y="145"/>
                      <a:pt x="169" y="13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0" name="îśliďè">
                <a:extLst>
                  <a:ext uri="{FF2B5EF4-FFF2-40B4-BE49-F238E27FC236}">
                    <a16:creationId xmlns:a16="http://schemas.microsoft.com/office/drawing/2014/main" id="{20D5914C-1CBC-4730-AAF6-2A971B40CC14}"/>
                  </a:ext>
                </a:extLst>
              </p:cNvPr>
              <p:cNvSpPr/>
              <p:nvPr/>
            </p:nvSpPr>
            <p:spPr>
              <a:xfrm flipH="1">
                <a:off x="10076254" y="1799370"/>
                <a:ext cx="288827" cy="307158"/>
              </a:xfrm>
              <a:custGeom>
                <a:avLst/>
                <a:gdLst/>
                <a:ahLst/>
                <a:cxnLst/>
                <a:rect l="l" t="t" r="r" b="b"/>
                <a:pathLst>
                  <a:path w="220" h="234" extrusionOk="0">
                    <a:moveTo>
                      <a:pt x="150" y="19"/>
                    </a:moveTo>
                    <a:cubicBezTo>
                      <a:pt x="157" y="24"/>
                      <a:pt x="164" y="30"/>
                      <a:pt x="171" y="37"/>
                    </a:cubicBezTo>
                    <a:cubicBezTo>
                      <a:pt x="178" y="44"/>
                      <a:pt x="184" y="51"/>
                      <a:pt x="189" y="59"/>
                    </a:cubicBezTo>
                    <a:cubicBezTo>
                      <a:pt x="194" y="67"/>
                      <a:pt x="199" y="76"/>
                      <a:pt x="203" y="85"/>
                    </a:cubicBezTo>
                    <a:cubicBezTo>
                      <a:pt x="207" y="94"/>
                      <a:pt x="210" y="103"/>
                      <a:pt x="212" y="112"/>
                    </a:cubicBezTo>
                    <a:cubicBezTo>
                      <a:pt x="215" y="121"/>
                      <a:pt x="217" y="130"/>
                      <a:pt x="219" y="140"/>
                    </a:cubicBezTo>
                    <a:cubicBezTo>
                      <a:pt x="220" y="150"/>
                      <a:pt x="220" y="159"/>
                      <a:pt x="220" y="169"/>
                    </a:cubicBezTo>
                    <a:cubicBezTo>
                      <a:pt x="219" y="178"/>
                      <a:pt x="217" y="187"/>
                      <a:pt x="214" y="196"/>
                    </a:cubicBezTo>
                    <a:cubicBezTo>
                      <a:pt x="211" y="205"/>
                      <a:pt x="207" y="213"/>
                      <a:pt x="201" y="220"/>
                    </a:cubicBezTo>
                    <a:cubicBezTo>
                      <a:pt x="198" y="224"/>
                      <a:pt x="195" y="227"/>
                      <a:pt x="191" y="229"/>
                    </a:cubicBezTo>
                    <a:cubicBezTo>
                      <a:pt x="188" y="232"/>
                      <a:pt x="184" y="233"/>
                      <a:pt x="179" y="234"/>
                    </a:cubicBezTo>
                    <a:cubicBezTo>
                      <a:pt x="175" y="234"/>
                      <a:pt x="171" y="234"/>
                      <a:pt x="166" y="233"/>
                    </a:cubicBezTo>
                    <a:cubicBezTo>
                      <a:pt x="162" y="232"/>
                      <a:pt x="158" y="231"/>
                      <a:pt x="154" y="228"/>
                    </a:cubicBezTo>
                    <a:cubicBezTo>
                      <a:pt x="151" y="226"/>
                      <a:pt x="149" y="225"/>
                      <a:pt x="147" y="223"/>
                    </a:cubicBezTo>
                    <a:cubicBezTo>
                      <a:pt x="144" y="221"/>
                      <a:pt x="142" y="220"/>
                      <a:pt x="140" y="218"/>
                    </a:cubicBezTo>
                    <a:cubicBezTo>
                      <a:pt x="138" y="216"/>
                      <a:pt x="135" y="214"/>
                      <a:pt x="133" y="212"/>
                    </a:cubicBezTo>
                    <a:cubicBezTo>
                      <a:pt x="130" y="210"/>
                      <a:pt x="128" y="208"/>
                      <a:pt x="126" y="207"/>
                    </a:cubicBezTo>
                    <a:cubicBezTo>
                      <a:pt x="123" y="204"/>
                      <a:pt x="120" y="202"/>
                      <a:pt x="118" y="201"/>
                    </a:cubicBezTo>
                    <a:cubicBezTo>
                      <a:pt x="115" y="199"/>
                      <a:pt x="112" y="197"/>
                      <a:pt x="109" y="195"/>
                    </a:cubicBezTo>
                    <a:cubicBezTo>
                      <a:pt x="105" y="192"/>
                      <a:pt x="101" y="189"/>
                      <a:pt x="97" y="186"/>
                    </a:cubicBezTo>
                    <a:cubicBezTo>
                      <a:pt x="93" y="183"/>
                      <a:pt x="89" y="181"/>
                      <a:pt x="85" y="178"/>
                    </a:cubicBezTo>
                    <a:cubicBezTo>
                      <a:pt x="81" y="175"/>
                      <a:pt x="77" y="172"/>
                      <a:pt x="74" y="169"/>
                    </a:cubicBezTo>
                    <a:cubicBezTo>
                      <a:pt x="70" y="166"/>
                      <a:pt x="66" y="164"/>
                      <a:pt x="62" y="161"/>
                    </a:cubicBezTo>
                    <a:cubicBezTo>
                      <a:pt x="57" y="156"/>
                      <a:pt x="51" y="152"/>
                      <a:pt x="46" y="147"/>
                    </a:cubicBezTo>
                    <a:cubicBezTo>
                      <a:pt x="40" y="143"/>
                      <a:pt x="35" y="138"/>
                      <a:pt x="29" y="134"/>
                    </a:cubicBezTo>
                    <a:cubicBezTo>
                      <a:pt x="24" y="129"/>
                      <a:pt x="19" y="124"/>
                      <a:pt x="14" y="119"/>
                    </a:cubicBezTo>
                    <a:cubicBezTo>
                      <a:pt x="9" y="114"/>
                      <a:pt x="4" y="109"/>
                      <a:pt x="0" y="103"/>
                    </a:cubicBezTo>
                    <a:cubicBezTo>
                      <a:pt x="1" y="98"/>
                      <a:pt x="3" y="93"/>
                      <a:pt x="5" y="88"/>
                    </a:cubicBezTo>
                    <a:cubicBezTo>
                      <a:pt x="6" y="84"/>
                      <a:pt x="8" y="79"/>
                      <a:pt x="10" y="74"/>
                    </a:cubicBezTo>
                    <a:cubicBezTo>
                      <a:pt x="12" y="68"/>
                      <a:pt x="15" y="63"/>
                      <a:pt x="17" y="58"/>
                    </a:cubicBezTo>
                    <a:cubicBezTo>
                      <a:pt x="19" y="53"/>
                      <a:pt x="22" y="48"/>
                      <a:pt x="24" y="43"/>
                    </a:cubicBezTo>
                    <a:cubicBezTo>
                      <a:pt x="28" y="35"/>
                      <a:pt x="33" y="28"/>
                      <a:pt x="39" y="22"/>
                    </a:cubicBezTo>
                    <a:cubicBezTo>
                      <a:pt x="45" y="17"/>
                      <a:pt x="51" y="12"/>
                      <a:pt x="58" y="9"/>
                    </a:cubicBezTo>
                    <a:cubicBezTo>
                      <a:pt x="65" y="5"/>
                      <a:pt x="73" y="3"/>
                      <a:pt x="81" y="2"/>
                    </a:cubicBezTo>
                    <a:cubicBezTo>
                      <a:pt x="89" y="0"/>
                      <a:pt x="97" y="0"/>
                      <a:pt x="105" y="1"/>
                    </a:cubicBezTo>
                    <a:cubicBezTo>
                      <a:pt x="112" y="2"/>
                      <a:pt x="120" y="3"/>
                      <a:pt x="128" y="6"/>
                    </a:cubicBezTo>
                    <a:cubicBezTo>
                      <a:pt x="136" y="9"/>
                      <a:pt x="143" y="13"/>
                      <a:pt x="150" y="19"/>
                    </a:cubicBezTo>
                    <a:close/>
                    <a:moveTo>
                      <a:pt x="122" y="46"/>
                    </a:moveTo>
                    <a:cubicBezTo>
                      <a:pt x="117" y="42"/>
                      <a:pt x="112" y="39"/>
                      <a:pt x="107" y="37"/>
                    </a:cubicBezTo>
                    <a:cubicBezTo>
                      <a:pt x="101" y="34"/>
                      <a:pt x="96" y="32"/>
                      <a:pt x="90" y="33"/>
                    </a:cubicBezTo>
                    <a:cubicBezTo>
                      <a:pt x="87" y="33"/>
                      <a:pt x="84" y="34"/>
                      <a:pt x="82" y="35"/>
                    </a:cubicBezTo>
                    <a:cubicBezTo>
                      <a:pt x="79" y="37"/>
                      <a:pt x="77" y="38"/>
                      <a:pt x="75" y="40"/>
                    </a:cubicBezTo>
                    <a:cubicBezTo>
                      <a:pt x="73" y="42"/>
                      <a:pt x="71" y="44"/>
                      <a:pt x="69" y="47"/>
                    </a:cubicBezTo>
                    <a:cubicBezTo>
                      <a:pt x="67" y="49"/>
                      <a:pt x="65" y="52"/>
                      <a:pt x="64" y="54"/>
                    </a:cubicBezTo>
                    <a:cubicBezTo>
                      <a:pt x="62" y="57"/>
                      <a:pt x="61" y="59"/>
                      <a:pt x="59" y="62"/>
                    </a:cubicBezTo>
                    <a:cubicBezTo>
                      <a:pt x="58" y="65"/>
                      <a:pt x="56" y="67"/>
                      <a:pt x="55" y="70"/>
                    </a:cubicBezTo>
                    <a:cubicBezTo>
                      <a:pt x="54" y="73"/>
                      <a:pt x="52" y="75"/>
                      <a:pt x="51" y="78"/>
                    </a:cubicBezTo>
                    <a:cubicBezTo>
                      <a:pt x="50" y="81"/>
                      <a:pt x="48" y="83"/>
                      <a:pt x="47" y="86"/>
                    </a:cubicBezTo>
                    <a:cubicBezTo>
                      <a:pt x="49" y="93"/>
                      <a:pt x="52" y="99"/>
                      <a:pt x="57" y="105"/>
                    </a:cubicBezTo>
                    <a:cubicBezTo>
                      <a:pt x="61" y="111"/>
                      <a:pt x="66" y="116"/>
                      <a:pt x="72" y="121"/>
                    </a:cubicBezTo>
                    <a:cubicBezTo>
                      <a:pt x="78" y="125"/>
                      <a:pt x="84" y="130"/>
                      <a:pt x="90" y="134"/>
                    </a:cubicBezTo>
                    <a:cubicBezTo>
                      <a:pt x="96" y="139"/>
                      <a:pt x="102" y="143"/>
                      <a:pt x="107" y="148"/>
                    </a:cubicBezTo>
                    <a:cubicBezTo>
                      <a:pt x="117" y="154"/>
                      <a:pt x="126" y="161"/>
                      <a:pt x="136" y="167"/>
                    </a:cubicBezTo>
                    <a:cubicBezTo>
                      <a:pt x="146" y="174"/>
                      <a:pt x="156" y="179"/>
                      <a:pt x="167" y="183"/>
                    </a:cubicBezTo>
                    <a:cubicBezTo>
                      <a:pt x="170" y="177"/>
                      <a:pt x="172" y="171"/>
                      <a:pt x="173" y="165"/>
                    </a:cubicBezTo>
                    <a:cubicBezTo>
                      <a:pt x="174" y="159"/>
                      <a:pt x="174" y="153"/>
                      <a:pt x="173" y="147"/>
                    </a:cubicBezTo>
                    <a:cubicBezTo>
                      <a:pt x="172" y="140"/>
                      <a:pt x="171" y="134"/>
                      <a:pt x="169" y="128"/>
                    </a:cubicBezTo>
                    <a:cubicBezTo>
                      <a:pt x="168" y="121"/>
                      <a:pt x="166" y="115"/>
                      <a:pt x="164" y="109"/>
                    </a:cubicBezTo>
                    <a:cubicBezTo>
                      <a:pt x="162" y="103"/>
                      <a:pt x="159" y="97"/>
                      <a:pt x="156" y="91"/>
                    </a:cubicBezTo>
                    <a:cubicBezTo>
                      <a:pt x="154" y="85"/>
                      <a:pt x="151" y="80"/>
                      <a:pt x="147" y="74"/>
                    </a:cubicBezTo>
                    <a:cubicBezTo>
                      <a:pt x="144" y="69"/>
                      <a:pt x="140" y="63"/>
                      <a:pt x="136" y="59"/>
                    </a:cubicBezTo>
                    <a:cubicBezTo>
                      <a:pt x="132" y="54"/>
                      <a:pt x="127" y="49"/>
                      <a:pt x="122" y="4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1" name="iṣlíḓè">
                <a:extLst>
                  <a:ext uri="{FF2B5EF4-FFF2-40B4-BE49-F238E27FC236}">
                    <a16:creationId xmlns:a16="http://schemas.microsoft.com/office/drawing/2014/main" id="{68269531-D095-452F-9342-66F414E93066}"/>
                  </a:ext>
                </a:extLst>
              </p:cNvPr>
              <p:cNvSpPr/>
              <p:nvPr/>
            </p:nvSpPr>
            <p:spPr>
              <a:xfrm flipH="1">
                <a:off x="10144573" y="2223171"/>
                <a:ext cx="128306" cy="178852"/>
              </a:xfrm>
              <a:custGeom>
                <a:avLst/>
                <a:gdLst/>
                <a:ahLst/>
                <a:cxnLst/>
                <a:rect l="l" t="t" r="r" b="b"/>
                <a:pathLst>
                  <a:path w="98" h="136" extrusionOk="0">
                    <a:moveTo>
                      <a:pt x="97" y="19"/>
                    </a:moveTo>
                    <a:cubicBezTo>
                      <a:pt x="97" y="20"/>
                      <a:pt x="97" y="21"/>
                      <a:pt x="96" y="21"/>
                    </a:cubicBezTo>
                    <a:cubicBezTo>
                      <a:pt x="95" y="21"/>
                      <a:pt x="94" y="21"/>
                      <a:pt x="93" y="21"/>
                    </a:cubicBezTo>
                    <a:cubicBezTo>
                      <a:pt x="91" y="21"/>
                      <a:pt x="89" y="21"/>
                      <a:pt x="88" y="21"/>
                    </a:cubicBezTo>
                    <a:cubicBezTo>
                      <a:pt x="86" y="21"/>
                      <a:pt x="85" y="21"/>
                      <a:pt x="83" y="22"/>
                    </a:cubicBezTo>
                    <a:cubicBezTo>
                      <a:pt x="82" y="22"/>
                      <a:pt x="80" y="22"/>
                      <a:pt x="79" y="23"/>
                    </a:cubicBezTo>
                    <a:cubicBezTo>
                      <a:pt x="78" y="24"/>
                      <a:pt x="78" y="26"/>
                      <a:pt x="78" y="27"/>
                    </a:cubicBezTo>
                    <a:cubicBezTo>
                      <a:pt x="78" y="28"/>
                      <a:pt x="78" y="29"/>
                      <a:pt x="78" y="30"/>
                    </a:cubicBezTo>
                    <a:cubicBezTo>
                      <a:pt x="78" y="30"/>
                      <a:pt x="78" y="31"/>
                      <a:pt x="78" y="32"/>
                    </a:cubicBezTo>
                    <a:cubicBezTo>
                      <a:pt x="79" y="40"/>
                      <a:pt x="79" y="48"/>
                      <a:pt x="79" y="56"/>
                    </a:cubicBezTo>
                    <a:cubicBezTo>
                      <a:pt x="79" y="65"/>
                      <a:pt x="79" y="73"/>
                      <a:pt x="78" y="81"/>
                    </a:cubicBezTo>
                    <a:cubicBezTo>
                      <a:pt x="78" y="85"/>
                      <a:pt x="77" y="89"/>
                      <a:pt x="76" y="93"/>
                    </a:cubicBezTo>
                    <a:cubicBezTo>
                      <a:pt x="76" y="97"/>
                      <a:pt x="75" y="101"/>
                      <a:pt x="74" y="105"/>
                    </a:cubicBezTo>
                    <a:cubicBezTo>
                      <a:pt x="73" y="109"/>
                      <a:pt x="72" y="113"/>
                      <a:pt x="70" y="116"/>
                    </a:cubicBezTo>
                    <a:cubicBezTo>
                      <a:pt x="69" y="120"/>
                      <a:pt x="67" y="124"/>
                      <a:pt x="64" y="127"/>
                    </a:cubicBezTo>
                    <a:cubicBezTo>
                      <a:pt x="62" y="130"/>
                      <a:pt x="59" y="132"/>
                      <a:pt x="56" y="134"/>
                    </a:cubicBezTo>
                    <a:cubicBezTo>
                      <a:pt x="52" y="135"/>
                      <a:pt x="49" y="136"/>
                      <a:pt x="45" y="136"/>
                    </a:cubicBezTo>
                    <a:cubicBezTo>
                      <a:pt x="41" y="136"/>
                      <a:pt x="38" y="135"/>
                      <a:pt x="35" y="134"/>
                    </a:cubicBezTo>
                    <a:cubicBezTo>
                      <a:pt x="32" y="132"/>
                      <a:pt x="29" y="130"/>
                      <a:pt x="27" y="128"/>
                    </a:cubicBezTo>
                    <a:cubicBezTo>
                      <a:pt x="24" y="126"/>
                      <a:pt x="22" y="123"/>
                      <a:pt x="20" y="120"/>
                    </a:cubicBezTo>
                    <a:cubicBezTo>
                      <a:pt x="18" y="118"/>
                      <a:pt x="16" y="115"/>
                      <a:pt x="15" y="112"/>
                    </a:cubicBezTo>
                    <a:cubicBezTo>
                      <a:pt x="12" y="106"/>
                      <a:pt x="9" y="100"/>
                      <a:pt x="6" y="93"/>
                    </a:cubicBezTo>
                    <a:cubicBezTo>
                      <a:pt x="4" y="87"/>
                      <a:pt x="2" y="80"/>
                      <a:pt x="1" y="74"/>
                    </a:cubicBezTo>
                    <a:cubicBezTo>
                      <a:pt x="0" y="73"/>
                      <a:pt x="0" y="72"/>
                      <a:pt x="0" y="71"/>
                    </a:cubicBezTo>
                    <a:cubicBezTo>
                      <a:pt x="0" y="70"/>
                      <a:pt x="0" y="69"/>
                      <a:pt x="0" y="69"/>
                    </a:cubicBezTo>
                    <a:cubicBezTo>
                      <a:pt x="0" y="68"/>
                      <a:pt x="0" y="67"/>
                      <a:pt x="1" y="66"/>
                    </a:cubicBezTo>
                    <a:cubicBezTo>
                      <a:pt x="1" y="65"/>
                      <a:pt x="2" y="65"/>
                      <a:pt x="3" y="64"/>
                    </a:cubicBezTo>
                    <a:cubicBezTo>
                      <a:pt x="3" y="64"/>
                      <a:pt x="4" y="63"/>
                      <a:pt x="5" y="63"/>
                    </a:cubicBezTo>
                    <a:cubicBezTo>
                      <a:pt x="6" y="63"/>
                      <a:pt x="7" y="63"/>
                      <a:pt x="8" y="63"/>
                    </a:cubicBezTo>
                    <a:cubicBezTo>
                      <a:pt x="10" y="63"/>
                      <a:pt x="11" y="63"/>
                      <a:pt x="13" y="64"/>
                    </a:cubicBezTo>
                    <a:cubicBezTo>
                      <a:pt x="15" y="65"/>
                      <a:pt x="16" y="66"/>
                      <a:pt x="17" y="67"/>
                    </a:cubicBezTo>
                    <a:cubicBezTo>
                      <a:pt x="18" y="68"/>
                      <a:pt x="19" y="70"/>
                      <a:pt x="20" y="71"/>
                    </a:cubicBezTo>
                    <a:cubicBezTo>
                      <a:pt x="21" y="73"/>
                      <a:pt x="21" y="74"/>
                      <a:pt x="22" y="76"/>
                    </a:cubicBezTo>
                    <a:cubicBezTo>
                      <a:pt x="23" y="80"/>
                      <a:pt x="24" y="84"/>
                      <a:pt x="25" y="88"/>
                    </a:cubicBezTo>
                    <a:cubicBezTo>
                      <a:pt x="26" y="92"/>
                      <a:pt x="28" y="96"/>
                      <a:pt x="29" y="100"/>
                    </a:cubicBezTo>
                    <a:cubicBezTo>
                      <a:pt x="29" y="101"/>
                      <a:pt x="30" y="103"/>
                      <a:pt x="31" y="105"/>
                    </a:cubicBezTo>
                    <a:cubicBezTo>
                      <a:pt x="32" y="106"/>
                      <a:pt x="33" y="108"/>
                      <a:pt x="34" y="109"/>
                    </a:cubicBezTo>
                    <a:cubicBezTo>
                      <a:pt x="35" y="110"/>
                      <a:pt x="36" y="111"/>
                      <a:pt x="38" y="112"/>
                    </a:cubicBezTo>
                    <a:cubicBezTo>
                      <a:pt x="39" y="112"/>
                      <a:pt x="41" y="113"/>
                      <a:pt x="43" y="113"/>
                    </a:cubicBezTo>
                    <a:cubicBezTo>
                      <a:pt x="45" y="112"/>
                      <a:pt x="46" y="111"/>
                      <a:pt x="48" y="110"/>
                    </a:cubicBezTo>
                    <a:cubicBezTo>
                      <a:pt x="49" y="108"/>
                      <a:pt x="50" y="107"/>
                      <a:pt x="51" y="105"/>
                    </a:cubicBezTo>
                    <a:cubicBezTo>
                      <a:pt x="52" y="103"/>
                      <a:pt x="52" y="101"/>
                      <a:pt x="53" y="99"/>
                    </a:cubicBezTo>
                    <a:cubicBezTo>
                      <a:pt x="53" y="97"/>
                      <a:pt x="54" y="95"/>
                      <a:pt x="54" y="93"/>
                    </a:cubicBezTo>
                    <a:cubicBezTo>
                      <a:pt x="57" y="84"/>
                      <a:pt x="58" y="75"/>
                      <a:pt x="59" y="66"/>
                    </a:cubicBezTo>
                    <a:cubicBezTo>
                      <a:pt x="59" y="59"/>
                      <a:pt x="60" y="52"/>
                      <a:pt x="60" y="45"/>
                    </a:cubicBezTo>
                    <a:cubicBezTo>
                      <a:pt x="60" y="38"/>
                      <a:pt x="59" y="32"/>
                      <a:pt x="58" y="25"/>
                    </a:cubicBezTo>
                    <a:cubicBezTo>
                      <a:pt x="57" y="24"/>
                      <a:pt x="57" y="23"/>
                      <a:pt x="56" y="21"/>
                    </a:cubicBezTo>
                    <a:cubicBezTo>
                      <a:pt x="56" y="20"/>
                      <a:pt x="54" y="19"/>
                      <a:pt x="53" y="19"/>
                    </a:cubicBezTo>
                    <a:cubicBezTo>
                      <a:pt x="50" y="19"/>
                      <a:pt x="50" y="19"/>
                      <a:pt x="50" y="19"/>
                    </a:cubicBezTo>
                    <a:cubicBezTo>
                      <a:pt x="49" y="19"/>
                      <a:pt x="47" y="19"/>
                      <a:pt x="46" y="19"/>
                    </a:cubicBezTo>
                    <a:cubicBezTo>
                      <a:pt x="44" y="19"/>
                      <a:pt x="42" y="18"/>
                      <a:pt x="41" y="18"/>
                    </a:cubicBezTo>
                    <a:cubicBezTo>
                      <a:pt x="39" y="17"/>
                      <a:pt x="38" y="16"/>
                      <a:pt x="37" y="15"/>
                    </a:cubicBezTo>
                    <a:cubicBezTo>
                      <a:pt x="36" y="13"/>
                      <a:pt x="36" y="12"/>
                      <a:pt x="36" y="10"/>
                    </a:cubicBezTo>
                    <a:cubicBezTo>
                      <a:pt x="37" y="9"/>
                      <a:pt x="37" y="7"/>
                      <a:pt x="37" y="6"/>
                    </a:cubicBezTo>
                    <a:cubicBezTo>
                      <a:pt x="38" y="5"/>
                      <a:pt x="39" y="4"/>
                      <a:pt x="39" y="3"/>
                    </a:cubicBezTo>
                    <a:cubicBezTo>
                      <a:pt x="40" y="2"/>
                      <a:pt x="41" y="2"/>
                      <a:pt x="42" y="1"/>
                    </a:cubicBezTo>
                    <a:cubicBezTo>
                      <a:pt x="44" y="1"/>
                      <a:pt x="45" y="1"/>
                      <a:pt x="46" y="1"/>
                    </a:cubicBezTo>
                    <a:cubicBezTo>
                      <a:pt x="53" y="0"/>
                      <a:pt x="60" y="1"/>
                      <a:pt x="67" y="1"/>
                    </a:cubicBezTo>
                    <a:cubicBezTo>
                      <a:pt x="74" y="1"/>
                      <a:pt x="80" y="2"/>
                      <a:pt x="87" y="3"/>
                    </a:cubicBezTo>
                    <a:cubicBezTo>
                      <a:pt x="89" y="4"/>
                      <a:pt x="91" y="5"/>
                      <a:pt x="93" y="7"/>
                    </a:cubicBezTo>
                    <a:cubicBezTo>
                      <a:pt x="95" y="9"/>
                      <a:pt x="96" y="11"/>
                      <a:pt x="97" y="13"/>
                    </a:cubicBezTo>
                    <a:cubicBezTo>
                      <a:pt x="97" y="14"/>
                      <a:pt x="97" y="15"/>
                      <a:pt x="97" y="16"/>
                    </a:cubicBezTo>
                    <a:cubicBezTo>
                      <a:pt x="97" y="17"/>
                      <a:pt x="98" y="18"/>
                      <a:pt x="97" y="1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2" name="iṣlïďe">
                <a:extLst>
                  <a:ext uri="{FF2B5EF4-FFF2-40B4-BE49-F238E27FC236}">
                    <a16:creationId xmlns:a16="http://schemas.microsoft.com/office/drawing/2014/main" id="{253DB3AE-DEA0-4C48-A58B-C54E20692325}"/>
                  </a:ext>
                </a:extLst>
              </p:cNvPr>
              <p:cNvSpPr/>
              <p:nvPr/>
            </p:nvSpPr>
            <p:spPr>
              <a:xfrm flipH="1">
                <a:off x="10563374" y="2162628"/>
                <a:ext cx="112754" cy="131639"/>
              </a:xfrm>
              <a:custGeom>
                <a:avLst/>
                <a:gdLst/>
                <a:ahLst/>
                <a:cxnLst/>
                <a:rect l="l" t="t" r="r" b="b"/>
                <a:pathLst>
                  <a:path w="86" h="100" extrusionOk="0">
                    <a:moveTo>
                      <a:pt x="77" y="65"/>
                    </a:moveTo>
                    <a:cubicBezTo>
                      <a:pt x="76" y="66"/>
                      <a:pt x="76" y="67"/>
                      <a:pt x="75" y="68"/>
                    </a:cubicBezTo>
                    <a:cubicBezTo>
                      <a:pt x="75" y="70"/>
                      <a:pt x="74" y="71"/>
                      <a:pt x="73" y="72"/>
                    </a:cubicBezTo>
                    <a:cubicBezTo>
                      <a:pt x="71" y="76"/>
                      <a:pt x="67" y="80"/>
                      <a:pt x="64" y="84"/>
                    </a:cubicBezTo>
                    <a:cubicBezTo>
                      <a:pt x="60" y="87"/>
                      <a:pt x="56" y="91"/>
                      <a:pt x="51" y="93"/>
                    </a:cubicBezTo>
                    <a:cubicBezTo>
                      <a:pt x="49" y="95"/>
                      <a:pt x="46" y="96"/>
                      <a:pt x="44" y="97"/>
                    </a:cubicBezTo>
                    <a:cubicBezTo>
                      <a:pt x="42" y="98"/>
                      <a:pt x="39" y="99"/>
                      <a:pt x="37" y="99"/>
                    </a:cubicBezTo>
                    <a:cubicBezTo>
                      <a:pt x="34" y="100"/>
                      <a:pt x="31" y="100"/>
                      <a:pt x="29" y="100"/>
                    </a:cubicBezTo>
                    <a:cubicBezTo>
                      <a:pt x="26" y="100"/>
                      <a:pt x="24" y="100"/>
                      <a:pt x="21" y="99"/>
                    </a:cubicBezTo>
                    <a:cubicBezTo>
                      <a:pt x="18" y="98"/>
                      <a:pt x="15" y="96"/>
                      <a:pt x="13" y="94"/>
                    </a:cubicBezTo>
                    <a:cubicBezTo>
                      <a:pt x="11" y="92"/>
                      <a:pt x="9" y="90"/>
                      <a:pt x="7" y="87"/>
                    </a:cubicBezTo>
                    <a:cubicBezTo>
                      <a:pt x="6" y="85"/>
                      <a:pt x="5" y="82"/>
                      <a:pt x="4" y="79"/>
                    </a:cubicBezTo>
                    <a:cubicBezTo>
                      <a:pt x="3" y="76"/>
                      <a:pt x="2" y="73"/>
                      <a:pt x="1" y="70"/>
                    </a:cubicBezTo>
                    <a:cubicBezTo>
                      <a:pt x="0" y="64"/>
                      <a:pt x="0" y="58"/>
                      <a:pt x="0" y="52"/>
                    </a:cubicBezTo>
                    <a:cubicBezTo>
                      <a:pt x="1" y="46"/>
                      <a:pt x="3" y="40"/>
                      <a:pt x="5" y="34"/>
                    </a:cubicBezTo>
                    <a:cubicBezTo>
                      <a:pt x="8" y="29"/>
                      <a:pt x="11" y="24"/>
                      <a:pt x="15" y="20"/>
                    </a:cubicBezTo>
                    <a:cubicBezTo>
                      <a:pt x="19" y="16"/>
                      <a:pt x="23" y="12"/>
                      <a:pt x="28" y="9"/>
                    </a:cubicBezTo>
                    <a:cubicBezTo>
                      <a:pt x="31" y="8"/>
                      <a:pt x="33" y="6"/>
                      <a:pt x="36" y="5"/>
                    </a:cubicBezTo>
                    <a:cubicBezTo>
                      <a:pt x="38" y="3"/>
                      <a:pt x="41" y="2"/>
                      <a:pt x="44" y="2"/>
                    </a:cubicBezTo>
                    <a:cubicBezTo>
                      <a:pt x="47" y="1"/>
                      <a:pt x="50" y="0"/>
                      <a:pt x="52" y="0"/>
                    </a:cubicBezTo>
                    <a:cubicBezTo>
                      <a:pt x="55" y="0"/>
                      <a:pt x="58" y="1"/>
                      <a:pt x="61" y="2"/>
                    </a:cubicBezTo>
                    <a:cubicBezTo>
                      <a:pt x="65" y="3"/>
                      <a:pt x="70" y="6"/>
                      <a:pt x="73" y="9"/>
                    </a:cubicBezTo>
                    <a:cubicBezTo>
                      <a:pt x="77" y="12"/>
                      <a:pt x="80" y="15"/>
                      <a:pt x="83" y="19"/>
                    </a:cubicBezTo>
                    <a:cubicBezTo>
                      <a:pt x="83" y="20"/>
                      <a:pt x="84" y="20"/>
                      <a:pt x="84" y="21"/>
                    </a:cubicBezTo>
                    <a:cubicBezTo>
                      <a:pt x="85" y="22"/>
                      <a:pt x="85" y="22"/>
                      <a:pt x="85" y="23"/>
                    </a:cubicBezTo>
                    <a:cubicBezTo>
                      <a:pt x="86" y="24"/>
                      <a:pt x="86" y="25"/>
                      <a:pt x="86" y="26"/>
                    </a:cubicBezTo>
                    <a:cubicBezTo>
                      <a:pt x="86" y="27"/>
                      <a:pt x="86" y="28"/>
                      <a:pt x="86" y="28"/>
                    </a:cubicBezTo>
                    <a:cubicBezTo>
                      <a:pt x="86" y="29"/>
                      <a:pt x="86" y="29"/>
                      <a:pt x="86" y="29"/>
                    </a:cubicBezTo>
                    <a:cubicBezTo>
                      <a:pt x="86" y="29"/>
                      <a:pt x="86" y="29"/>
                      <a:pt x="86" y="29"/>
                    </a:cubicBezTo>
                    <a:cubicBezTo>
                      <a:pt x="84" y="30"/>
                      <a:pt x="84" y="30"/>
                      <a:pt x="84" y="30"/>
                    </a:cubicBezTo>
                    <a:cubicBezTo>
                      <a:pt x="83" y="31"/>
                      <a:pt x="83" y="31"/>
                      <a:pt x="83" y="31"/>
                    </a:cubicBezTo>
                    <a:cubicBezTo>
                      <a:pt x="82" y="32"/>
                      <a:pt x="81" y="32"/>
                      <a:pt x="80" y="32"/>
                    </a:cubicBezTo>
                    <a:cubicBezTo>
                      <a:pt x="78" y="31"/>
                      <a:pt x="77" y="30"/>
                      <a:pt x="75" y="29"/>
                    </a:cubicBezTo>
                    <a:cubicBezTo>
                      <a:pt x="74" y="28"/>
                      <a:pt x="73" y="26"/>
                      <a:pt x="72" y="25"/>
                    </a:cubicBezTo>
                    <a:cubicBezTo>
                      <a:pt x="70" y="24"/>
                      <a:pt x="69" y="23"/>
                      <a:pt x="68" y="22"/>
                    </a:cubicBezTo>
                    <a:cubicBezTo>
                      <a:pt x="67" y="21"/>
                      <a:pt x="65" y="20"/>
                      <a:pt x="63" y="19"/>
                    </a:cubicBezTo>
                    <a:cubicBezTo>
                      <a:pt x="61" y="18"/>
                      <a:pt x="59" y="17"/>
                      <a:pt x="57" y="17"/>
                    </a:cubicBezTo>
                    <a:cubicBezTo>
                      <a:pt x="54" y="17"/>
                      <a:pt x="52" y="17"/>
                      <a:pt x="50" y="17"/>
                    </a:cubicBezTo>
                    <a:cubicBezTo>
                      <a:pt x="48" y="17"/>
                      <a:pt x="45" y="18"/>
                      <a:pt x="43" y="19"/>
                    </a:cubicBezTo>
                    <a:cubicBezTo>
                      <a:pt x="41" y="20"/>
                      <a:pt x="39" y="21"/>
                      <a:pt x="37" y="22"/>
                    </a:cubicBezTo>
                    <a:cubicBezTo>
                      <a:pt x="33" y="25"/>
                      <a:pt x="29" y="28"/>
                      <a:pt x="26" y="31"/>
                    </a:cubicBezTo>
                    <a:cubicBezTo>
                      <a:pt x="23" y="35"/>
                      <a:pt x="21" y="39"/>
                      <a:pt x="19" y="43"/>
                    </a:cubicBezTo>
                    <a:cubicBezTo>
                      <a:pt x="17" y="47"/>
                      <a:pt x="16" y="51"/>
                      <a:pt x="15" y="55"/>
                    </a:cubicBezTo>
                    <a:cubicBezTo>
                      <a:pt x="14" y="58"/>
                      <a:pt x="14" y="62"/>
                      <a:pt x="14" y="66"/>
                    </a:cubicBezTo>
                    <a:cubicBezTo>
                      <a:pt x="14" y="68"/>
                      <a:pt x="15" y="70"/>
                      <a:pt x="15" y="72"/>
                    </a:cubicBezTo>
                    <a:cubicBezTo>
                      <a:pt x="16" y="74"/>
                      <a:pt x="17" y="75"/>
                      <a:pt x="18" y="77"/>
                    </a:cubicBezTo>
                    <a:cubicBezTo>
                      <a:pt x="19" y="78"/>
                      <a:pt x="21" y="80"/>
                      <a:pt x="22" y="81"/>
                    </a:cubicBezTo>
                    <a:cubicBezTo>
                      <a:pt x="24" y="82"/>
                      <a:pt x="26" y="83"/>
                      <a:pt x="28" y="83"/>
                    </a:cubicBezTo>
                    <a:cubicBezTo>
                      <a:pt x="29" y="84"/>
                      <a:pt x="31" y="84"/>
                      <a:pt x="32" y="84"/>
                    </a:cubicBezTo>
                    <a:cubicBezTo>
                      <a:pt x="34" y="84"/>
                      <a:pt x="35" y="84"/>
                      <a:pt x="37" y="84"/>
                    </a:cubicBezTo>
                    <a:cubicBezTo>
                      <a:pt x="38" y="84"/>
                      <a:pt x="40" y="83"/>
                      <a:pt x="41" y="83"/>
                    </a:cubicBezTo>
                    <a:cubicBezTo>
                      <a:pt x="43" y="82"/>
                      <a:pt x="44" y="81"/>
                      <a:pt x="45" y="80"/>
                    </a:cubicBezTo>
                    <a:cubicBezTo>
                      <a:pt x="48" y="78"/>
                      <a:pt x="51" y="76"/>
                      <a:pt x="53" y="74"/>
                    </a:cubicBezTo>
                    <a:cubicBezTo>
                      <a:pt x="55" y="71"/>
                      <a:pt x="56" y="69"/>
                      <a:pt x="57" y="66"/>
                    </a:cubicBezTo>
                    <a:cubicBezTo>
                      <a:pt x="58" y="65"/>
                      <a:pt x="59" y="64"/>
                      <a:pt x="59" y="62"/>
                    </a:cubicBezTo>
                    <a:cubicBezTo>
                      <a:pt x="59" y="61"/>
                      <a:pt x="60" y="60"/>
                      <a:pt x="60" y="58"/>
                    </a:cubicBezTo>
                    <a:cubicBezTo>
                      <a:pt x="58" y="58"/>
                      <a:pt x="56" y="58"/>
                      <a:pt x="54" y="57"/>
                    </a:cubicBezTo>
                    <a:cubicBezTo>
                      <a:pt x="52" y="57"/>
                      <a:pt x="50" y="57"/>
                      <a:pt x="48" y="57"/>
                    </a:cubicBezTo>
                    <a:cubicBezTo>
                      <a:pt x="46" y="56"/>
                      <a:pt x="44" y="56"/>
                      <a:pt x="42" y="56"/>
                    </a:cubicBezTo>
                    <a:cubicBezTo>
                      <a:pt x="40" y="56"/>
                      <a:pt x="38" y="55"/>
                      <a:pt x="36" y="55"/>
                    </a:cubicBezTo>
                    <a:cubicBezTo>
                      <a:pt x="35" y="54"/>
                      <a:pt x="34" y="54"/>
                      <a:pt x="34" y="53"/>
                    </a:cubicBezTo>
                    <a:cubicBezTo>
                      <a:pt x="33" y="52"/>
                      <a:pt x="33" y="51"/>
                      <a:pt x="32" y="50"/>
                    </a:cubicBezTo>
                    <a:cubicBezTo>
                      <a:pt x="32" y="48"/>
                      <a:pt x="32" y="47"/>
                      <a:pt x="32" y="46"/>
                    </a:cubicBezTo>
                    <a:cubicBezTo>
                      <a:pt x="33" y="45"/>
                      <a:pt x="33" y="44"/>
                      <a:pt x="33" y="43"/>
                    </a:cubicBezTo>
                    <a:cubicBezTo>
                      <a:pt x="34" y="42"/>
                      <a:pt x="34" y="41"/>
                      <a:pt x="35" y="41"/>
                    </a:cubicBezTo>
                    <a:cubicBezTo>
                      <a:pt x="38" y="40"/>
                      <a:pt x="41" y="40"/>
                      <a:pt x="45" y="40"/>
                    </a:cubicBezTo>
                    <a:cubicBezTo>
                      <a:pt x="48" y="40"/>
                      <a:pt x="51" y="41"/>
                      <a:pt x="54" y="41"/>
                    </a:cubicBezTo>
                    <a:cubicBezTo>
                      <a:pt x="57" y="41"/>
                      <a:pt x="60" y="41"/>
                      <a:pt x="64" y="42"/>
                    </a:cubicBezTo>
                    <a:cubicBezTo>
                      <a:pt x="67" y="42"/>
                      <a:pt x="70" y="43"/>
                      <a:pt x="73" y="44"/>
                    </a:cubicBezTo>
                    <a:cubicBezTo>
                      <a:pt x="75" y="44"/>
                      <a:pt x="77" y="46"/>
                      <a:pt x="78" y="47"/>
                    </a:cubicBezTo>
                    <a:cubicBezTo>
                      <a:pt x="79" y="49"/>
                      <a:pt x="80" y="51"/>
                      <a:pt x="80" y="53"/>
                    </a:cubicBezTo>
                    <a:cubicBezTo>
                      <a:pt x="80" y="55"/>
                      <a:pt x="80" y="57"/>
                      <a:pt x="79" y="59"/>
                    </a:cubicBezTo>
                    <a:cubicBezTo>
                      <a:pt x="79" y="61"/>
                      <a:pt x="78" y="63"/>
                      <a:pt x="77" y="6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3" name="ïŝ1iḍê">
                <a:extLst>
                  <a:ext uri="{FF2B5EF4-FFF2-40B4-BE49-F238E27FC236}">
                    <a16:creationId xmlns:a16="http://schemas.microsoft.com/office/drawing/2014/main" id="{7DAF1FAB-161F-45F6-9E7E-67F154566CFC}"/>
                  </a:ext>
                </a:extLst>
              </p:cNvPr>
              <p:cNvSpPr/>
              <p:nvPr/>
            </p:nvSpPr>
            <p:spPr>
              <a:xfrm flipH="1">
                <a:off x="10701122" y="1924900"/>
                <a:ext cx="104977" cy="152746"/>
              </a:xfrm>
              <a:custGeom>
                <a:avLst/>
                <a:gdLst/>
                <a:ahLst/>
                <a:cxnLst/>
                <a:rect l="l" t="t" r="r" b="b"/>
                <a:pathLst>
                  <a:path w="80" h="116" extrusionOk="0">
                    <a:moveTo>
                      <a:pt x="63" y="7"/>
                    </a:moveTo>
                    <a:cubicBezTo>
                      <a:pt x="65" y="10"/>
                      <a:pt x="66" y="13"/>
                      <a:pt x="66" y="16"/>
                    </a:cubicBezTo>
                    <a:cubicBezTo>
                      <a:pt x="66" y="18"/>
                      <a:pt x="66" y="19"/>
                      <a:pt x="66" y="21"/>
                    </a:cubicBezTo>
                    <a:cubicBezTo>
                      <a:pt x="66" y="22"/>
                      <a:pt x="66" y="24"/>
                      <a:pt x="66" y="26"/>
                    </a:cubicBezTo>
                    <a:cubicBezTo>
                      <a:pt x="67" y="29"/>
                      <a:pt x="67" y="32"/>
                      <a:pt x="68" y="35"/>
                    </a:cubicBezTo>
                    <a:cubicBezTo>
                      <a:pt x="68" y="38"/>
                      <a:pt x="69" y="40"/>
                      <a:pt x="70" y="43"/>
                    </a:cubicBezTo>
                    <a:cubicBezTo>
                      <a:pt x="71" y="47"/>
                      <a:pt x="72" y="51"/>
                      <a:pt x="73" y="55"/>
                    </a:cubicBezTo>
                    <a:cubicBezTo>
                      <a:pt x="74" y="60"/>
                      <a:pt x="75" y="64"/>
                      <a:pt x="76" y="68"/>
                    </a:cubicBezTo>
                    <a:cubicBezTo>
                      <a:pt x="76" y="72"/>
                      <a:pt x="77" y="76"/>
                      <a:pt x="78" y="80"/>
                    </a:cubicBezTo>
                    <a:cubicBezTo>
                      <a:pt x="79" y="84"/>
                      <a:pt x="79" y="88"/>
                      <a:pt x="80" y="92"/>
                    </a:cubicBezTo>
                    <a:cubicBezTo>
                      <a:pt x="80" y="94"/>
                      <a:pt x="80" y="97"/>
                      <a:pt x="80" y="99"/>
                    </a:cubicBezTo>
                    <a:cubicBezTo>
                      <a:pt x="80" y="101"/>
                      <a:pt x="79" y="103"/>
                      <a:pt x="79" y="105"/>
                    </a:cubicBezTo>
                    <a:cubicBezTo>
                      <a:pt x="78" y="107"/>
                      <a:pt x="78" y="109"/>
                      <a:pt x="77" y="111"/>
                    </a:cubicBezTo>
                    <a:cubicBezTo>
                      <a:pt x="75" y="113"/>
                      <a:pt x="74" y="114"/>
                      <a:pt x="72" y="115"/>
                    </a:cubicBezTo>
                    <a:cubicBezTo>
                      <a:pt x="71" y="116"/>
                      <a:pt x="70" y="116"/>
                      <a:pt x="69" y="116"/>
                    </a:cubicBezTo>
                    <a:cubicBezTo>
                      <a:pt x="67" y="116"/>
                      <a:pt x="66" y="115"/>
                      <a:pt x="65" y="115"/>
                    </a:cubicBezTo>
                    <a:cubicBezTo>
                      <a:pt x="64" y="114"/>
                      <a:pt x="63" y="113"/>
                      <a:pt x="62" y="112"/>
                    </a:cubicBezTo>
                    <a:cubicBezTo>
                      <a:pt x="61" y="111"/>
                      <a:pt x="61" y="110"/>
                      <a:pt x="60" y="109"/>
                    </a:cubicBezTo>
                    <a:cubicBezTo>
                      <a:pt x="57" y="107"/>
                      <a:pt x="55" y="105"/>
                      <a:pt x="53" y="102"/>
                    </a:cubicBezTo>
                    <a:cubicBezTo>
                      <a:pt x="51" y="100"/>
                      <a:pt x="48" y="97"/>
                      <a:pt x="46" y="94"/>
                    </a:cubicBezTo>
                    <a:cubicBezTo>
                      <a:pt x="44" y="92"/>
                      <a:pt x="42" y="89"/>
                      <a:pt x="40" y="86"/>
                    </a:cubicBezTo>
                    <a:cubicBezTo>
                      <a:pt x="38" y="84"/>
                      <a:pt x="36" y="81"/>
                      <a:pt x="34" y="78"/>
                    </a:cubicBezTo>
                    <a:cubicBezTo>
                      <a:pt x="28" y="72"/>
                      <a:pt x="23" y="66"/>
                      <a:pt x="18" y="60"/>
                    </a:cubicBezTo>
                    <a:cubicBezTo>
                      <a:pt x="12" y="54"/>
                      <a:pt x="7" y="48"/>
                      <a:pt x="1" y="43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1"/>
                      <a:pt x="0" y="40"/>
                      <a:pt x="0" y="39"/>
                    </a:cubicBezTo>
                    <a:cubicBezTo>
                      <a:pt x="1" y="37"/>
                      <a:pt x="1" y="36"/>
                      <a:pt x="1" y="35"/>
                    </a:cubicBezTo>
                    <a:cubicBezTo>
                      <a:pt x="2" y="35"/>
                      <a:pt x="2" y="34"/>
                      <a:pt x="3" y="33"/>
                    </a:cubicBezTo>
                    <a:cubicBezTo>
                      <a:pt x="4" y="32"/>
                      <a:pt x="4" y="31"/>
                      <a:pt x="5" y="30"/>
                    </a:cubicBezTo>
                    <a:cubicBezTo>
                      <a:pt x="7" y="29"/>
                      <a:pt x="9" y="29"/>
                      <a:pt x="10" y="30"/>
                    </a:cubicBezTo>
                    <a:cubicBezTo>
                      <a:pt x="12" y="30"/>
                      <a:pt x="13" y="31"/>
                      <a:pt x="15" y="32"/>
                    </a:cubicBezTo>
                    <a:cubicBezTo>
                      <a:pt x="16" y="33"/>
                      <a:pt x="18" y="35"/>
                      <a:pt x="19" y="36"/>
                    </a:cubicBezTo>
                    <a:cubicBezTo>
                      <a:pt x="20" y="38"/>
                      <a:pt x="21" y="39"/>
                      <a:pt x="22" y="40"/>
                    </a:cubicBezTo>
                    <a:cubicBezTo>
                      <a:pt x="26" y="46"/>
                      <a:pt x="29" y="51"/>
                      <a:pt x="33" y="56"/>
                    </a:cubicBezTo>
                    <a:cubicBezTo>
                      <a:pt x="36" y="61"/>
                      <a:pt x="40" y="66"/>
                      <a:pt x="44" y="71"/>
                    </a:cubicBezTo>
                    <a:cubicBezTo>
                      <a:pt x="45" y="72"/>
                      <a:pt x="46" y="73"/>
                      <a:pt x="46" y="75"/>
                    </a:cubicBezTo>
                    <a:cubicBezTo>
                      <a:pt x="47" y="76"/>
                      <a:pt x="48" y="77"/>
                      <a:pt x="50" y="78"/>
                    </a:cubicBezTo>
                    <a:cubicBezTo>
                      <a:pt x="51" y="79"/>
                      <a:pt x="51" y="80"/>
                      <a:pt x="52" y="81"/>
                    </a:cubicBezTo>
                    <a:cubicBezTo>
                      <a:pt x="53" y="82"/>
                      <a:pt x="54" y="83"/>
                      <a:pt x="55" y="83"/>
                    </a:cubicBezTo>
                    <a:cubicBezTo>
                      <a:pt x="56" y="84"/>
                      <a:pt x="56" y="84"/>
                      <a:pt x="57" y="84"/>
                    </a:cubicBezTo>
                    <a:cubicBezTo>
                      <a:pt x="58" y="85"/>
                      <a:pt x="59" y="84"/>
                      <a:pt x="60" y="84"/>
                    </a:cubicBezTo>
                    <a:cubicBezTo>
                      <a:pt x="60" y="82"/>
                      <a:pt x="60" y="80"/>
                      <a:pt x="60" y="79"/>
                    </a:cubicBezTo>
                    <a:cubicBezTo>
                      <a:pt x="60" y="77"/>
                      <a:pt x="60" y="75"/>
                      <a:pt x="59" y="73"/>
                    </a:cubicBezTo>
                    <a:cubicBezTo>
                      <a:pt x="59" y="71"/>
                      <a:pt x="59" y="69"/>
                      <a:pt x="58" y="67"/>
                    </a:cubicBezTo>
                    <a:cubicBezTo>
                      <a:pt x="57" y="65"/>
                      <a:pt x="57" y="64"/>
                      <a:pt x="57" y="62"/>
                    </a:cubicBezTo>
                    <a:cubicBezTo>
                      <a:pt x="56" y="57"/>
                      <a:pt x="54" y="53"/>
                      <a:pt x="53" y="49"/>
                    </a:cubicBezTo>
                    <a:cubicBezTo>
                      <a:pt x="52" y="45"/>
                      <a:pt x="51" y="40"/>
                      <a:pt x="49" y="36"/>
                    </a:cubicBezTo>
                    <a:cubicBezTo>
                      <a:pt x="49" y="33"/>
                      <a:pt x="48" y="30"/>
                      <a:pt x="47" y="26"/>
                    </a:cubicBezTo>
                    <a:cubicBezTo>
                      <a:pt x="47" y="23"/>
                      <a:pt x="46" y="20"/>
                      <a:pt x="45" y="17"/>
                    </a:cubicBezTo>
                    <a:cubicBezTo>
                      <a:pt x="45" y="15"/>
                      <a:pt x="45" y="14"/>
                      <a:pt x="45" y="12"/>
                    </a:cubicBezTo>
                    <a:cubicBezTo>
                      <a:pt x="45" y="11"/>
                      <a:pt x="45" y="10"/>
                      <a:pt x="45" y="8"/>
                    </a:cubicBezTo>
                    <a:cubicBezTo>
                      <a:pt x="45" y="7"/>
                      <a:pt x="45" y="5"/>
                      <a:pt x="45" y="4"/>
                    </a:cubicBezTo>
                    <a:cubicBezTo>
                      <a:pt x="46" y="3"/>
                      <a:pt x="46" y="1"/>
                      <a:pt x="47" y="0"/>
                    </a:cubicBezTo>
                    <a:cubicBezTo>
                      <a:pt x="49" y="0"/>
                      <a:pt x="50" y="0"/>
                      <a:pt x="51" y="0"/>
                    </a:cubicBezTo>
                    <a:cubicBezTo>
                      <a:pt x="53" y="0"/>
                      <a:pt x="54" y="1"/>
                      <a:pt x="56" y="1"/>
                    </a:cubicBezTo>
                    <a:cubicBezTo>
                      <a:pt x="57" y="2"/>
                      <a:pt x="59" y="3"/>
                      <a:pt x="60" y="4"/>
                    </a:cubicBezTo>
                    <a:cubicBezTo>
                      <a:pt x="61" y="5"/>
                      <a:pt x="62" y="6"/>
                      <a:pt x="63" y="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4" name="íṧlîḓe">
                <a:extLst>
                  <a:ext uri="{FF2B5EF4-FFF2-40B4-BE49-F238E27FC236}">
                    <a16:creationId xmlns:a16="http://schemas.microsoft.com/office/drawing/2014/main" id="{373C046E-9D6F-42A4-943A-3834A93F480E}"/>
                  </a:ext>
                </a:extLst>
              </p:cNvPr>
              <p:cNvSpPr/>
              <p:nvPr/>
            </p:nvSpPr>
            <p:spPr>
              <a:xfrm flipH="1">
                <a:off x="10421737" y="1933232"/>
                <a:ext cx="140526" cy="136638"/>
              </a:xfrm>
              <a:custGeom>
                <a:avLst/>
                <a:gdLst/>
                <a:ahLst/>
                <a:cxnLst/>
                <a:rect l="l" t="t" r="r" b="b"/>
                <a:pathLst>
                  <a:path w="107" h="104" extrusionOk="0">
                    <a:moveTo>
                      <a:pt x="90" y="43"/>
                    </a:moveTo>
                    <a:cubicBezTo>
                      <a:pt x="85" y="47"/>
                      <a:pt x="81" y="50"/>
                      <a:pt x="76" y="54"/>
                    </a:cubicBezTo>
                    <a:cubicBezTo>
                      <a:pt x="72" y="58"/>
                      <a:pt x="67" y="61"/>
                      <a:pt x="62" y="65"/>
                    </a:cubicBezTo>
                    <a:cubicBezTo>
                      <a:pt x="57" y="69"/>
                      <a:pt x="53" y="72"/>
                      <a:pt x="48" y="76"/>
                    </a:cubicBezTo>
                    <a:cubicBezTo>
                      <a:pt x="43" y="79"/>
                      <a:pt x="38" y="83"/>
                      <a:pt x="34" y="87"/>
                    </a:cubicBezTo>
                    <a:cubicBezTo>
                      <a:pt x="32" y="88"/>
                      <a:pt x="31" y="89"/>
                      <a:pt x="30" y="90"/>
                    </a:cubicBezTo>
                    <a:cubicBezTo>
                      <a:pt x="29" y="91"/>
                      <a:pt x="28" y="92"/>
                      <a:pt x="27" y="93"/>
                    </a:cubicBezTo>
                    <a:cubicBezTo>
                      <a:pt x="26" y="94"/>
                      <a:pt x="24" y="95"/>
                      <a:pt x="23" y="96"/>
                    </a:cubicBezTo>
                    <a:cubicBezTo>
                      <a:pt x="22" y="97"/>
                      <a:pt x="21" y="98"/>
                      <a:pt x="20" y="99"/>
                    </a:cubicBezTo>
                    <a:cubicBezTo>
                      <a:pt x="19" y="100"/>
                      <a:pt x="18" y="100"/>
                      <a:pt x="17" y="101"/>
                    </a:cubicBezTo>
                    <a:cubicBezTo>
                      <a:pt x="15" y="102"/>
                      <a:pt x="14" y="103"/>
                      <a:pt x="13" y="103"/>
                    </a:cubicBezTo>
                    <a:cubicBezTo>
                      <a:pt x="12" y="104"/>
                      <a:pt x="10" y="104"/>
                      <a:pt x="9" y="104"/>
                    </a:cubicBezTo>
                    <a:cubicBezTo>
                      <a:pt x="7" y="104"/>
                      <a:pt x="6" y="104"/>
                      <a:pt x="5" y="103"/>
                    </a:cubicBezTo>
                    <a:cubicBezTo>
                      <a:pt x="3" y="102"/>
                      <a:pt x="2" y="100"/>
                      <a:pt x="1" y="98"/>
                    </a:cubicBezTo>
                    <a:cubicBezTo>
                      <a:pt x="0" y="96"/>
                      <a:pt x="0" y="94"/>
                      <a:pt x="0" y="92"/>
                    </a:cubicBezTo>
                    <a:cubicBezTo>
                      <a:pt x="2" y="90"/>
                      <a:pt x="4" y="87"/>
                      <a:pt x="6" y="85"/>
                    </a:cubicBezTo>
                    <a:cubicBezTo>
                      <a:pt x="8" y="83"/>
                      <a:pt x="11" y="80"/>
                      <a:pt x="13" y="78"/>
                    </a:cubicBezTo>
                    <a:cubicBezTo>
                      <a:pt x="17" y="75"/>
                      <a:pt x="21" y="71"/>
                      <a:pt x="26" y="68"/>
                    </a:cubicBezTo>
                    <a:cubicBezTo>
                      <a:pt x="30" y="65"/>
                      <a:pt x="34" y="62"/>
                      <a:pt x="38" y="58"/>
                    </a:cubicBezTo>
                    <a:cubicBezTo>
                      <a:pt x="43" y="55"/>
                      <a:pt x="47" y="52"/>
                      <a:pt x="52" y="48"/>
                    </a:cubicBezTo>
                    <a:cubicBezTo>
                      <a:pt x="56" y="45"/>
                      <a:pt x="60" y="42"/>
                      <a:pt x="65" y="38"/>
                    </a:cubicBezTo>
                    <a:cubicBezTo>
                      <a:pt x="66" y="37"/>
                      <a:pt x="68" y="35"/>
                      <a:pt x="69" y="34"/>
                    </a:cubicBezTo>
                    <a:cubicBezTo>
                      <a:pt x="71" y="33"/>
                      <a:pt x="72" y="31"/>
                      <a:pt x="74" y="30"/>
                    </a:cubicBezTo>
                    <a:cubicBezTo>
                      <a:pt x="75" y="28"/>
                      <a:pt x="76" y="27"/>
                      <a:pt x="78" y="25"/>
                    </a:cubicBezTo>
                    <a:cubicBezTo>
                      <a:pt x="79" y="23"/>
                      <a:pt x="80" y="22"/>
                      <a:pt x="80" y="20"/>
                    </a:cubicBezTo>
                    <a:cubicBezTo>
                      <a:pt x="80" y="18"/>
                      <a:pt x="80" y="17"/>
                      <a:pt x="80" y="16"/>
                    </a:cubicBezTo>
                    <a:cubicBezTo>
                      <a:pt x="80" y="15"/>
                      <a:pt x="80" y="13"/>
                      <a:pt x="80" y="12"/>
                    </a:cubicBezTo>
                    <a:cubicBezTo>
                      <a:pt x="80" y="11"/>
                      <a:pt x="81" y="9"/>
                      <a:pt x="81" y="8"/>
                    </a:cubicBezTo>
                    <a:cubicBezTo>
                      <a:pt x="82" y="7"/>
                      <a:pt x="83" y="6"/>
                      <a:pt x="84" y="5"/>
                    </a:cubicBezTo>
                    <a:cubicBezTo>
                      <a:pt x="85" y="4"/>
                      <a:pt x="86" y="3"/>
                      <a:pt x="88" y="2"/>
                    </a:cubicBezTo>
                    <a:cubicBezTo>
                      <a:pt x="90" y="1"/>
                      <a:pt x="91" y="1"/>
                      <a:pt x="93" y="1"/>
                    </a:cubicBezTo>
                    <a:cubicBezTo>
                      <a:pt x="95" y="0"/>
                      <a:pt x="96" y="0"/>
                      <a:pt x="98" y="0"/>
                    </a:cubicBezTo>
                    <a:cubicBezTo>
                      <a:pt x="100" y="1"/>
                      <a:pt x="101" y="1"/>
                      <a:pt x="103" y="2"/>
                    </a:cubicBezTo>
                    <a:cubicBezTo>
                      <a:pt x="104" y="4"/>
                      <a:pt x="105" y="7"/>
                      <a:pt x="106" y="9"/>
                    </a:cubicBezTo>
                    <a:cubicBezTo>
                      <a:pt x="106" y="12"/>
                      <a:pt x="107" y="14"/>
                      <a:pt x="106" y="17"/>
                    </a:cubicBezTo>
                    <a:cubicBezTo>
                      <a:pt x="106" y="19"/>
                      <a:pt x="106" y="22"/>
                      <a:pt x="105" y="24"/>
                    </a:cubicBezTo>
                    <a:cubicBezTo>
                      <a:pt x="104" y="26"/>
                      <a:pt x="103" y="29"/>
                      <a:pt x="102" y="31"/>
                    </a:cubicBezTo>
                    <a:cubicBezTo>
                      <a:pt x="98" y="35"/>
                      <a:pt x="94" y="39"/>
                      <a:pt x="90" y="4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5" name="iṥḷíde">
                <a:extLst>
                  <a:ext uri="{FF2B5EF4-FFF2-40B4-BE49-F238E27FC236}">
                    <a16:creationId xmlns:a16="http://schemas.microsoft.com/office/drawing/2014/main" id="{AFC2D787-D221-4168-9517-CB3F8A6C97BC}"/>
                  </a:ext>
                </a:extLst>
              </p:cNvPr>
              <p:cNvSpPr/>
              <p:nvPr/>
            </p:nvSpPr>
            <p:spPr>
              <a:xfrm flipH="1">
                <a:off x="9813532" y="1837140"/>
                <a:ext cx="245504" cy="245504"/>
              </a:xfrm>
              <a:custGeom>
                <a:avLst/>
                <a:gdLst/>
                <a:ahLst/>
                <a:cxnLst/>
                <a:rect l="l" t="t" r="r" b="b"/>
                <a:pathLst>
                  <a:path w="187" h="187" extrusionOk="0">
                    <a:moveTo>
                      <a:pt x="185" y="67"/>
                    </a:moveTo>
                    <a:cubicBezTo>
                      <a:pt x="183" y="70"/>
                      <a:pt x="180" y="73"/>
                      <a:pt x="178" y="75"/>
                    </a:cubicBezTo>
                    <a:cubicBezTo>
                      <a:pt x="175" y="78"/>
                      <a:pt x="172" y="80"/>
                      <a:pt x="169" y="82"/>
                    </a:cubicBezTo>
                    <a:cubicBezTo>
                      <a:pt x="166" y="84"/>
                      <a:pt x="163" y="86"/>
                      <a:pt x="159" y="88"/>
                    </a:cubicBezTo>
                    <a:cubicBezTo>
                      <a:pt x="156" y="90"/>
                      <a:pt x="153" y="92"/>
                      <a:pt x="150" y="94"/>
                    </a:cubicBezTo>
                    <a:cubicBezTo>
                      <a:pt x="142" y="98"/>
                      <a:pt x="134" y="102"/>
                      <a:pt x="126" y="106"/>
                    </a:cubicBezTo>
                    <a:cubicBezTo>
                      <a:pt x="119" y="111"/>
                      <a:pt x="111" y="115"/>
                      <a:pt x="103" y="120"/>
                    </a:cubicBezTo>
                    <a:cubicBezTo>
                      <a:pt x="95" y="126"/>
                      <a:pt x="86" y="132"/>
                      <a:pt x="78" y="139"/>
                    </a:cubicBezTo>
                    <a:cubicBezTo>
                      <a:pt x="70" y="146"/>
                      <a:pt x="62" y="152"/>
                      <a:pt x="53" y="159"/>
                    </a:cubicBezTo>
                    <a:cubicBezTo>
                      <a:pt x="50" y="162"/>
                      <a:pt x="46" y="165"/>
                      <a:pt x="43" y="168"/>
                    </a:cubicBezTo>
                    <a:cubicBezTo>
                      <a:pt x="39" y="171"/>
                      <a:pt x="36" y="174"/>
                      <a:pt x="33" y="177"/>
                    </a:cubicBezTo>
                    <a:cubicBezTo>
                      <a:pt x="31" y="178"/>
                      <a:pt x="29" y="179"/>
                      <a:pt x="27" y="181"/>
                    </a:cubicBezTo>
                    <a:cubicBezTo>
                      <a:pt x="26" y="182"/>
                      <a:pt x="24" y="183"/>
                      <a:pt x="22" y="184"/>
                    </a:cubicBezTo>
                    <a:cubicBezTo>
                      <a:pt x="20" y="185"/>
                      <a:pt x="18" y="186"/>
                      <a:pt x="16" y="186"/>
                    </a:cubicBezTo>
                    <a:cubicBezTo>
                      <a:pt x="14" y="187"/>
                      <a:pt x="12" y="187"/>
                      <a:pt x="10" y="186"/>
                    </a:cubicBezTo>
                    <a:cubicBezTo>
                      <a:pt x="7" y="185"/>
                      <a:pt x="5" y="183"/>
                      <a:pt x="3" y="180"/>
                    </a:cubicBezTo>
                    <a:cubicBezTo>
                      <a:pt x="1" y="178"/>
                      <a:pt x="0" y="175"/>
                      <a:pt x="0" y="172"/>
                    </a:cubicBezTo>
                    <a:cubicBezTo>
                      <a:pt x="0" y="169"/>
                      <a:pt x="0" y="166"/>
                      <a:pt x="1" y="163"/>
                    </a:cubicBezTo>
                    <a:cubicBezTo>
                      <a:pt x="1" y="160"/>
                      <a:pt x="3" y="157"/>
                      <a:pt x="5" y="155"/>
                    </a:cubicBezTo>
                    <a:cubicBezTo>
                      <a:pt x="8" y="150"/>
                      <a:pt x="12" y="145"/>
                      <a:pt x="16" y="141"/>
                    </a:cubicBezTo>
                    <a:cubicBezTo>
                      <a:pt x="21" y="137"/>
                      <a:pt x="25" y="133"/>
                      <a:pt x="30" y="130"/>
                    </a:cubicBezTo>
                    <a:cubicBezTo>
                      <a:pt x="35" y="126"/>
                      <a:pt x="40" y="122"/>
                      <a:pt x="45" y="119"/>
                    </a:cubicBezTo>
                    <a:cubicBezTo>
                      <a:pt x="50" y="116"/>
                      <a:pt x="56" y="113"/>
                      <a:pt x="61" y="109"/>
                    </a:cubicBezTo>
                    <a:cubicBezTo>
                      <a:pt x="56" y="107"/>
                      <a:pt x="52" y="104"/>
                      <a:pt x="50" y="100"/>
                    </a:cubicBezTo>
                    <a:cubicBezTo>
                      <a:pt x="47" y="96"/>
                      <a:pt x="46" y="92"/>
                      <a:pt x="45" y="88"/>
                    </a:cubicBezTo>
                    <a:cubicBezTo>
                      <a:pt x="44" y="83"/>
                      <a:pt x="43" y="79"/>
                      <a:pt x="43" y="74"/>
                    </a:cubicBezTo>
                    <a:cubicBezTo>
                      <a:pt x="44" y="69"/>
                      <a:pt x="45" y="64"/>
                      <a:pt x="46" y="60"/>
                    </a:cubicBezTo>
                    <a:cubicBezTo>
                      <a:pt x="48" y="51"/>
                      <a:pt x="51" y="43"/>
                      <a:pt x="56" y="34"/>
                    </a:cubicBezTo>
                    <a:cubicBezTo>
                      <a:pt x="60" y="26"/>
                      <a:pt x="65" y="18"/>
                      <a:pt x="70" y="11"/>
                    </a:cubicBezTo>
                    <a:cubicBezTo>
                      <a:pt x="72" y="9"/>
                      <a:pt x="73" y="7"/>
                      <a:pt x="75" y="6"/>
                    </a:cubicBezTo>
                    <a:cubicBezTo>
                      <a:pt x="77" y="4"/>
                      <a:pt x="79" y="3"/>
                      <a:pt x="81" y="2"/>
                    </a:cubicBezTo>
                    <a:cubicBezTo>
                      <a:pt x="84" y="1"/>
                      <a:pt x="86" y="0"/>
                      <a:pt x="89" y="0"/>
                    </a:cubicBezTo>
                    <a:cubicBezTo>
                      <a:pt x="91" y="0"/>
                      <a:pt x="93" y="0"/>
                      <a:pt x="96" y="1"/>
                    </a:cubicBezTo>
                    <a:cubicBezTo>
                      <a:pt x="98" y="2"/>
                      <a:pt x="100" y="4"/>
                      <a:pt x="100" y="5"/>
                    </a:cubicBezTo>
                    <a:cubicBezTo>
                      <a:pt x="101" y="7"/>
                      <a:pt x="101" y="9"/>
                      <a:pt x="101" y="11"/>
                    </a:cubicBezTo>
                    <a:cubicBezTo>
                      <a:pt x="101" y="13"/>
                      <a:pt x="101" y="15"/>
                      <a:pt x="100" y="17"/>
                    </a:cubicBezTo>
                    <a:cubicBezTo>
                      <a:pt x="99" y="19"/>
                      <a:pt x="99" y="21"/>
                      <a:pt x="98" y="23"/>
                    </a:cubicBezTo>
                    <a:cubicBezTo>
                      <a:pt x="95" y="29"/>
                      <a:pt x="92" y="35"/>
                      <a:pt x="89" y="41"/>
                    </a:cubicBezTo>
                    <a:cubicBezTo>
                      <a:pt x="86" y="46"/>
                      <a:pt x="83" y="52"/>
                      <a:pt x="80" y="58"/>
                    </a:cubicBezTo>
                    <a:cubicBezTo>
                      <a:pt x="80" y="60"/>
                      <a:pt x="79" y="63"/>
                      <a:pt x="78" y="65"/>
                    </a:cubicBezTo>
                    <a:cubicBezTo>
                      <a:pt x="78" y="68"/>
                      <a:pt x="77" y="70"/>
                      <a:pt x="78" y="73"/>
                    </a:cubicBezTo>
                    <a:cubicBezTo>
                      <a:pt x="78" y="75"/>
                      <a:pt x="78" y="77"/>
                      <a:pt x="79" y="79"/>
                    </a:cubicBezTo>
                    <a:cubicBezTo>
                      <a:pt x="81" y="81"/>
                      <a:pt x="82" y="83"/>
                      <a:pt x="85" y="84"/>
                    </a:cubicBezTo>
                    <a:cubicBezTo>
                      <a:pt x="89" y="85"/>
                      <a:pt x="93" y="84"/>
                      <a:pt x="97" y="83"/>
                    </a:cubicBezTo>
                    <a:cubicBezTo>
                      <a:pt x="100" y="82"/>
                      <a:pt x="104" y="80"/>
                      <a:pt x="108" y="78"/>
                    </a:cubicBezTo>
                    <a:cubicBezTo>
                      <a:pt x="111" y="76"/>
                      <a:pt x="115" y="73"/>
                      <a:pt x="118" y="71"/>
                    </a:cubicBezTo>
                    <a:cubicBezTo>
                      <a:pt x="121" y="69"/>
                      <a:pt x="125" y="66"/>
                      <a:pt x="128" y="64"/>
                    </a:cubicBezTo>
                    <a:cubicBezTo>
                      <a:pt x="131" y="62"/>
                      <a:pt x="135" y="60"/>
                      <a:pt x="138" y="57"/>
                    </a:cubicBezTo>
                    <a:cubicBezTo>
                      <a:pt x="141" y="55"/>
                      <a:pt x="145" y="52"/>
                      <a:pt x="148" y="50"/>
                    </a:cubicBezTo>
                    <a:cubicBezTo>
                      <a:pt x="151" y="48"/>
                      <a:pt x="155" y="45"/>
                      <a:pt x="158" y="43"/>
                    </a:cubicBezTo>
                    <a:cubicBezTo>
                      <a:pt x="162" y="41"/>
                      <a:pt x="165" y="39"/>
                      <a:pt x="169" y="38"/>
                    </a:cubicBezTo>
                    <a:cubicBezTo>
                      <a:pt x="171" y="37"/>
                      <a:pt x="173" y="37"/>
                      <a:pt x="174" y="38"/>
                    </a:cubicBezTo>
                    <a:cubicBezTo>
                      <a:pt x="176" y="38"/>
                      <a:pt x="177" y="39"/>
                      <a:pt x="179" y="40"/>
                    </a:cubicBezTo>
                    <a:cubicBezTo>
                      <a:pt x="181" y="42"/>
                      <a:pt x="182" y="43"/>
                      <a:pt x="184" y="46"/>
                    </a:cubicBezTo>
                    <a:cubicBezTo>
                      <a:pt x="185" y="48"/>
                      <a:pt x="186" y="50"/>
                      <a:pt x="187" y="52"/>
                    </a:cubicBezTo>
                    <a:cubicBezTo>
                      <a:pt x="187" y="55"/>
                      <a:pt x="187" y="57"/>
                      <a:pt x="187" y="60"/>
                    </a:cubicBezTo>
                    <a:cubicBezTo>
                      <a:pt x="187" y="62"/>
                      <a:pt x="186" y="64"/>
                      <a:pt x="185" y="6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6" name="íşľïḍe">
                <a:extLst>
                  <a:ext uri="{FF2B5EF4-FFF2-40B4-BE49-F238E27FC236}">
                    <a16:creationId xmlns:a16="http://schemas.microsoft.com/office/drawing/2014/main" id="{49A2125C-B348-4F2A-BFA3-E2AC060194F7}"/>
                  </a:ext>
                </a:extLst>
              </p:cNvPr>
              <p:cNvSpPr/>
              <p:nvPr/>
            </p:nvSpPr>
            <p:spPr>
              <a:xfrm flipH="1">
                <a:off x="9979053" y="1629962"/>
                <a:ext cx="166631" cy="225508"/>
              </a:xfrm>
              <a:custGeom>
                <a:avLst/>
                <a:gdLst/>
                <a:ahLst/>
                <a:cxnLst/>
                <a:rect l="l" t="t" r="r" b="b"/>
                <a:pathLst>
                  <a:path w="127" h="172" extrusionOk="0">
                    <a:moveTo>
                      <a:pt x="122" y="79"/>
                    </a:moveTo>
                    <a:cubicBezTo>
                      <a:pt x="124" y="83"/>
                      <a:pt x="125" y="87"/>
                      <a:pt x="126" y="91"/>
                    </a:cubicBezTo>
                    <a:cubicBezTo>
                      <a:pt x="127" y="95"/>
                      <a:pt x="127" y="99"/>
                      <a:pt x="126" y="103"/>
                    </a:cubicBezTo>
                    <a:cubicBezTo>
                      <a:pt x="126" y="108"/>
                      <a:pt x="125" y="112"/>
                      <a:pt x="124" y="116"/>
                    </a:cubicBezTo>
                    <a:cubicBezTo>
                      <a:pt x="123" y="120"/>
                      <a:pt x="121" y="124"/>
                      <a:pt x="120" y="128"/>
                    </a:cubicBezTo>
                    <a:cubicBezTo>
                      <a:pt x="116" y="135"/>
                      <a:pt x="112" y="142"/>
                      <a:pt x="107" y="149"/>
                    </a:cubicBezTo>
                    <a:cubicBezTo>
                      <a:pt x="101" y="155"/>
                      <a:pt x="95" y="160"/>
                      <a:pt x="88" y="164"/>
                    </a:cubicBezTo>
                    <a:cubicBezTo>
                      <a:pt x="84" y="167"/>
                      <a:pt x="79" y="168"/>
                      <a:pt x="75" y="170"/>
                    </a:cubicBezTo>
                    <a:cubicBezTo>
                      <a:pt x="70" y="171"/>
                      <a:pt x="65" y="172"/>
                      <a:pt x="61" y="172"/>
                    </a:cubicBezTo>
                    <a:cubicBezTo>
                      <a:pt x="58" y="170"/>
                      <a:pt x="56" y="168"/>
                      <a:pt x="53" y="166"/>
                    </a:cubicBezTo>
                    <a:cubicBezTo>
                      <a:pt x="51" y="163"/>
                      <a:pt x="49" y="161"/>
                      <a:pt x="47" y="158"/>
                    </a:cubicBezTo>
                    <a:cubicBezTo>
                      <a:pt x="46" y="156"/>
                      <a:pt x="46" y="156"/>
                      <a:pt x="46" y="156"/>
                    </a:cubicBezTo>
                    <a:cubicBezTo>
                      <a:pt x="47" y="155"/>
                      <a:pt x="47" y="155"/>
                      <a:pt x="47" y="155"/>
                    </a:cubicBezTo>
                    <a:cubicBezTo>
                      <a:pt x="49" y="154"/>
                      <a:pt x="51" y="153"/>
                      <a:pt x="53" y="153"/>
                    </a:cubicBezTo>
                    <a:cubicBezTo>
                      <a:pt x="55" y="152"/>
                      <a:pt x="57" y="152"/>
                      <a:pt x="59" y="151"/>
                    </a:cubicBezTo>
                    <a:cubicBezTo>
                      <a:pt x="61" y="151"/>
                      <a:pt x="63" y="150"/>
                      <a:pt x="65" y="149"/>
                    </a:cubicBezTo>
                    <a:cubicBezTo>
                      <a:pt x="66" y="149"/>
                      <a:pt x="68" y="148"/>
                      <a:pt x="70" y="147"/>
                    </a:cubicBezTo>
                    <a:cubicBezTo>
                      <a:pt x="73" y="145"/>
                      <a:pt x="76" y="143"/>
                      <a:pt x="80" y="141"/>
                    </a:cubicBezTo>
                    <a:cubicBezTo>
                      <a:pt x="83" y="139"/>
                      <a:pt x="86" y="136"/>
                      <a:pt x="89" y="133"/>
                    </a:cubicBezTo>
                    <a:cubicBezTo>
                      <a:pt x="92" y="130"/>
                      <a:pt x="94" y="127"/>
                      <a:pt x="96" y="124"/>
                    </a:cubicBezTo>
                    <a:cubicBezTo>
                      <a:pt x="99" y="120"/>
                      <a:pt x="100" y="117"/>
                      <a:pt x="102" y="113"/>
                    </a:cubicBezTo>
                    <a:cubicBezTo>
                      <a:pt x="103" y="110"/>
                      <a:pt x="103" y="106"/>
                      <a:pt x="103" y="102"/>
                    </a:cubicBezTo>
                    <a:cubicBezTo>
                      <a:pt x="103" y="98"/>
                      <a:pt x="102" y="94"/>
                      <a:pt x="100" y="91"/>
                    </a:cubicBezTo>
                    <a:cubicBezTo>
                      <a:pt x="99" y="90"/>
                      <a:pt x="98" y="89"/>
                      <a:pt x="98" y="88"/>
                    </a:cubicBezTo>
                    <a:cubicBezTo>
                      <a:pt x="97" y="86"/>
                      <a:pt x="96" y="85"/>
                      <a:pt x="96" y="84"/>
                    </a:cubicBezTo>
                    <a:cubicBezTo>
                      <a:pt x="95" y="83"/>
                      <a:pt x="94" y="83"/>
                      <a:pt x="93" y="82"/>
                    </a:cubicBezTo>
                    <a:cubicBezTo>
                      <a:pt x="92" y="82"/>
                      <a:pt x="91" y="82"/>
                      <a:pt x="90" y="83"/>
                    </a:cubicBezTo>
                    <a:cubicBezTo>
                      <a:pt x="87" y="84"/>
                      <a:pt x="84" y="86"/>
                      <a:pt x="82" y="88"/>
                    </a:cubicBezTo>
                    <a:cubicBezTo>
                      <a:pt x="79" y="90"/>
                      <a:pt x="77" y="92"/>
                      <a:pt x="74" y="94"/>
                    </a:cubicBezTo>
                    <a:cubicBezTo>
                      <a:pt x="72" y="96"/>
                      <a:pt x="69" y="98"/>
                      <a:pt x="67" y="100"/>
                    </a:cubicBezTo>
                    <a:cubicBezTo>
                      <a:pt x="64" y="101"/>
                      <a:pt x="61" y="103"/>
                      <a:pt x="59" y="105"/>
                    </a:cubicBezTo>
                    <a:cubicBezTo>
                      <a:pt x="57" y="107"/>
                      <a:pt x="54" y="108"/>
                      <a:pt x="52" y="109"/>
                    </a:cubicBezTo>
                    <a:cubicBezTo>
                      <a:pt x="50" y="111"/>
                      <a:pt x="47" y="112"/>
                      <a:pt x="45" y="113"/>
                    </a:cubicBezTo>
                    <a:cubicBezTo>
                      <a:pt x="42" y="114"/>
                      <a:pt x="40" y="115"/>
                      <a:pt x="37" y="115"/>
                    </a:cubicBezTo>
                    <a:cubicBezTo>
                      <a:pt x="35" y="115"/>
                      <a:pt x="32" y="116"/>
                      <a:pt x="29" y="115"/>
                    </a:cubicBezTo>
                    <a:cubicBezTo>
                      <a:pt x="27" y="115"/>
                      <a:pt x="24" y="114"/>
                      <a:pt x="22" y="113"/>
                    </a:cubicBezTo>
                    <a:cubicBezTo>
                      <a:pt x="20" y="112"/>
                      <a:pt x="18" y="110"/>
                      <a:pt x="16" y="109"/>
                    </a:cubicBezTo>
                    <a:cubicBezTo>
                      <a:pt x="14" y="107"/>
                      <a:pt x="13" y="105"/>
                      <a:pt x="11" y="103"/>
                    </a:cubicBezTo>
                    <a:cubicBezTo>
                      <a:pt x="10" y="101"/>
                      <a:pt x="9" y="98"/>
                      <a:pt x="7" y="96"/>
                    </a:cubicBezTo>
                    <a:cubicBezTo>
                      <a:pt x="4" y="89"/>
                      <a:pt x="1" y="82"/>
                      <a:pt x="1" y="74"/>
                    </a:cubicBezTo>
                    <a:cubicBezTo>
                      <a:pt x="0" y="66"/>
                      <a:pt x="0" y="58"/>
                      <a:pt x="2" y="50"/>
                    </a:cubicBezTo>
                    <a:cubicBezTo>
                      <a:pt x="2" y="46"/>
                      <a:pt x="3" y="42"/>
                      <a:pt x="5" y="38"/>
                    </a:cubicBezTo>
                    <a:cubicBezTo>
                      <a:pt x="6" y="34"/>
                      <a:pt x="8" y="31"/>
                      <a:pt x="10" y="27"/>
                    </a:cubicBezTo>
                    <a:cubicBezTo>
                      <a:pt x="12" y="24"/>
                      <a:pt x="14" y="21"/>
                      <a:pt x="17" y="18"/>
                    </a:cubicBezTo>
                    <a:cubicBezTo>
                      <a:pt x="20" y="15"/>
                      <a:pt x="23" y="12"/>
                      <a:pt x="26" y="10"/>
                    </a:cubicBezTo>
                    <a:cubicBezTo>
                      <a:pt x="30" y="8"/>
                      <a:pt x="34" y="5"/>
                      <a:pt x="39" y="4"/>
                    </a:cubicBezTo>
                    <a:cubicBezTo>
                      <a:pt x="43" y="2"/>
                      <a:pt x="48" y="1"/>
                      <a:pt x="53" y="0"/>
                    </a:cubicBezTo>
                    <a:cubicBezTo>
                      <a:pt x="58" y="0"/>
                      <a:pt x="62" y="0"/>
                      <a:pt x="67" y="2"/>
                    </a:cubicBezTo>
                    <a:cubicBezTo>
                      <a:pt x="71" y="3"/>
                      <a:pt x="76" y="5"/>
                      <a:pt x="79" y="8"/>
                    </a:cubicBezTo>
                    <a:cubicBezTo>
                      <a:pt x="80" y="8"/>
                      <a:pt x="80" y="9"/>
                      <a:pt x="81" y="9"/>
                    </a:cubicBezTo>
                    <a:cubicBezTo>
                      <a:pt x="81" y="10"/>
                      <a:pt x="82" y="10"/>
                      <a:pt x="82" y="11"/>
                    </a:cubicBezTo>
                    <a:cubicBezTo>
                      <a:pt x="83" y="11"/>
                      <a:pt x="83" y="12"/>
                      <a:pt x="83" y="13"/>
                    </a:cubicBezTo>
                    <a:cubicBezTo>
                      <a:pt x="83" y="14"/>
                      <a:pt x="82" y="14"/>
                      <a:pt x="82" y="15"/>
                    </a:cubicBezTo>
                    <a:cubicBezTo>
                      <a:pt x="82" y="15"/>
                      <a:pt x="81" y="16"/>
                      <a:pt x="81" y="16"/>
                    </a:cubicBezTo>
                    <a:cubicBezTo>
                      <a:pt x="80" y="17"/>
                      <a:pt x="79" y="17"/>
                      <a:pt x="79" y="17"/>
                    </a:cubicBezTo>
                    <a:cubicBezTo>
                      <a:pt x="76" y="19"/>
                      <a:pt x="74" y="20"/>
                      <a:pt x="71" y="20"/>
                    </a:cubicBezTo>
                    <a:cubicBezTo>
                      <a:pt x="68" y="21"/>
                      <a:pt x="66" y="22"/>
                      <a:pt x="63" y="22"/>
                    </a:cubicBezTo>
                    <a:cubicBezTo>
                      <a:pt x="60" y="23"/>
                      <a:pt x="57" y="24"/>
                      <a:pt x="54" y="24"/>
                    </a:cubicBezTo>
                    <a:cubicBezTo>
                      <a:pt x="52" y="25"/>
                      <a:pt x="49" y="26"/>
                      <a:pt x="47" y="28"/>
                    </a:cubicBezTo>
                    <a:cubicBezTo>
                      <a:pt x="42" y="30"/>
                      <a:pt x="39" y="33"/>
                      <a:pt x="35" y="37"/>
                    </a:cubicBezTo>
                    <a:cubicBezTo>
                      <a:pt x="32" y="41"/>
                      <a:pt x="30" y="46"/>
                      <a:pt x="28" y="50"/>
                    </a:cubicBezTo>
                    <a:cubicBezTo>
                      <a:pt x="27" y="53"/>
                      <a:pt x="26" y="55"/>
                      <a:pt x="25" y="57"/>
                    </a:cubicBezTo>
                    <a:cubicBezTo>
                      <a:pt x="25" y="60"/>
                      <a:pt x="25" y="62"/>
                      <a:pt x="25" y="65"/>
                    </a:cubicBezTo>
                    <a:cubicBezTo>
                      <a:pt x="24" y="67"/>
                      <a:pt x="25" y="70"/>
                      <a:pt x="25" y="72"/>
                    </a:cubicBezTo>
                    <a:cubicBezTo>
                      <a:pt x="26" y="74"/>
                      <a:pt x="27" y="77"/>
                      <a:pt x="28" y="79"/>
                    </a:cubicBezTo>
                    <a:cubicBezTo>
                      <a:pt x="28" y="81"/>
                      <a:pt x="29" y="82"/>
                      <a:pt x="31" y="83"/>
                    </a:cubicBezTo>
                    <a:cubicBezTo>
                      <a:pt x="32" y="84"/>
                      <a:pt x="33" y="85"/>
                      <a:pt x="35" y="85"/>
                    </a:cubicBezTo>
                    <a:cubicBezTo>
                      <a:pt x="36" y="86"/>
                      <a:pt x="38" y="86"/>
                      <a:pt x="40" y="85"/>
                    </a:cubicBezTo>
                    <a:cubicBezTo>
                      <a:pt x="41" y="85"/>
                      <a:pt x="43" y="84"/>
                      <a:pt x="44" y="83"/>
                    </a:cubicBezTo>
                    <a:cubicBezTo>
                      <a:pt x="46" y="82"/>
                      <a:pt x="48" y="80"/>
                      <a:pt x="50" y="78"/>
                    </a:cubicBezTo>
                    <a:cubicBezTo>
                      <a:pt x="52" y="77"/>
                      <a:pt x="54" y="75"/>
                      <a:pt x="56" y="73"/>
                    </a:cubicBezTo>
                    <a:cubicBezTo>
                      <a:pt x="58" y="71"/>
                      <a:pt x="60" y="69"/>
                      <a:pt x="62" y="67"/>
                    </a:cubicBezTo>
                    <a:cubicBezTo>
                      <a:pt x="64" y="65"/>
                      <a:pt x="66" y="64"/>
                      <a:pt x="68" y="62"/>
                    </a:cubicBezTo>
                    <a:cubicBezTo>
                      <a:pt x="73" y="59"/>
                      <a:pt x="78" y="57"/>
                      <a:pt x="83" y="56"/>
                    </a:cubicBezTo>
                    <a:cubicBezTo>
                      <a:pt x="89" y="55"/>
                      <a:pt x="95" y="55"/>
                      <a:pt x="100" y="57"/>
                    </a:cubicBezTo>
                    <a:cubicBezTo>
                      <a:pt x="105" y="59"/>
                      <a:pt x="109" y="62"/>
                      <a:pt x="113" y="66"/>
                    </a:cubicBezTo>
                    <a:cubicBezTo>
                      <a:pt x="117" y="70"/>
                      <a:pt x="120" y="75"/>
                      <a:pt x="122" y="7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7" name="isľîďê">
                <a:extLst>
                  <a:ext uri="{FF2B5EF4-FFF2-40B4-BE49-F238E27FC236}">
                    <a16:creationId xmlns:a16="http://schemas.microsoft.com/office/drawing/2014/main" id="{EF55B0D1-BBCE-4E29-BA04-48B2EFBDBBA6}"/>
                  </a:ext>
                </a:extLst>
              </p:cNvPr>
              <p:cNvSpPr/>
              <p:nvPr/>
            </p:nvSpPr>
            <p:spPr>
              <a:xfrm flipH="1">
                <a:off x="10225667" y="1551089"/>
                <a:ext cx="311601" cy="311047"/>
              </a:xfrm>
              <a:custGeom>
                <a:avLst/>
                <a:gdLst/>
                <a:ahLst/>
                <a:cxnLst/>
                <a:rect l="l" t="t" r="r" b="b"/>
                <a:pathLst>
                  <a:path w="237" h="237" extrusionOk="0">
                    <a:moveTo>
                      <a:pt x="121" y="223"/>
                    </a:moveTo>
                    <a:cubicBezTo>
                      <a:pt x="119" y="225"/>
                      <a:pt x="117" y="227"/>
                      <a:pt x="114" y="229"/>
                    </a:cubicBezTo>
                    <a:cubicBezTo>
                      <a:pt x="112" y="230"/>
                      <a:pt x="109" y="232"/>
                      <a:pt x="106" y="233"/>
                    </a:cubicBezTo>
                    <a:cubicBezTo>
                      <a:pt x="103" y="235"/>
                      <a:pt x="101" y="236"/>
                      <a:pt x="98" y="236"/>
                    </a:cubicBezTo>
                    <a:cubicBezTo>
                      <a:pt x="95" y="237"/>
                      <a:pt x="92" y="236"/>
                      <a:pt x="89" y="235"/>
                    </a:cubicBezTo>
                    <a:cubicBezTo>
                      <a:pt x="87" y="234"/>
                      <a:pt x="85" y="232"/>
                      <a:pt x="84" y="230"/>
                    </a:cubicBezTo>
                    <a:cubicBezTo>
                      <a:pt x="83" y="228"/>
                      <a:pt x="82" y="226"/>
                      <a:pt x="82" y="224"/>
                    </a:cubicBezTo>
                    <a:cubicBezTo>
                      <a:pt x="81" y="222"/>
                      <a:pt x="81" y="220"/>
                      <a:pt x="82" y="218"/>
                    </a:cubicBezTo>
                    <a:cubicBezTo>
                      <a:pt x="82" y="215"/>
                      <a:pt x="83" y="213"/>
                      <a:pt x="84" y="211"/>
                    </a:cubicBezTo>
                    <a:cubicBezTo>
                      <a:pt x="85" y="208"/>
                      <a:pt x="87" y="205"/>
                      <a:pt x="89" y="203"/>
                    </a:cubicBezTo>
                    <a:cubicBezTo>
                      <a:pt x="91" y="200"/>
                      <a:pt x="93" y="197"/>
                      <a:pt x="95" y="195"/>
                    </a:cubicBezTo>
                    <a:cubicBezTo>
                      <a:pt x="97" y="192"/>
                      <a:pt x="100" y="189"/>
                      <a:pt x="102" y="187"/>
                    </a:cubicBezTo>
                    <a:cubicBezTo>
                      <a:pt x="104" y="184"/>
                      <a:pt x="107" y="182"/>
                      <a:pt x="109" y="179"/>
                    </a:cubicBezTo>
                    <a:cubicBezTo>
                      <a:pt x="112" y="176"/>
                      <a:pt x="115" y="172"/>
                      <a:pt x="118" y="168"/>
                    </a:cubicBezTo>
                    <a:cubicBezTo>
                      <a:pt x="121" y="164"/>
                      <a:pt x="123" y="160"/>
                      <a:pt x="125" y="155"/>
                    </a:cubicBezTo>
                    <a:cubicBezTo>
                      <a:pt x="123" y="153"/>
                      <a:pt x="121" y="151"/>
                      <a:pt x="118" y="149"/>
                    </a:cubicBezTo>
                    <a:cubicBezTo>
                      <a:pt x="116" y="146"/>
                      <a:pt x="114" y="144"/>
                      <a:pt x="112" y="142"/>
                    </a:cubicBezTo>
                    <a:cubicBezTo>
                      <a:pt x="108" y="140"/>
                      <a:pt x="105" y="137"/>
                      <a:pt x="102" y="135"/>
                    </a:cubicBezTo>
                    <a:cubicBezTo>
                      <a:pt x="98" y="133"/>
                      <a:pt x="95" y="130"/>
                      <a:pt x="92" y="128"/>
                    </a:cubicBezTo>
                    <a:cubicBezTo>
                      <a:pt x="89" y="125"/>
                      <a:pt x="85" y="123"/>
                      <a:pt x="82" y="120"/>
                    </a:cubicBezTo>
                    <a:cubicBezTo>
                      <a:pt x="79" y="118"/>
                      <a:pt x="76" y="115"/>
                      <a:pt x="73" y="113"/>
                    </a:cubicBezTo>
                    <a:cubicBezTo>
                      <a:pt x="67" y="120"/>
                      <a:pt x="61" y="127"/>
                      <a:pt x="56" y="135"/>
                    </a:cubicBezTo>
                    <a:cubicBezTo>
                      <a:pt x="51" y="142"/>
                      <a:pt x="45" y="149"/>
                      <a:pt x="39" y="156"/>
                    </a:cubicBezTo>
                    <a:cubicBezTo>
                      <a:pt x="36" y="158"/>
                      <a:pt x="34" y="160"/>
                      <a:pt x="31" y="163"/>
                    </a:cubicBezTo>
                    <a:cubicBezTo>
                      <a:pt x="29" y="165"/>
                      <a:pt x="26" y="167"/>
                      <a:pt x="23" y="168"/>
                    </a:cubicBezTo>
                    <a:cubicBezTo>
                      <a:pt x="20" y="171"/>
                      <a:pt x="16" y="172"/>
                      <a:pt x="13" y="172"/>
                    </a:cubicBezTo>
                    <a:cubicBezTo>
                      <a:pt x="10" y="172"/>
                      <a:pt x="7" y="172"/>
                      <a:pt x="6" y="169"/>
                    </a:cubicBezTo>
                    <a:cubicBezTo>
                      <a:pt x="3" y="166"/>
                      <a:pt x="2" y="163"/>
                      <a:pt x="1" y="160"/>
                    </a:cubicBezTo>
                    <a:cubicBezTo>
                      <a:pt x="0" y="156"/>
                      <a:pt x="0" y="153"/>
                      <a:pt x="0" y="149"/>
                    </a:cubicBezTo>
                    <a:cubicBezTo>
                      <a:pt x="1" y="145"/>
                      <a:pt x="1" y="142"/>
                      <a:pt x="3" y="139"/>
                    </a:cubicBezTo>
                    <a:cubicBezTo>
                      <a:pt x="4" y="135"/>
                      <a:pt x="6" y="132"/>
                      <a:pt x="8" y="129"/>
                    </a:cubicBezTo>
                    <a:cubicBezTo>
                      <a:pt x="10" y="126"/>
                      <a:pt x="13" y="123"/>
                      <a:pt x="16" y="120"/>
                    </a:cubicBezTo>
                    <a:cubicBezTo>
                      <a:pt x="18" y="116"/>
                      <a:pt x="21" y="113"/>
                      <a:pt x="24" y="110"/>
                    </a:cubicBezTo>
                    <a:cubicBezTo>
                      <a:pt x="30" y="104"/>
                      <a:pt x="36" y="98"/>
                      <a:pt x="42" y="92"/>
                    </a:cubicBezTo>
                    <a:cubicBezTo>
                      <a:pt x="48" y="86"/>
                      <a:pt x="54" y="80"/>
                      <a:pt x="61" y="75"/>
                    </a:cubicBezTo>
                    <a:cubicBezTo>
                      <a:pt x="67" y="69"/>
                      <a:pt x="74" y="63"/>
                      <a:pt x="80" y="57"/>
                    </a:cubicBezTo>
                    <a:cubicBezTo>
                      <a:pt x="87" y="51"/>
                      <a:pt x="93" y="45"/>
                      <a:pt x="100" y="39"/>
                    </a:cubicBezTo>
                    <a:cubicBezTo>
                      <a:pt x="103" y="37"/>
                      <a:pt x="105" y="35"/>
                      <a:pt x="108" y="33"/>
                    </a:cubicBezTo>
                    <a:cubicBezTo>
                      <a:pt x="110" y="31"/>
                      <a:pt x="112" y="29"/>
                      <a:pt x="115" y="26"/>
                    </a:cubicBezTo>
                    <a:cubicBezTo>
                      <a:pt x="117" y="24"/>
                      <a:pt x="120" y="22"/>
                      <a:pt x="122" y="20"/>
                    </a:cubicBezTo>
                    <a:cubicBezTo>
                      <a:pt x="125" y="17"/>
                      <a:pt x="127" y="15"/>
                      <a:pt x="130" y="13"/>
                    </a:cubicBezTo>
                    <a:cubicBezTo>
                      <a:pt x="132" y="11"/>
                      <a:pt x="134" y="10"/>
                      <a:pt x="136" y="8"/>
                    </a:cubicBezTo>
                    <a:cubicBezTo>
                      <a:pt x="139" y="6"/>
                      <a:pt x="141" y="5"/>
                      <a:pt x="144" y="3"/>
                    </a:cubicBezTo>
                    <a:cubicBezTo>
                      <a:pt x="146" y="2"/>
                      <a:pt x="149" y="1"/>
                      <a:pt x="151" y="0"/>
                    </a:cubicBezTo>
                    <a:cubicBezTo>
                      <a:pt x="154" y="0"/>
                      <a:pt x="157" y="0"/>
                      <a:pt x="160" y="1"/>
                    </a:cubicBezTo>
                    <a:cubicBezTo>
                      <a:pt x="163" y="4"/>
                      <a:pt x="166" y="6"/>
                      <a:pt x="168" y="10"/>
                    </a:cubicBezTo>
                    <a:cubicBezTo>
                      <a:pt x="170" y="13"/>
                      <a:pt x="170" y="17"/>
                      <a:pt x="170" y="21"/>
                    </a:cubicBezTo>
                    <a:cubicBezTo>
                      <a:pt x="170" y="25"/>
                      <a:pt x="169" y="29"/>
                      <a:pt x="167" y="33"/>
                    </a:cubicBezTo>
                    <a:cubicBezTo>
                      <a:pt x="165" y="37"/>
                      <a:pt x="163" y="40"/>
                      <a:pt x="160" y="44"/>
                    </a:cubicBezTo>
                    <a:cubicBezTo>
                      <a:pt x="158" y="45"/>
                      <a:pt x="158" y="45"/>
                      <a:pt x="158" y="45"/>
                    </a:cubicBezTo>
                    <a:cubicBezTo>
                      <a:pt x="155" y="47"/>
                      <a:pt x="155" y="47"/>
                      <a:pt x="155" y="47"/>
                    </a:cubicBezTo>
                    <a:cubicBezTo>
                      <a:pt x="155" y="48"/>
                      <a:pt x="155" y="48"/>
                      <a:pt x="155" y="48"/>
                    </a:cubicBezTo>
                    <a:cubicBezTo>
                      <a:pt x="151" y="51"/>
                      <a:pt x="148" y="54"/>
                      <a:pt x="145" y="56"/>
                    </a:cubicBezTo>
                    <a:cubicBezTo>
                      <a:pt x="141" y="59"/>
                      <a:pt x="138" y="62"/>
                      <a:pt x="134" y="64"/>
                    </a:cubicBezTo>
                    <a:cubicBezTo>
                      <a:pt x="130" y="67"/>
                      <a:pt x="126" y="69"/>
                      <a:pt x="123" y="72"/>
                    </a:cubicBezTo>
                    <a:cubicBezTo>
                      <a:pt x="119" y="74"/>
                      <a:pt x="116" y="77"/>
                      <a:pt x="112" y="80"/>
                    </a:cubicBezTo>
                    <a:cubicBezTo>
                      <a:pt x="112" y="81"/>
                      <a:pt x="111" y="82"/>
                      <a:pt x="110" y="83"/>
                    </a:cubicBezTo>
                    <a:cubicBezTo>
                      <a:pt x="109" y="84"/>
                      <a:pt x="109" y="85"/>
                      <a:pt x="108" y="86"/>
                    </a:cubicBezTo>
                    <a:cubicBezTo>
                      <a:pt x="116" y="92"/>
                      <a:pt x="123" y="98"/>
                      <a:pt x="130" y="104"/>
                    </a:cubicBezTo>
                    <a:cubicBezTo>
                      <a:pt x="138" y="111"/>
                      <a:pt x="145" y="117"/>
                      <a:pt x="153" y="123"/>
                    </a:cubicBezTo>
                    <a:cubicBezTo>
                      <a:pt x="154" y="124"/>
                      <a:pt x="155" y="124"/>
                      <a:pt x="156" y="124"/>
                    </a:cubicBezTo>
                    <a:cubicBezTo>
                      <a:pt x="157" y="124"/>
                      <a:pt x="158" y="123"/>
                      <a:pt x="159" y="123"/>
                    </a:cubicBezTo>
                    <a:cubicBezTo>
                      <a:pt x="161" y="122"/>
                      <a:pt x="162" y="121"/>
                      <a:pt x="162" y="120"/>
                    </a:cubicBezTo>
                    <a:cubicBezTo>
                      <a:pt x="163" y="119"/>
                      <a:pt x="164" y="119"/>
                      <a:pt x="165" y="118"/>
                    </a:cubicBezTo>
                    <a:cubicBezTo>
                      <a:pt x="169" y="114"/>
                      <a:pt x="172" y="110"/>
                      <a:pt x="176" y="106"/>
                    </a:cubicBezTo>
                    <a:cubicBezTo>
                      <a:pt x="179" y="102"/>
                      <a:pt x="183" y="98"/>
                      <a:pt x="186" y="94"/>
                    </a:cubicBezTo>
                    <a:cubicBezTo>
                      <a:pt x="189" y="90"/>
                      <a:pt x="192" y="86"/>
                      <a:pt x="196" y="82"/>
                    </a:cubicBezTo>
                    <a:cubicBezTo>
                      <a:pt x="199" y="78"/>
                      <a:pt x="203" y="74"/>
                      <a:pt x="206" y="70"/>
                    </a:cubicBezTo>
                    <a:cubicBezTo>
                      <a:pt x="208" y="69"/>
                      <a:pt x="210" y="67"/>
                      <a:pt x="212" y="66"/>
                    </a:cubicBezTo>
                    <a:cubicBezTo>
                      <a:pt x="214" y="64"/>
                      <a:pt x="216" y="62"/>
                      <a:pt x="218" y="61"/>
                    </a:cubicBezTo>
                    <a:cubicBezTo>
                      <a:pt x="220" y="60"/>
                      <a:pt x="223" y="59"/>
                      <a:pt x="225" y="59"/>
                    </a:cubicBezTo>
                    <a:cubicBezTo>
                      <a:pt x="227" y="59"/>
                      <a:pt x="230" y="60"/>
                      <a:pt x="232" y="62"/>
                    </a:cubicBezTo>
                    <a:cubicBezTo>
                      <a:pt x="234" y="64"/>
                      <a:pt x="236" y="68"/>
                      <a:pt x="236" y="71"/>
                    </a:cubicBezTo>
                    <a:cubicBezTo>
                      <a:pt x="237" y="74"/>
                      <a:pt x="237" y="77"/>
                      <a:pt x="237" y="81"/>
                    </a:cubicBezTo>
                    <a:cubicBezTo>
                      <a:pt x="236" y="84"/>
                      <a:pt x="236" y="88"/>
                      <a:pt x="234" y="91"/>
                    </a:cubicBezTo>
                    <a:cubicBezTo>
                      <a:pt x="233" y="95"/>
                      <a:pt x="232" y="98"/>
                      <a:pt x="230" y="101"/>
                    </a:cubicBezTo>
                    <a:cubicBezTo>
                      <a:pt x="227" y="107"/>
                      <a:pt x="223" y="113"/>
                      <a:pt x="219" y="119"/>
                    </a:cubicBezTo>
                    <a:cubicBezTo>
                      <a:pt x="214" y="125"/>
                      <a:pt x="210" y="131"/>
                      <a:pt x="204" y="136"/>
                    </a:cubicBezTo>
                    <a:cubicBezTo>
                      <a:pt x="202" y="139"/>
                      <a:pt x="200" y="141"/>
                      <a:pt x="198" y="143"/>
                    </a:cubicBezTo>
                    <a:cubicBezTo>
                      <a:pt x="195" y="145"/>
                      <a:pt x="193" y="147"/>
                      <a:pt x="191" y="149"/>
                    </a:cubicBezTo>
                    <a:cubicBezTo>
                      <a:pt x="176" y="163"/>
                      <a:pt x="176" y="163"/>
                      <a:pt x="176" y="163"/>
                    </a:cubicBezTo>
                    <a:cubicBezTo>
                      <a:pt x="171" y="168"/>
                      <a:pt x="167" y="174"/>
                      <a:pt x="162" y="179"/>
                    </a:cubicBezTo>
                    <a:cubicBezTo>
                      <a:pt x="157" y="184"/>
                      <a:pt x="153" y="189"/>
                      <a:pt x="148" y="195"/>
                    </a:cubicBezTo>
                    <a:cubicBezTo>
                      <a:pt x="144" y="200"/>
                      <a:pt x="140" y="205"/>
                      <a:pt x="136" y="210"/>
                    </a:cubicBezTo>
                    <a:cubicBezTo>
                      <a:pt x="131" y="214"/>
                      <a:pt x="126" y="219"/>
                      <a:pt x="121" y="22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8" name="îş1iḋe">
                <a:extLst>
                  <a:ext uri="{FF2B5EF4-FFF2-40B4-BE49-F238E27FC236}">
                    <a16:creationId xmlns:a16="http://schemas.microsoft.com/office/drawing/2014/main" id="{AE5C5FE1-2DF8-4919-9266-599900B8E376}"/>
                  </a:ext>
                </a:extLst>
              </p:cNvPr>
              <p:cNvSpPr/>
              <p:nvPr/>
            </p:nvSpPr>
            <p:spPr>
              <a:xfrm flipH="1">
                <a:off x="10040706" y="1388345"/>
                <a:ext cx="233839" cy="227175"/>
              </a:xfrm>
              <a:custGeom>
                <a:avLst/>
                <a:gdLst/>
                <a:ahLst/>
                <a:cxnLst/>
                <a:rect l="l" t="t" r="r" b="b"/>
                <a:pathLst>
                  <a:path w="178" h="173" extrusionOk="0">
                    <a:moveTo>
                      <a:pt x="172" y="75"/>
                    </a:moveTo>
                    <a:cubicBezTo>
                      <a:pt x="171" y="77"/>
                      <a:pt x="169" y="80"/>
                      <a:pt x="168" y="82"/>
                    </a:cubicBezTo>
                    <a:cubicBezTo>
                      <a:pt x="167" y="84"/>
                      <a:pt x="165" y="86"/>
                      <a:pt x="164" y="88"/>
                    </a:cubicBezTo>
                    <a:cubicBezTo>
                      <a:pt x="162" y="91"/>
                      <a:pt x="159" y="94"/>
                      <a:pt x="157" y="98"/>
                    </a:cubicBezTo>
                    <a:cubicBezTo>
                      <a:pt x="155" y="101"/>
                      <a:pt x="153" y="104"/>
                      <a:pt x="150" y="108"/>
                    </a:cubicBezTo>
                    <a:cubicBezTo>
                      <a:pt x="150" y="110"/>
                      <a:pt x="149" y="111"/>
                      <a:pt x="148" y="113"/>
                    </a:cubicBezTo>
                    <a:cubicBezTo>
                      <a:pt x="147" y="114"/>
                      <a:pt x="146" y="116"/>
                      <a:pt x="145" y="118"/>
                    </a:cubicBezTo>
                    <a:cubicBezTo>
                      <a:pt x="144" y="119"/>
                      <a:pt x="143" y="121"/>
                      <a:pt x="142" y="122"/>
                    </a:cubicBezTo>
                    <a:cubicBezTo>
                      <a:pt x="141" y="124"/>
                      <a:pt x="140" y="125"/>
                      <a:pt x="139" y="127"/>
                    </a:cubicBezTo>
                    <a:cubicBezTo>
                      <a:pt x="135" y="133"/>
                      <a:pt x="131" y="139"/>
                      <a:pt x="126" y="144"/>
                    </a:cubicBezTo>
                    <a:cubicBezTo>
                      <a:pt x="121" y="149"/>
                      <a:pt x="116" y="154"/>
                      <a:pt x="110" y="159"/>
                    </a:cubicBezTo>
                    <a:cubicBezTo>
                      <a:pt x="107" y="161"/>
                      <a:pt x="104" y="163"/>
                      <a:pt x="101" y="165"/>
                    </a:cubicBezTo>
                    <a:cubicBezTo>
                      <a:pt x="98" y="167"/>
                      <a:pt x="95" y="169"/>
                      <a:pt x="91" y="170"/>
                    </a:cubicBezTo>
                    <a:cubicBezTo>
                      <a:pt x="88" y="172"/>
                      <a:pt x="85" y="173"/>
                      <a:pt x="81" y="173"/>
                    </a:cubicBezTo>
                    <a:cubicBezTo>
                      <a:pt x="78" y="173"/>
                      <a:pt x="74" y="173"/>
                      <a:pt x="70" y="171"/>
                    </a:cubicBezTo>
                    <a:cubicBezTo>
                      <a:pt x="66" y="170"/>
                      <a:pt x="63" y="167"/>
                      <a:pt x="61" y="163"/>
                    </a:cubicBezTo>
                    <a:cubicBezTo>
                      <a:pt x="59" y="159"/>
                      <a:pt x="58" y="156"/>
                      <a:pt x="57" y="151"/>
                    </a:cubicBezTo>
                    <a:cubicBezTo>
                      <a:pt x="57" y="147"/>
                      <a:pt x="57" y="143"/>
                      <a:pt x="57" y="138"/>
                    </a:cubicBezTo>
                    <a:cubicBezTo>
                      <a:pt x="58" y="134"/>
                      <a:pt x="59" y="129"/>
                      <a:pt x="59" y="125"/>
                    </a:cubicBezTo>
                    <a:cubicBezTo>
                      <a:pt x="56" y="127"/>
                      <a:pt x="53" y="130"/>
                      <a:pt x="49" y="133"/>
                    </a:cubicBezTo>
                    <a:cubicBezTo>
                      <a:pt x="46" y="137"/>
                      <a:pt x="42" y="139"/>
                      <a:pt x="38" y="141"/>
                    </a:cubicBezTo>
                    <a:cubicBezTo>
                      <a:pt x="34" y="144"/>
                      <a:pt x="30" y="145"/>
                      <a:pt x="25" y="146"/>
                    </a:cubicBezTo>
                    <a:cubicBezTo>
                      <a:pt x="21" y="146"/>
                      <a:pt x="17" y="145"/>
                      <a:pt x="13" y="143"/>
                    </a:cubicBezTo>
                    <a:cubicBezTo>
                      <a:pt x="10" y="142"/>
                      <a:pt x="8" y="140"/>
                      <a:pt x="6" y="137"/>
                    </a:cubicBezTo>
                    <a:cubicBezTo>
                      <a:pt x="5" y="135"/>
                      <a:pt x="3" y="133"/>
                      <a:pt x="2" y="130"/>
                    </a:cubicBezTo>
                    <a:cubicBezTo>
                      <a:pt x="1" y="128"/>
                      <a:pt x="0" y="125"/>
                      <a:pt x="0" y="122"/>
                    </a:cubicBezTo>
                    <a:cubicBezTo>
                      <a:pt x="0" y="119"/>
                      <a:pt x="0" y="117"/>
                      <a:pt x="1" y="114"/>
                    </a:cubicBezTo>
                    <a:cubicBezTo>
                      <a:pt x="1" y="110"/>
                      <a:pt x="2" y="107"/>
                      <a:pt x="3" y="104"/>
                    </a:cubicBezTo>
                    <a:cubicBezTo>
                      <a:pt x="5" y="100"/>
                      <a:pt x="6" y="97"/>
                      <a:pt x="8" y="94"/>
                    </a:cubicBezTo>
                    <a:cubicBezTo>
                      <a:pt x="9" y="91"/>
                      <a:pt x="11" y="87"/>
                      <a:pt x="13" y="84"/>
                    </a:cubicBezTo>
                    <a:cubicBezTo>
                      <a:pt x="14" y="81"/>
                      <a:pt x="16" y="78"/>
                      <a:pt x="17" y="75"/>
                    </a:cubicBezTo>
                    <a:cubicBezTo>
                      <a:pt x="19" y="72"/>
                      <a:pt x="20" y="70"/>
                      <a:pt x="22" y="67"/>
                    </a:cubicBezTo>
                    <a:cubicBezTo>
                      <a:pt x="23" y="65"/>
                      <a:pt x="24" y="62"/>
                      <a:pt x="26" y="60"/>
                    </a:cubicBezTo>
                    <a:cubicBezTo>
                      <a:pt x="30" y="54"/>
                      <a:pt x="34" y="48"/>
                      <a:pt x="38" y="43"/>
                    </a:cubicBezTo>
                    <a:cubicBezTo>
                      <a:pt x="43" y="37"/>
                      <a:pt x="47" y="31"/>
                      <a:pt x="52" y="26"/>
                    </a:cubicBezTo>
                    <a:cubicBezTo>
                      <a:pt x="55" y="23"/>
                      <a:pt x="59" y="19"/>
                      <a:pt x="62" y="16"/>
                    </a:cubicBezTo>
                    <a:cubicBezTo>
                      <a:pt x="65" y="13"/>
                      <a:pt x="69" y="10"/>
                      <a:pt x="72" y="7"/>
                    </a:cubicBezTo>
                    <a:cubicBezTo>
                      <a:pt x="76" y="5"/>
                      <a:pt x="79" y="3"/>
                      <a:pt x="83" y="1"/>
                    </a:cubicBezTo>
                    <a:cubicBezTo>
                      <a:pt x="87" y="0"/>
                      <a:pt x="91" y="0"/>
                      <a:pt x="95" y="1"/>
                    </a:cubicBezTo>
                    <a:cubicBezTo>
                      <a:pt x="97" y="2"/>
                      <a:pt x="99" y="3"/>
                      <a:pt x="99" y="5"/>
                    </a:cubicBezTo>
                    <a:cubicBezTo>
                      <a:pt x="100" y="7"/>
                      <a:pt x="100" y="9"/>
                      <a:pt x="100" y="11"/>
                    </a:cubicBezTo>
                    <a:cubicBezTo>
                      <a:pt x="99" y="13"/>
                      <a:pt x="98" y="15"/>
                      <a:pt x="97" y="17"/>
                    </a:cubicBezTo>
                    <a:cubicBezTo>
                      <a:pt x="96" y="19"/>
                      <a:pt x="95" y="21"/>
                      <a:pt x="94" y="22"/>
                    </a:cubicBezTo>
                    <a:cubicBezTo>
                      <a:pt x="92" y="25"/>
                      <a:pt x="90" y="28"/>
                      <a:pt x="87" y="30"/>
                    </a:cubicBezTo>
                    <a:cubicBezTo>
                      <a:pt x="85" y="33"/>
                      <a:pt x="82" y="36"/>
                      <a:pt x="80" y="38"/>
                    </a:cubicBezTo>
                    <a:cubicBezTo>
                      <a:pt x="79" y="39"/>
                      <a:pt x="78" y="40"/>
                      <a:pt x="77" y="41"/>
                    </a:cubicBezTo>
                    <a:cubicBezTo>
                      <a:pt x="76" y="42"/>
                      <a:pt x="74" y="43"/>
                      <a:pt x="73" y="44"/>
                    </a:cubicBezTo>
                    <a:cubicBezTo>
                      <a:pt x="68" y="50"/>
                      <a:pt x="62" y="56"/>
                      <a:pt x="57" y="62"/>
                    </a:cubicBezTo>
                    <a:cubicBezTo>
                      <a:pt x="52" y="68"/>
                      <a:pt x="47" y="74"/>
                      <a:pt x="43" y="81"/>
                    </a:cubicBezTo>
                    <a:cubicBezTo>
                      <a:pt x="40" y="84"/>
                      <a:pt x="39" y="88"/>
                      <a:pt x="37" y="92"/>
                    </a:cubicBezTo>
                    <a:cubicBezTo>
                      <a:pt x="36" y="96"/>
                      <a:pt x="35" y="100"/>
                      <a:pt x="34" y="104"/>
                    </a:cubicBezTo>
                    <a:cubicBezTo>
                      <a:pt x="40" y="101"/>
                      <a:pt x="45" y="98"/>
                      <a:pt x="50" y="94"/>
                    </a:cubicBezTo>
                    <a:cubicBezTo>
                      <a:pt x="55" y="91"/>
                      <a:pt x="60" y="86"/>
                      <a:pt x="64" y="82"/>
                    </a:cubicBezTo>
                    <a:cubicBezTo>
                      <a:pt x="69" y="78"/>
                      <a:pt x="73" y="73"/>
                      <a:pt x="77" y="68"/>
                    </a:cubicBezTo>
                    <a:cubicBezTo>
                      <a:pt x="81" y="63"/>
                      <a:pt x="85" y="59"/>
                      <a:pt x="89" y="55"/>
                    </a:cubicBezTo>
                    <a:cubicBezTo>
                      <a:pt x="91" y="52"/>
                      <a:pt x="93" y="50"/>
                      <a:pt x="94" y="49"/>
                    </a:cubicBezTo>
                    <a:cubicBezTo>
                      <a:pt x="96" y="47"/>
                      <a:pt x="98" y="45"/>
                      <a:pt x="100" y="43"/>
                    </a:cubicBezTo>
                    <a:cubicBezTo>
                      <a:pt x="101" y="42"/>
                      <a:pt x="102" y="41"/>
                      <a:pt x="103" y="40"/>
                    </a:cubicBezTo>
                    <a:cubicBezTo>
                      <a:pt x="104" y="39"/>
                      <a:pt x="106" y="39"/>
                      <a:pt x="107" y="38"/>
                    </a:cubicBezTo>
                    <a:cubicBezTo>
                      <a:pt x="108" y="38"/>
                      <a:pt x="110" y="38"/>
                      <a:pt x="111" y="38"/>
                    </a:cubicBezTo>
                    <a:cubicBezTo>
                      <a:pt x="113" y="38"/>
                      <a:pt x="114" y="38"/>
                      <a:pt x="115" y="39"/>
                    </a:cubicBezTo>
                    <a:cubicBezTo>
                      <a:pt x="119" y="41"/>
                      <a:pt x="121" y="43"/>
                      <a:pt x="122" y="46"/>
                    </a:cubicBezTo>
                    <a:cubicBezTo>
                      <a:pt x="122" y="49"/>
                      <a:pt x="123" y="52"/>
                      <a:pt x="122" y="55"/>
                    </a:cubicBezTo>
                    <a:cubicBezTo>
                      <a:pt x="121" y="58"/>
                      <a:pt x="120" y="61"/>
                      <a:pt x="119" y="64"/>
                    </a:cubicBezTo>
                    <a:cubicBezTo>
                      <a:pt x="117" y="68"/>
                      <a:pt x="116" y="70"/>
                      <a:pt x="115" y="73"/>
                    </a:cubicBezTo>
                    <a:cubicBezTo>
                      <a:pt x="113" y="77"/>
                      <a:pt x="111" y="81"/>
                      <a:pt x="109" y="84"/>
                    </a:cubicBezTo>
                    <a:cubicBezTo>
                      <a:pt x="107" y="88"/>
                      <a:pt x="105" y="91"/>
                      <a:pt x="103" y="95"/>
                    </a:cubicBezTo>
                    <a:cubicBezTo>
                      <a:pt x="100" y="102"/>
                      <a:pt x="97" y="109"/>
                      <a:pt x="94" y="116"/>
                    </a:cubicBezTo>
                    <a:cubicBezTo>
                      <a:pt x="92" y="123"/>
                      <a:pt x="90" y="130"/>
                      <a:pt x="89" y="137"/>
                    </a:cubicBezTo>
                    <a:cubicBezTo>
                      <a:pt x="92" y="135"/>
                      <a:pt x="95" y="133"/>
                      <a:pt x="97" y="131"/>
                    </a:cubicBezTo>
                    <a:cubicBezTo>
                      <a:pt x="100" y="128"/>
                      <a:pt x="102" y="126"/>
                      <a:pt x="104" y="123"/>
                    </a:cubicBezTo>
                    <a:cubicBezTo>
                      <a:pt x="107" y="121"/>
                      <a:pt x="109" y="118"/>
                      <a:pt x="111" y="115"/>
                    </a:cubicBezTo>
                    <a:cubicBezTo>
                      <a:pt x="113" y="112"/>
                      <a:pt x="115" y="110"/>
                      <a:pt x="117" y="107"/>
                    </a:cubicBezTo>
                    <a:cubicBezTo>
                      <a:pt x="121" y="101"/>
                      <a:pt x="126" y="95"/>
                      <a:pt x="130" y="88"/>
                    </a:cubicBezTo>
                    <a:cubicBezTo>
                      <a:pt x="134" y="82"/>
                      <a:pt x="138" y="76"/>
                      <a:pt x="142" y="70"/>
                    </a:cubicBezTo>
                    <a:cubicBezTo>
                      <a:pt x="144" y="67"/>
                      <a:pt x="146" y="64"/>
                      <a:pt x="148" y="61"/>
                    </a:cubicBezTo>
                    <a:cubicBezTo>
                      <a:pt x="150" y="58"/>
                      <a:pt x="152" y="55"/>
                      <a:pt x="154" y="52"/>
                    </a:cubicBezTo>
                    <a:cubicBezTo>
                      <a:pt x="156" y="50"/>
                      <a:pt x="157" y="49"/>
                      <a:pt x="158" y="48"/>
                    </a:cubicBezTo>
                    <a:cubicBezTo>
                      <a:pt x="159" y="46"/>
                      <a:pt x="160" y="45"/>
                      <a:pt x="162" y="44"/>
                    </a:cubicBezTo>
                    <a:cubicBezTo>
                      <a:pt x="163" y="43"/>
                      <a:pt x="163" y="43"/>
                      <a:pt x="163" y="43"/>
                    </a:cubicBezTo>
                    <a:cubicBezTo>
                      <a:pt x="165" y="42"/>
                      <a:pt x="165" y="42"/>
                      <a:pt x="165" y="42"/>
                    </a:cubicBezTo>
                    <a:cubicBezTo>
                      <a:pt x="167" y="41"/>
                      <a:pt x="168" y="41"/>
                      <a:pt x="168" y="41"/>
                    </a:cubicBezTo>
                    <a:cubicBezTo>
                      <a:pt x="169" y="40"/>
                      <a:pt x="170" y="41"/>
                      <a:pt x="170" y="41"/>
                    </a:cubicBezTo>
                    <a:cubicBezTo>
                      <a:pt x="173" y="43"/>
                      <a:pt x="175" y="45"/>
                      <a:pt x="176" y="48"/>
                    </a:cubicBezTo>
                    <a:cubicBezTo>
                      <a:pt x="177" y="51"/>
                      <a:pt x="178" y="54"/>
                      <a:pt x="178" y="57"/>
                    </a:cubicBezTo>
                    <a:cubicBezTo>
                      <a:pt x="178" y="60"/>
                      <a:pt x="177" y="63"/>
                      <a:pt x="176" y="67"/>
                    </a:cubicBezTo>
                    <a:cubicBezTo>
                      <a:pt x="175" y="70"/>
                      <a:pt x="174" y="73"/>
                      <a:pt x="172" y="7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39" name="íṣḻíḑe">
                <a:extLst>
                  <a:ext uri="{FF2B5EF4-FFF2-40B4-BE49-F238E27FC236}">
                    <a16:creationId xmlns:a16="http://schemas.microsoft.com/office/drawing/2014/main" id="{5E1CC65D-11E0-4663-A9E2-8096A6ED981C}"/>
                  </a:ext>
                </a:extLst>
              </p:cNvPr>
              <p:cNvSpPr/>
              <p:nvPr/>
            </p:nvSpPr>
            <p:spPr>
              <a:xfrm flipH="1">
                <a:off x="10496165" y="1645514"/>
                <a:ext cx="143303" cy="215510"/>
              </a:xfrm>
              <a:custGeom>
                <a:avLst/>
                <a:gdLst/>
                <a:ahLst/>
                <a:cxnLst/>
                <a:rect l="l" t="t" r="r" b="b"/>
                <a:pathLst>
                  <a:path w="109" h="164" extrusionOk="0">
                    <a:moveTo>
                      <a:pt x="109" y="141"/>
                    </a:moveTo>
                    <a:cubicBezTo>
                      <a:pt x="108" y="143"/>
                      <a:pt x="107" y="143"/>
                      <a:pt x="106" y="144"/>
                    </a:cubicBezTo>
                    <a:cubicBezTo>
                      <a:pt x="105" y="145"/>
                      <a:pt x="104" y="145"/>
                      <a:pt x="103" y="146"/>
                    </a:cubicBezTo>
                    <a:cubicBezTo>
                      <a:pt x="98" y="149"/>
                      <a:pt x="91" y="151"/>
                      <a:pt x="85" y="154"/>
                    </a:cubicBezTo>
                    <a:cubicBezTo>
                      <a:pt x="79" y="156"/>
                      <a:pt x="73" y="158"/>
                      <a:pt x="66" y="159"/>
                    </a:cubicBezTo>
                    <a:cubicBezTo>
                      <a:pt x="60" y="161"/>
                      <a:pt x="54" y="162"/>
                      <a:pt x="48" y="163"/>
                    </a:cubicBezTo>
                    <a:cubicBezTo>
                      <a:pt x="41" y="164"/>
                      <a:pt x="35" y="164"/>
                      <a:pt x="29" y="164"/>
                    </a:cubicBezTo>
                    <a:cubicBezTo>
                      <a:pt x="26" y="163"/>
                      <a:pt x="23" y="163"/>
                      <a:pt x="20" y="161"/>
                    </a:cubicBezTo>
                    <a:cubicBezTo>
                      <a:pt x="18" y="160"/>
                      <a:pt x="15" y="158"/>
                      <a:pt x="13" y="156"/>
                    </a:cubicBezTo>
                    <a:cubicBezTo>
                      <a:pt x="11" y="154"/>
                      <a:pt x="10" y="151"/>
                      <a:pt x="8" y="149"/>
                    </a:cubicBezTo>
                    <a:cubicBezTo>
                      <a:pt x="7" y="146"/>
                      <a:pt x="6" y="143"/>
                      <a:pt x="5" y="140"/>
                    </a:cubicBezTo>
                    <a:cubicBezTo>
                      <a:pt x="3" y="135"/>
                      <a:pt x="2" y="129"/>
                      <a:pt x="1" y="123"/>
                    </a:cubicBezTo>
                    <a:cubicBezTo>
                      <a:pt x="0" y="117"/>
                      <a:pt x="0" y="111"/>
                      <a:pt x="1" y="105"/>
                    </a:cubicBezTo>
                    <a:cubicBezTo>
                      <a:pt x="1" y="96"/>
                      <a:pt x="2" y="86"/>
                      <a:pt x="3" y="77"/>
                    </a:cubicBezTo>
                    <a:cubicBezTo>
                      <a:pt x="4" y="68"/>
                      <a:pt x="6" y="59"/>
                      <a:pt x="8" y="50"/>
                    </a:cubicBezTo>
                    <a:cubicBezTo>
                      <a:pt x="9" y="45"/>
                      <a:pt x="10" y="41"/>
                      <a:pt x="11" y="36"/>
                    </a:cubicBezTo>
                    <a:cubicBezTo>
                      <a:pt x="12" y="32"/>
                      <a:pt x="13" y="27"/>
                      <a:pt x="14" y="23"/>
                    </a:cubicBezTo>
                    <a:cubicBezTo>
                      <a:pt x="15" y="18"/>
                      <a:pt x="17" y="14"/>
                      <a:pt x="19" y="11"/>
                    </a:cubicBezTo>
                    <a:cubicBezTo>
                      <a:pt x="21" y="7"/>
                      <a:pt x="24" y="3"/>
                      <a:pt x="28" y="1"/>
                    </a:cubicBezTo>
                    <a:cubicBezTo>
                      <a:pt x="29" y="0"/>
                      <a:pt x="31" y="0"/>
                      <a:pt x="32" y="1"/>
                    </a:cubicBezTo>
                    <a:cubicBezTo>
                      <a:pt x="34" y="1"/>
                      <a:pt x="35" y="2"/>
                      <a:pt x="35" y="3"/>
                    </a:cubicBezTo>
                    <a:cubicBezTo>
                      <a:pt x="36" y="4"/>
                      <a:pt x="37" y="6"/>
                      <a:pt x="37" y="7"/>
                    </a:cubicBezTo>
                    <a:cubicBezTo>
                      <a:pt x="38" y="9"/>
                      <a:pt x="38" y="10"/>
                      <a:pt x="37" y="12"/>
                    </a:cubicBezTo>
                    <a:cubicBezTo>
                      <a:pt x="37" y="17"/>
                      <a:pt x="37" y="22"/>
                      <a:pt x="36" y="27"/>
                    </a:cubicBezTo>
                    <a:cubicBezTo>
                      <a:pt x="36" y="32"/>
                      <a:pt x="35" y="37"/>
                      <a:pt x="35" y="42"/>
                    </a:cubicBezTo>
                    <a:cubicBezTo>
                      <a:pt x="34" y="46"/>
                      <a:pt x="34" y="50"/>
                      <a:pt x="33" y="54"/>
                    </a:cubicBezTo>
                    <a:cubicBezTo>
                      <a:pt x="33" y="58"/>
                      <a:pt x="32" y="62"/>
                      <a:pt x="32" y="67"/>
                    </a:cubicBezTo>
                    <a:cubicBezTo>
                      <a:pt x="31" y="71"/>
                      <a:pt x="31" y="75"/>
                      <a:pt x="30" y="79"/>
                    </a:cubicBezTo>
                    <a:cubicBezTo>
                      <a:pt x="30" y="83"/>
                      <a:pt x="30" y="87"/>
                      <a:pt x="29" y="92"/>
                    </a:cubicBezTo>
                    <a:cubicBezTo>
                      <a:pt x="29" y="95"/>
                      <a:pt x="29" y="99"/>
                      <a:pt x="29" y="103"/>
                    </a:cubicBezTo>
                    <a:cubicBezTo>
                      <a:pt x="29" y="107"/>
                      <a:pt x="29" y="111"/>
                      <a:pt x="29" y="115"/>
                    </a:cubicBezTo>
                    <a:cubicBezTo>
                      <a:pt x="29" y="119"/>
                      <a:pt x="30" y="123"/>
                      <a:pt x="31" y="127"/>
                    </a:cubicBezTo>
                    <a:cubicBezTo>
                      <a:pt x="32" y="131"/>
                      <a:pt x="33" y="134"/>
                      <a:pt x="36" y="137"/>
                    </a:cubicBezTo>
                    <a:cubicBezTo>
                      <a:pt x="41" y="137"/>
                      <a:pt x="46" y="136"/>
                      <a:pt x="52" y="135"/>
                    </a:cubicBezTo>
                    <a:cubicBezTo>
                      <a:pt x="57" y="134"/>
                      <a:pt x="62" y="133"/>
                      <a:pt x="67" y="132"/>
                    </a:cubicBezTo>
                    <a:cubicBezTo>
                      <a:pt x="72" y="131"/>
                      <a:pt x="76" y="130"/>
                      <a:pt x="80" y="129"/>
                    </a:cubicBezTo>
                    <a:cubicBezTo>
                      <a:pt x="84" y="128"/>
                      <a:pt x="88" y="127"/>
                      <a:pt x="92" y="127"/>
                    </a:cubicBezTo>
                    <a:cubicBezTo>
                      <a:pt x="96" y="127"/>
                      <a:pt x="99" y="128"/>
                      <a:pt x="102" y="130"/>
                    </a:cubicBezTo>
                    <a:cubicBezTo>
                      <a:pt x="105" y="132"/>
                      <a:pt x="107" y="135"/>
                      <a:pt x="108" y="138"/>
                    </a:cubicBezTo>
                    <a:cubicBezTo>
                      <a:pt x="108" y="139"/>
                      <a:pt x="109" y="139"/>
                      <a:pt x="109" y="140"/>
                    </a:cubicBezTo>
                    <a:cubicBezTo>
                      <a:pt x="109" y="140"/>
                      <a:pt x="109" y="141"/>
                      <a:pt x="109" y="14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0" name="ïṥḻiḋe">
                <a:extLst>
                  <a:ext uri="{FF2B5EF4-FFF2-40B4-BE49-F238E27FC236}">
                    <a16:creationId xmlns:a16="http://schemas.microsoft.com/office/drawing/2014/main" id="{E9A7D9DF-B7A5-4F28-B2E0-88B7A0019D51}"/>
                  </a:ext>
                </a:extLst>
              </p:cNvPr>
              <p:cNvSpPr/>
              <p:nvPr/>
            </p:nvSpPr>
            <p:spPr>
              <a:xfrm flipH="1">
                <a:off x="9690225" y="1967113"/>
                <a:ext cx="113865" cy="179963"/>
              </a:xfrm>
              <a:custGeom>
                <a:avLst/>
                <a:gdLst/>
                <a:ahLst/>
                <a:cxnLst/>
                <a:rect l="l" t="t" r="r" b="b"/>
                <a:pathLst>
                  <a:path w="87" h="137" extrusionOk="0">
                    <a:moveTo>
                      <a:pt x="86" y="81"/>
                    </a:moveTo>
                    <a:cubicBezTo>
                      <a:pt x="86" y="85"/>
                      <a:pt x="85" y="89"/>
                      <a:pt x="84" y="93"/>
                    </a:cubicBezTo>
                    <a:cubicBezTo>
                      <a:pt x="82" y="96"/>
                      <a:pt x="81" y="100"/>
                      <a:pt x="79" y="103"/>
                    </a:cubicBezTo>
                    <a:cubicBezTo>
                      <a:pt x="77" y="106"/>
                      <a:pt x="74" y="109"/>
                      <a:pt x="72" y="112"/>
                    </a:cubicBezTo>
                    <a:cubicBezTo>
                      <a:pt x="69" y="115"/>
                      <a:pt x="66" y="118"/>
                      <a:pt x="63" y="120"/>
                    </a:cubicBezTo>
                    <a:cubicBezTo>
                      <a:pt x="60" y="123"/>
                      <a:pt x="57" y="125"/>
                      <a:pt x="54" y="127"/>
                    </a:cubicBezTo>
                    <a:cubicBezTo>
                      <a:pt x="51" y="129"/>
                      <a:pt x="47" y="131"/>
                      <a:pt x="44" y="133"/>
                    </a:cubicBezTo>
                    <a:cubicBezTo>
                      <a:pt x="40" y="134"/>
                      <a:pt x="37" y="135"/>
                      <a:pt x="33" y="136"/>
                    </a:cubicBezTo>
                    <a:cubicBezTo>
                      <a:pt x="29" y="137"/>
                      <a:pt x="25" y="137"/>
                      <a:pt x="22" y="136"/>
                    </a:cubicBezTo>
                    <a:cubicBezTo>
                      <a:pt x="20" y="136"/>
                      <a:pt x="18" y="135"/>
                      <a:pt x="16" y="134"/>
                    </a:cubicBezTo>
                    <a:cubicBezTo>
                      <a:pt x="15" y="133"/>
                      <a:pt x="13" y="132"/>
                      <a:pt x="12" y="130"/>
                    </a:cubicBezTo>
                    <a:cubicBezTo>
                      <a:pt x="11" y="129"/>
                      <a:pt x="10" y="127"/>
                      <a:pt x="10" y="125"/>
                    </a:cubicBezTo>
                    <a:cubicBezTo>
                      <a:pt x="9" y="123"/>
                      <a:pt x="9" y="121"/>
                      <a:pt x="9" y="119"/>
                    </a:cubicBezTo>
                    <a:cubicBezTo>
                      <a:pt x="9" y="118"/>
                      <a:pt x="9" y="117"/>
                      <a:pt x="10" y="116"/>
                    </a:cubicBezTo>
                    <a:cubicBezTo>
                      <a:pt x="11" y="115"/>
                      <a:pt x="12" y="115"/>
                      <a:pt x="12" y="115"/>
                    </a:cubicBezTo>
                    <a:cubicBezTo>
                      <a:pt x="13" y="115"/>
                      <a:pt x="14" y="115"/>
                      <a:pt x="14" y="115"/>
                    </a:cubicBezTo>
                    <a:cubicBezTo>
                      <a:pt x="15" y="115"/>
                      <a:pt x="16" y="114"/>
                      <a:pt x="16" y="114"/>
                    </a:cubicBezTo>
                    <a:cubicBezTo>
                      <a:pt x="18" y="114"/>
                      <a:pt x="20" y="114"/>
                      <a:pt x="22" y="114"/>
                    </a:cubicBezTo>
                    <a:cubicBezTo>
                      <a:pt x="25" y="114"/>
                      <a:pt x="27" y="114"/>
                      <a:pt x="29" y="113"/>
                    </a:cubicBezTo>
                    <a:cubicBezTo>
                      <a:pt x="33" y="112"/>
                      <a:pt x="37" y="111"/>
                      <a:pt x="41" y="109"/>
                    </a:cubicBezTo>
                    <a:cubicBezTo>
                      <a:pt x="45" y="108"/>
                      <a:pt x="49" y="105"/>
                      <a:pt x="52" y="103"/>
                    </a:cubicBezTo>
                    <a:cubicBezTo>
                      <a:pt x="54" y="101"/>
                      <a:pt x="55" y="100"/>
                      <a:pt x="57" y="98"/>
                    </a:cubicBezTo>
                    <a:cubicBezTo>
                      <a:pt x="59" y="97"/>
                      <a:pt x="60" y="95"/>
                      <a:pt x="61" y="94"/>
                    </a:cubicBezTo>
                    <a:cubicBezTo>
                      <a:pt x="62" y="92"/>
                      <a:pt x="63" y="90"/>
                      <a:pt x="64" y="88"/>
                    </a:cubicBezTo>
                    <a:cubicBezTo>
                      <a:pt x="65" y="86"/>
                      <a:pt x="65" y="84"/>
                      <a:pt x="66" y="82"/>
                    </a:cubicBezTo>
                    <a:cubicBezTo>
                      <a:pt x="66" y="81"/>
                      <a:pt x="66" y="80"/>
                      <a:pt x="66" y="78"/>
                    </a:cubicBezTo>
                    <a:cubicBezTo>
                      <a:pt x="66" y="77"/>
                      <a:pt x="65" y="76"/>
                      <a:pt x="65" y="75"/>
                    </a:cubicBezTo>
                    <a:cubicBezTo>
                      <a:pt x="64" y="74"/>
                      <a:pt x="63" y="73"/>
                      <a:pt x="62" y="72"/>
                    </a:cubicBezTo>
                    <a:cubicBezTo>
                      <a:pt x="62" y="72"/>
                      <a:pt x="60" y="71"/>
                      <a:pt x="59" y="72"/>
                    </a:cubicBezTo>
                    <a:cubicBezTo>
                      <a:pt x="53" y="72"/>
                      <a:pt x="47" y="72"/>
                      <a:pt x="42" y="73"/>
                    </a:cubicBezTo>
                    <a:cubicBezTo>
                      <a:pt x="36" y="74"/>
                      <a:pt x="31" y="76"/>
                      <a:pt x="25" y="79"/>
                    </a:cubicBezTo>
                    <a:cubicBezTo>
                      <a:pt x="24" y="79"/>
                      <a:pt x="23" y="80"/>
                      <a:pt x="21" y="81"/>
                    </a:cubicBezTo>
                    <a:cubicBezTo>
                      <a:pt x="20" y="81"/>
                      <a:pt x="18" y="82"/>
                      <a:pt x="17" y="83"/>
                    </a:cubicBezTo>
                    <a:cubicBezTo>
                      <a:pt x="15" y="83"/>
                      <a:pt x="14" y="82"/>
                      <a:pt x="13" y="81"/>
                    </a:cubicBezTo>
                    <a:cubicBezTo>
                      <a:pt x="12" y="81"/>
                      <a:pt x="11" y="80"/>
                      <a:pt x="10" y="79"/>
                    </a:cubicBezTo>
                    <a:cubicBezTo>
                      <a:pt x="9" y="77"/>
                      <a:pt x="8" y="76"/>
                      <a:pt x="8" y="75"/>
                    </a:cubicBezTo>
                    <a:cubicBezTo>
                      <a:pt x="7" y="74"/>
                      <a:pt x="7" y="72"/>
                      <a:pt x="7" y="71"/>
                    </a:cubicBezTo>
                    <a:cubicBezTo>
                      <a:pt x="7" y="69"/>
                      <a:pt x="7" y="68"/>
                      <a:pt x="8" y="67"/>
                    </a:cubicBezTo>
                    <a:cubicBezTo>
                      <a:pt x="9" y="66"/>
                      <a:pt x="10" y="65"/>
                      <a:pt x="11" y="64"/>
                    </a:cubicBezTo>
                    <a:cubicBezTo>
                      <a:pt x="12" y="63"/>
                      <a:pt x="13" y="62"/>
                      <a:pt x="14" y="61"/>
                    </a:cubicBezTo>
                    <a:cubicBezTo>
                      <a:pt x="15" y="60"/>
                      <a:pt x="16" y="59"/>
                      <a:pt x="17" y="59"/>
                    </a:cubicBezTo>
                    <a:cubicBezTo>
                      <a:pt x="21" y="57"/>
                      <a:pt x="24" y="55"/>
                      <a:pt x="27" y="53"/>
                    </a:cubicBezTo>
                    <a:cubicBezTo>
                      <a:pt x="30" y="51"/>
                      <a:pt x="34" y="49"/>
                      <a:pt x="37" y="47"/>
                    </a:cubicBezTo>
                    <a:cubicBezTo>
                      <a:pt x="40" y="45"/>
                      <a:pt x="42" y="42"/>
                      <a:pt x="44" y="39"/>
                    </a:cubicBezTo>
                    <a:cubicBezTo>
                      <a:pt x="47" y="36"/>
                      <a:pt x="48" y="33"/>
                      <a:pt x="48" y="29"/>
                    </a:cubicBezTo>
                    <a:cubicBezTo>
                      <a:pt x="48" y="28"/>
                      <a:pt x="48" y="28"/>
                      <a:pt x="48" y="27"/>
                    </a:cubicBezTo>
                    <a:cubicBezTo>
                      <a:pt x="48" y="26"/>
                      <a:pt x="48" y="25"/>
                      <a:pt x="48" y="24"/>
                    </a:cubicBezTo>
                    <a:cubicBezTo>
                      <a:pt x="48" y="24"/>
                      <a:pt x="47" y="23"/>
                      <a:pt x="47" y="22"/>
                    </a:cubicBezTo>
                    <a:cubicBezTo>
                      <a:pt x="47" y="22"/>
                      <a:pt x="46" y="22"/>
                      <a:pt x="45" y="21"/>
                    </a:cubicBezTo>
                    <a:cubicBezTo>
                      <a:pt x="43" y="22"/>
                      <a:pt x="42" y="22"/>
                      <a:pt x="40" y="23"/>
                    </a:cubicBezTo>
                    <a:cubicBezTo>
                      <a:pt x="38" y="23"/>
                      <a:pt x="36" y="24"/>
                      <a:pt x="35" y="25"/>
                    </a:cubicBezTo>
                    <a:cubicBezTo>
                      <a:pt x="33" y="26"/>
                      <a:pt x="32" y="27"/>
                      <a:pt x="30" y="28"/>
                    </a:cubicBezTo>
                    <a:cubicBezTo>
                      <a:pt x="28" y="29"/>
                      <a:pt x="27" y="30"/>
                      <a:pt x="25" y="31"/>
                    </a:cubicBezTo>
                    <a:cubicBezTo>
                      <a:pt x="23" y="32"/>
                      <a:pt x="20" y="34"/>
                      <a:pt x="18" y="35"/>
                    </a:cubicBezTo>
                    <a:cubicBezTo>
                      <a:pt x="15" y="37"/>
                      <a:pt x="13" y="38"/>
                      <a:pt x="10" y="40"/>
                    </a:cubicBezTo>
                    <a:cubicBezTo>
                      <a:pt x="9" y="40"/>
                      <a:pt x="8" y="39"/>
                      <a:pt x="7" y="39"/>
                    </a:cubicBezTo>
                    <a:cubicBezTo>
                      <a:pt x="5" y="38"/>
                      <a:pt x="4" y="37"/>
                      <a:pt x="3" y="36"/>
                    </a:cubicBezTo>
                    <a:cubicBezTo>
                      <a:pt x="3" y="35"/>
                      <a:pt x="2" y="34"/>
                      <a:pt x="1" y="33"/>
                    </a:cubicBezTo>
                    <a:cubicBezTo>
                      <a:pt x="1" y="32"/>
                      <a:pt x="0" y="31"/>
                      <a:pt x="0" y="30"/>
                    </a:cubicBezTo>
                    <a:cubicBezTo>
                      <a:pt x="1" y="29"/>
                      <a:pt x="1" y="28"/>
                      <a:pt x="2" y="27"/>
                    </a:cubicBezTo>
                    <a:cubicBezTo>
                      <a:pt x="3" y="25"/>
                      <a:pt x="4" y="23"/>
                      <a:pt x="6" y="22"/>
                    </a:cubicBezTo>
                    <a:cubicBezTo>
                      <a:pt x="8" y="20"/>
                      <a:pt x="9" y="18"/>
                      <a:pt x="11" y="17"/>
                    </a:cubicBezTo>
                    <a:cubicBezTo>
                      <a:pt x="13" y="15"/>
                      <a:pt x="15" y="14"/>
                      <a:pt x="17" y="13"/>
                    </a:cubicBezTo>
                    <a:cubicBezTo>
                      <a:pt x="19" y="12"/>
                      <a:pt x="21" y="10"/>
                      <a:pt x="23" y="9"/>
                    </a:cubicBezTo>
                    <a:cubicBezTo>
                      <a:pt x="25" y="8"/>
                      <a:pt x="27" y="7"/>
                      <a:pt x="29" y="6"/>
                    </a:cubicBezTo>
                    <a:cubicBezTo>
                      <a:pt x="31" y="5"/>
                      <a:pt x="33" y="4"/>
                      <a:pt x="35" y="3"/>
                    </a:cubicBezTo>
                    <a:cubicBezTo>
                      <a:pt x="38" y="2"/>
                      <a:pt x="40" y="1"/>
                      <a:pt x="42" y="1"/>
                    </a:cubicBezTo>
                    <a:cubicBezTo>
                      <a:pt x="44" y="0"/>
                      <a:pt x="47" y="0"/>
                      <a:pt x="49" y="0"/>
                    </a:cubicBezTo>
                    <a:cubicBezTo>
                      <a:pt x="52" y="0"/>
                      <a:pt x="55" y="1"/>
                      <a:pt x="58" y="2"/>
                    </a:cubicBezTo>
                    <a:cubicBezTo>
                      <a:pt x="61" y="4"/>
                      <a:pt x="64" y="5"/>
                      <a:pt x="66" y="8"/>
                    </a:cubicBezTo>
                    <a:cubicBezTo>
                      <a:pt x="68" y="10"/>
                      <a:pt x="70" y="12"/>
                      <a:pt x="71" y="15"/>
                    </a:cubicBezTo>
                    <a:cubicBezTo>
                      <a:pt x="73" y="18"/>
                      <a:pt x="73" y="21"/>
                      <a:pt x="73" y="24"/>
                    </a:cubicBezTo>
                    <a:cubicBezTo>
                      <a:pt x="73" y="27"/>
                      <a:pt x="73" y="29"/>
                      <a:pt x="72" y="31"/>
                    </a:cubicBezTo>
                    <a:cubicBezTo>
                      <a:pt x="71" y="33"/>
                      <a:pt x="70" y="36"/>
                      <a:pt x="69" y="38"/>
                    </a:cubicBezTo>
                    <a:cubicBezTo>
                      <a:pt x="68" y="40"/>
                      <a:pt x="66" y="42"/>
                      <a:pt x="65" y="44"/>
                    </a:cubicBezTo>
                    <a:cubicBezTo>
                      <a:pt x="64" y="46"/>
                      <a:pt x="62" y="48"/>
                      <a:pt x="61" y="50"/>
                    </a:cubicBezTo>
                    <a:cubicBezTo>
                      <a:pt x="65" y="50"/>
                      <a:pt x="69" y="50"/>
                      <a:pt x="72" y="52"/>
                    </a:cubicBezTo>
                    <a:cubicBezTo>
                      <a:pt x="76" y="54"/>
                      <a:pt x="79" y="56"/>
                      <a:pt x="81" y="59"/>
                    </a:cubicBezTo>
                    <a:cubicBezTo>
                      <a:pt x="84" y="62"/>
                      <a:pt x="85" y="66"/>
                      <a:pt x="86" y="69"/>
                    </a:cubicBezTo>
                    <a:cubicBezTo>
                      <a:pt x="87" y="73"/>
                      <a:pt x="87" y="77"/>
                      <a:pt x="86" y="8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1" name="ïṧľíḍê">
                <a:extLst>
                  <a:ext uri="{FF2B5EF4-FFF2-40B4-BE49-F238E27FC236}">
                    <a16:creationId xmlns:a16="http://schemas.microsoft.com/office/drawing/2014/main" id="{97EB29DF-5C7E-4FFB-AA4E-FC09FCBB2C0A}"/>
                  </a:ext>
                </a:extLst>
              </p:cNvPr>
              <p:cNvSpPr/>
              <p:nvPr/>
            </p:nvSpPr>
            <p:spPr>
              <a:xfrm flipH="1">
                <a:off x="9729105" y="2168182"/>
                <a:ext cx="51656" cy="157745"/>
              </a:xfrm>
              <a:custGeom>
                <a:avLst/>
                <a:gdLst/>
                <a:ahLst/>
                <a:cxnLst/>
                <a:rect l="l" t="t" r="r" b="b"/>
                <a:pathLst>
                  <a:path w="39" h="120" extrusionOk="0">
                    <a:moveTo>
                      <a:pt x="20" y="101"/>
                    </a:moveTo>
                    <a:cubicBezTo>
                      <a:pt x="19" y="103"/>
                      <a:pt x="18" y="105"/>
                      <a:pt x="18" y="107"/>
                    </a:cubicBezTo>
                    <a:cubicBezTo>
                      <a:pt x="17" y="109"/>
                      <a:pt x="16" y="111"/>
                      <a:pt x="15" y="113"/>
                    </a:cubicBezTo>
                    <a:cubicBezTo>
                      <a:pt x="14" y="115"/>
                      <a:pt x="13" y="116"/>
                      <a:pt x="11" y="118"/>
                    </a:cubicBezTo>
                    <a:cubicBezTo>
                      <a:pt x="10" y="119"/>
                      <a:pt x="8" y="120"/>
                      <a:pt x="6" y="120"/>
                    </a:cubicBezTo>
                    <a:cubicBezTo>
                      <a:pt x="4" y="120"/>
                      <a:pt x="3" y="119"/>
                      <a:pt x="2" y="118"/>
                    </a:cubicBezTo>
                    <a:cubicBezTo>
                      <a:pt x="1" y="117"/>
                      <a:pt x="0" y="116"/>
                      <a:pt x="0" y="114"/>
                    </a:cubicBezTo>
                    <a:cubicBezTo>
                      <a:pt x="0" y="113"/>
                      <a:pt x="0" y="111"/>
                      <a:pt x="0" y="110"/>
                    </a:cubicBezTo>
                    <a:cubicBezTo>
                      <a:pt x="0" y="108"/>
                      <a:pt x="0" y="107"/>
                      <a:pt x="0" y="105"/>
                    </a:cubicBezTo>
                    <a:cubicBezTo>
                      <a:pt x="0" y="102"/>
                      <a:pt x="0" y="99"/>
                      <a:pt x="1" y="95"/>
                    </a:cubicBezTo>
                    <a:cubicBezTo>
                      <a:pt x="1" y="92"/>
                      <a:pt x="2" y="89"/>
                      <a:pt x="3" y="85"/>
                    </a:cubicBezTo>
                    <a:cubicBezTo>
                      <a:pt x="4" y="80"/>
                      <a:pt x="5" y="74"/>
                      <a:pt x="7" y="68"/>
                    </a:cubicBezTo>
                    <a:cubicBezTo>
                      <a:pt x="8" y="62"/>
                      <a:pt x="10" y="57"/>
                      <a:pt x="11" y="51"/>
                    </a:cubicBezTo>
                    <a:cubicBezTo>
                      <a:pt x="12" y="45"/>
                      <a:pt x="14" y="40"/>
                      <a:pt x="15" y="34"/>
                    </a:cubicBezTo>
                    <a:cubicBezTo>
                      <a:pt x="17" y="28"/>
                      <a:pt x="18" y="23"/>
                      <a:pt x="20" y="17"/>
                    </a:cubicBezTo>
                    <a:cubicBezTo>
                      <a:pt x="20" y="16"/>
                      <a:pt x="21" y="14"/>
                      <a:pt x="21" y="12"/>
                    </a:cubicBezTo>
                    <a:cubicBezTo>
                      <a:pt x="22" y="10"/>
                      <a:pt x="22" y="9"/>
                      <a:pt x="23" y="7"/>
                    </a:cubicBezTo>
                    <a:cubicBezTo>
                      <a:pt x="24" y="6"/>
                      <a:pt x="25" y="4"/>
                      <a:pt x="26" y="3"/>
                    </a:cubicBezTo>
                    <a:cubicBezTo>
                      <a:pt x="27" y="2"/>
                      <a:pt x="29" y="1"/>
                      <a:pt x="31" y="0"/>
                    </a:cubicBezTo>
                    <a:cubicBezTo>
                      <a:pt x="32" y="0"/>
                      <a:pt x="33" y="0"/>
                      <a:pt x="34" y="1"/>
                    </a:cubicBezTo>
                    <a:cubicBezTo>
                      <a:pt x="35" y="1"/>
                      <a:pt x="36" y="2"/>
                      <a:pt x="36" y="2"/>
                    </a:cubicBezTo>
                    <a:cubicBezTo>
                      <a:pt x="37" y="3"/>
                      <a:pt x="38" y="4"/>
                      <a:pt x="38" y="5"/>
                    </a:cubicBezTo>
                    <a:cubicBezTo>
                      <a:pt x="39" y="6"/>
                      <a:pt x="39" y="7"/>
                      <a:pt x="39" y="8"/>
                    </a:cubicBezTo>
                    <a:cubicBezTo>
                      <a:pt x="39" y="11"/>
                      <a:pt x="39" y="15"/>
                      <a:pt x="38" y="19"/>
                    </a:cubicBezTo>
                    <a:cubicBezTo>
                      <a:pt x="37" y="23"/>
                      <a:pt x="36" y="26"/>
                      <a:pt x="36" y="29"/>
                    </a:cubicBezTo>
                    <a:cubicBezTo>
                      <a:pt x="35" y="32"/>
                      <a:pt x="34" y="36"/>
                      <a:pt x="33" y="39"/>
                    </a:cubicBezTo>
                    <a:cubicBezTo>
                      <a:pt x="32" y="42"/>
                      <a:pt x="31" y="46"/>
                      <a:pt x="30" y="49"/>
                    </a:cubicBezTo>
                    <a:cubicBezTo>
                      <a:pt x="29" y="52"/>
                      <a:pt x="29" y="56"/>
                      <a:pt x="28" y="59"/>
                    </a:cubicBezTo>
                    <a:cubicBezTo>
                      <a:pt x="27" y="63"/>
                      <a:pt x="26" y="66"/>
                      <a:pt x="26" y="70"/>
                    </a:cubicBezTo>
                    <a:cubicBezTo>
                      <a:pt x="25" y="74"/>
                      <a:pt x="24" y="77"/>
                      <a:pt x="24" y="81"/>
                    </a:cubicBezTo>
                    <a:cubicBezTo>
                      <a:pt x="23" y="84"/>
                      <a:pt x="22" y="88"/>
                      <a:pt x="22" y="91"/>
                    </a:cubicBezTo>
                    <a:cubicBezTo>
                      <a:pt x="21" y="94"/>
                      <a:pt x="20" y="98"/>
                      <a:pt x="20" y="10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2" name="îSľïďè">
                <a:extLst>
                  <a:ext uri="{FF2B5EF4-FFF2-40B4-BE49-F238E27FC236}">
                    <a16:creationId xmlns:a16="http://schemas.microsoft.com/office/drawing/2014/main" id="{E1CB5E96-404F-442B-AA97-1984B36DC0DD}"/>
                  </a:ext>
                </a:extLst>
              </p:cNvPr>
              <p:cNvSpPr/>
              <p:nvPr/>
            </p:nvSpPr>
            <p:spPr>
              <a:xfrm flipH="1">
                <a:off x="9831861" y="1309473"/>
                <a:ext cx="209956" cy="324377"/>
              </a:xfrm>
              <a:custGeom>
                <a:avLst/>
                <a:gdLst/>
                <a:ahLst/>
                <a:cxnLst/>
                <a:rect l="l" t="t" r="r" b="b"/>
                <a:pathLst>
                  <a:path w="160" h="247" extrusionOk="0">
                    <a:moveTo>
                      <a:pt x="160" y="211"/>
                    </a:moveTo>
                    <a:cubicBezTo>
                      <a:pt x="159" y="213"/>
                      <a:pt x="159" y="215"/>
                      <a:pt x="158" y="217"/>
                    </a:cubicBezTo>
                    <a:cubicBezTo>
                      <a:pt x="156" y="218"/>
                      <a:pt x="155" y="220"/>
                      <a:pt x="154" y="221"/>
                    </a:cubicBezTo>
                    <a:cubicBezTo>
                      <a:pt x="152" y="222"/>
                      <a:pt x="151" y="224"/>
                      <a:pt x="149" y="225"/>
                    </a:cubicBezTo>
                    <a:cubicBezTo>
                      <a:pt x="147" y="226"/>
                      <a:pt x="146" y="227"/>
                      <a:pt x="144" y="228"/>
                    </a:cubicBezTo>
                    <a:cubicBezTo>
                      <a:pt x="140" y="229"/>
                      <a:pt x="136" y="228"/>
                      <a:pt x="132" y="226"/>
                    </a:cubicBezTo>
                    <a:cubicBezTo>
                      <a:pt x="129" y="225"/>
                      <a:pt x="126" y="223"/>
                      <a:pt x="123" y="220"/>
                    </a:cubicBezTo>
                    <a:cubicBezTo>
                      <a:pt x="120" y="217"/>
                      <a:pt x="117" y="214"/>
                      <a:pt x="115" y="211"/>
                    </a:cubicBezTo>
                    <a:cubicBezTo>
                      <a:pt x="112" y="208"/>
                      <a:pt x="109" y="205"/>
                      <a:pt x="107" y="203"/>
                    </a:cubicBezTo>
                    <a:cubicBezTo>
                      <a:pt x="101" y="195"/>
                      <a:pt x="95" y="187"/>
                      <a:pt x="90" y="180"/>
                    </a:cubicBezTo>
                    <a:cubicBezTo>
                      <a:pt x="85" y="172"/>
                      <a:pt x="79" y="165"/>
                      <a:pt x="74" y="157"/>
                    </a:cubicBezTo>
                    <a:cubicBezTo>
                      <a:pt x="72" y="166"/>
                      <a:pt x="69" y="175"/>
                      <a:pt x="67" y="183"/>
                    </a:cubicBezTo>
                    <a:cubicBezTo>
                      <a:pt x="64" y="192"/>
                      <a:pt x="62" y="201"/>
                      <a:pt x="60" y="210"/>
                    </a:cubicBezTo>
                    <a:cubicBezTo>
                      <a:pt x="58" y="213"/>
                      <a:pt x="57" y="217"/>
                      <a:pt x="56" y="221"/>
                    </a:cubicBezTo>
                    <a:cubicBezTo>
                      <a:pt x="55" y="225"/>
                      <a:pt x="54" y="228"/>
                      <a:pt x="52" y="232"/>
                    </a:cubicBezTo>
                    <a:cubicBezTo>
                      <a:pt x="50" y="235"/>
                      <a:pt x="48" y="239"/>
                      <a:pt x="46" y="241"/>
                    </a:cubicBezTo>
                    <a:cubicBezTo>
                      <a:pt x="44" y="244"/>
                      <a:pt x="41" y="246"/>
                      <a:pt x="37" y="247"/>
                    </a:cubicBezTo>
                    <a:cubicBezTo>
                      <a:pt x="34" y="247"/>
                      <a:pt x="32" y="247"/>
                      <a:pt x="30" y="246"/>
                    </a:cubicBezTo>
                    <a:cubicBezTo>
                      <a:pt x="28" y="246"/>
                      <a:pt x="26" y="245"/>
                      <a:pt x="24" y="243"/>
                    </a:cubicBezTo>
                    <a:cubicBezTo>
                      <a:pt x="23" y="242"/>
                      <a:pt x="21" y="240"/>
                      <a:pt x="20" y="238"/>
                    </a:cubicBezTo>
                    <a:cubicBezTo>
                      <a:pt x="19" y="236"/>
                      <a:pt x="18" y="234"/>
                      <a:pt x="18" y="232"/>
                    </a:cubicBezTo>
                    <a:cubicBezTo>
                      <a:pt x="18" y="231"/>
                      <a:pt x="18" y="230"/>
                      <a:pt x="18" y="229"/>
                    </a:cubicBezTo>
                    <a:cubicBezTo>
                      <a:pt x="18" y="228"/>
                      <a:pt x="18" y="227"/>
                      <a:pt x="17" y="226"/>
                    </a:cubicBezTo>
                    <a:cubicBezTo>
                      <a:pt x="17" y="219"/>
                      <a:pt x="18" y="213"/>
                      <a:pt x="19" y="207"/>
                    </a:cubicBezTo>
                    <a:cubicBezTo>
                      <a:pt x="21" y="200"/>
                      <a:pt x="23" y="194"/>
                      <a:pt x="25" y="188"/>
                    </a:cubicBezTo>
                    <a:cubicBezTo>
                      <a:pt x="27" y="181"/>
                      <a:pt x="30" y="175"/>
                      <a:pt x="33" y="169"/>
                    </a:cubicBezTo>
                    <a:cubicBezTo>
                      <a:pt x="35" y="163"/>
                      <a:pt x="38" y="157"/>
                      <a:pt x="40" y="150"/>
                    </a:cubicBezTo>
                    <a:cubicBezTo>
                      <a:pt x="42" y="146"/>
                      <a:pt x="44" y="141"/>
                      <a:pt x="46" y="136"/>
                    </a:cubicBezTo>
                    <a:cubicBezTo>
                      <a:pt x="48" y="132"/>
                      <a:pt x="50" y="127"/>
                      <a:pt x="52" y="122"/>
                    </a:cubicBezTo>
                    <a:cubicBezTo>
                      <a:pt x="47" y="113"/>
                      <a:pt x="42" y="105"/>
                      <a:pt x="37" y="97"/>
                    </a:cubicBezTo>
                    <a:cubicBezTo>
                      <a:pt x="32" y="90"/>
                      <a:pt x="26" y="82"/>
                      <a:pt x="21" y="73"/>
                    </a:cubicBezTo>
                    <a:cubicBezTo>
                      <a:pt x="19" y="70"/>
                      <a:pt x="17" y="67"/>
                      <a:pt x="15" y="64"/>
                    </a:cubicBezTo>
                    <a:cubicBezTo>
                      <a:pt x="13" y="60"/>
                      <a:pt x="11" y="57"/>
                      <a:pt x="9" y="54"/>
                    </a:cubicBezTo>
                    <a:cubicBezTo>
                      <a:pt x="7" y="51"/>
                      <a:pt x="6" y="47"/>
                      <a:pt x="4" y="44"/>
                    </a:cubicBezTo>
                    <a:cubicBezTo>
                      <a:pt x="3" y="40"/>
                      <a:pt x="1" y="36"/>
                      <a:pt x="1" y="33"/>
                    </a:cubicBezTo>
                    <a:cubicBezTo>
                      <a:pt x="0" y="31"/>
                      <a:pt x="1" y="29"/>
                      <a:pt x="1" y="27"/>
                    </a:cubicBezTo>
                    <a:cubicBezTo>
                      <a:pt x="2" y="26"/>
                      <a:pt x="3" y="25"/>
                      <a:pt x="4" y="23"/>
                    </a:cubicBezTo>
                    <a:cubicBezTo>
                      <a:pt x="6" y="22"/>
                      <a:pt x="7" y="21"/>
                      <a:pt x="9" y="20"/>
                    </a:cubicBezTo>
                    <a:cubicBezTo>
                      <a:pt x="10" y="20"/>
                      <a:pt x="12" y="19"/>
                      <a:pt x="13" y="18"/>
                    </a:cubicBezTo>
                    <a:cubicBezTo>
                      <a:pt x="15" y="18"/>
                      <a:pt x="17" y="17"/>
                      <a:pt x="19" y="17"/>
                    </a:cubicBezTo>
                    <a:cubicBezTo>
                      <a:pt x="21" y="16"/>
                      <a:pt x="23" y="16"/>
                      <a:pt x="24" y="16"/>
                    </a:cubicBezTo>
                    <a:cubicBezTo>
                      <a:pt x="26" y="17"/>
                      <a:pt x="27" y="18"/>
                      <a:pt x="28" y="19"/>
                    </a:cubicBezTo>
                    <a:cubicBezTo>
                      <a:pt x="29" y="20"/>
                      <a:pt x="31" y="21"/>
                      <a:pt x="32" y="22"/>
                    </a:cubicBezTo>
                    <a:cubicBezTo>
                      <a:pt x="35" y="26"/>
                      <a:pt x="38" y="29"/>
                      <a:pt x="40" y="33"/>
                    </a:cubicBezTo>
                    <a:cubicBezTo>
                      <a:pt x="43" y="37"/>
                      <a:pt x="46" y="41"/>
                      <a:pt x="49" y="45"/>
                    </a:cubicBezTo>
                    <a:cubicBezTo>
                      <a:pt x="52" y="50"/>
                      <a:pt x="56" y="55"/>
                      <a:pt x="59" y="61"/>
                    </a:cubicBezTo>
                    <a:cubicBezTo>
                      <a:pt x="63" y="66"/>
                      <a:pt x="66" y="72"/>
                      <a:pt x="70" y="77"/>
                    </a:cubicBezTo>
                    <a:cubicBezTo>
                      <a:pt x="72" y="70"/>
                      <a:pt x="74" y="62"/>
                      <a:pt x="76" y="55"/>
                    </a:cubicBezTo>
                    <a:cubicBezTo>
                      <a:pt x="79" y="48"/>
                      <a:pt x="81" y="41"/>
                      <a:pt x="84" y="34"/>
                    </a:cubicBezTo>
                    <a:cubicBezTo>
                      <a:pt x="85" y="31"/>
                      <a:pt x="87" y="28"/>
                      <a:pt x="88" y="25"/>
                    </a:cubicBezTo>
                    <a:cubicBezTo>
                      <a:pt x="89" y="22"/>
                      <a:pt x="90" y="19"/>
                      <a:pt x="92" y="16"/>
                    </a:cubicBezTo>
                    <a:cubicBezTo>
                      <a:pt x="93" y="13"/>
                      <a:pt x="94" y="10"/>
                      <a:pt x="96" y="7"/>
                    </a:cubicBezTo>
                    <a:cubicBezTo>
                      <a:pt x="98" y="4"/>
                      <a:pt x="100" y="2"/>
                      <a:pt x="103" y="0"/>
                    </a:cubicBezTo>
                    <a:cubicBezTo>
                      <a:pt x="106" y="0"/>
                      <a:pt x="108" y="0"/>
                      <a:pt x="111" y="1"/>
                    </a:cubicBezTo>
                    <a:cubicBezTo>
                      <a:pt x="114" y="2"/>
                      <a:pt x="116" y="4"/>
                      <a:pt x="118" y="5"/>
                    </a:cubicBezTo>
                    <a:cubicBezTo>
                      <a:pt x="120" y="7"/>
                      <a:pt x="122" y="9"/>
                      <a:pt x="123" y="11"/>
                    </a:cubicBezTo>
                    <a:cubicBezTo>
                      <a:pt x="125" y="14"/>
                      <a:pt x="126" y="16"/>
                      <a:pt x="126" y="19"/>
                    </a:cubicBezTo>
                    <a:cubicBezTo>
                      <a:pt x="127" y="28"/>
                      <a:pt x="126" y="37"/>
                      <a:pt x="124" y="45"/>
                    </a:cubicBezTo>
                    <a:cubicBezTo>
                      <a:pt x="122" y="53"/>
                      <a:pt x="119" y="62"/>
                      <a:pt x="115" y="70"/>
                    </a:cubicBezTo>
                    <a:cubicBezTo>
                      <a:pt x="112" y="78"/>
                      <a:pt x="108" y="86"/>
                      <a:pt x="104" y="94"/>
                    </a:cubicBezTo>
                    <a:cubicBezTo>
                      <a:pt x="100" y="102"/>
                      <a:pt x="96" y="110"/>
                      <a:pt x="92" y="118"/>
                    </a:cubicBezTo>
                    <a:cubicBezTo>
                      <a:pt x="98" y="128"/>
                      <a:pt x="104" y="137"/>
                      <a:pt x="111" y="145"/>
                    </a:cubicBezTo>
                    <a:cubicBezTo>
                      <a:pt x="118" y="154"/>
                      <a:pt x="125" y="162"/>
                      <a:pt x="132" y="171"/>
                    </a:cubicBezTo>
                    <a:cubicBezTo>
                      <a:pt x="137" y="178"/>
                      <a:pt x="142" y="184"/>
                      <a:pt x="147" y="191"/>
                    </a:cubicBezTo>
                    <a:cubicBezTo>
                      <a:pt x="152" y="197"/>
                      <a:pt x="156" y="204"/>
                      <a:pt x="160" y="21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3" name="îšḻíḓê">
                <a:extLst>
                  <a:ext uri="{FF2B5EF4-FFF2-40B4-BE49-F238E27FC236}">
                    <a16:creationId xmlns:a16="http://schemas.microsoft.com/office/drawing/2014/main" id="{425DF284-9D81-4FD1-A856-10A92D70D27C}"/>
                  </a:ext>
                </a:extLst>
              </p:cNvPr>
              <p:cNvSpPr/>
              <p:nvPr/>
            </p:nvSpPr>
            <p:spPr>
              <a:xfrm flipH="1">
                <a:off x="9861855" y="1644403"/>
                <a:ext cx="106644" cy="149413"/>
              </a:xfrm>
              <a:custGeom>
                <a:avLst/>
                <a:gdLst/>
                <a:ahLst/>
                <a:cxnLst/>
                <a:rect l="l" t="t" r="r" b="b"/>
                <a:pathLst>
                  <a:path w="81" h="114" extrusionOk="0">
                    <a:moveTo>
                      <a:pt x="81" y="107"/>
                    </a:moveTo>
                    <a:cubicBezTo>
                      <a:pt x="80" y="109"/>
                      <a:pt x="80" y="110"/>
                      <a:pt x="79" y="111"/>
                    </a:cubicBezTo>
                    <a:cubicBezTo>
                      <a:pt x="77" y="112"/>
                      <a:pt x="76" y="113"/>
                      <a:pt x="75" y="113"/>
                    </a:cubicBezTo>
                    <a:cubicBezTo>
                      <a:pt x="74" y="113"/>
                      <a:pt x="73" y="113"/>
                      <a:pt x="72" y="113"/>
                    </a:cubicBezTo>
                    <a:cubicBezTo>
                      <a:pt x="71" y="113"/>
                      <a:pt x="71" y="113"/>
                      <a:pt x="70" y="113"/>
                    </a:cubicBezTo>
                    <a:cubicBezTo>
                      <a:pt x="69" y="113"/>
                      <a:pt x="68" y="113"/>
                      <a:pt x="68" y="112"/>
                    </a:cubicBezTo>
                    <a:cubicBezTo>
                      <a:pt x="67" y="112"/>
                      <a:pt x="67" y="111"/>
                      <a:pt x="66" y="111"/>
                    </a:cubicBezTo>
                    <a:cubicBezTo>
                      <a:pt x="65" y="109"/>
                      <a:pt x="65" y="108"/>
                      <a:pt x="65" y="106"/>
                    </a:cubicBezTo>
                    <a:cubicBezTo>
                      <a:pt x="64" y="105"/>
                      <a:pt x="64" y="103"/>
                      <a:pt x="64" y="101"/>
                    </a:cubicBezTo>
                    <a:cubicBezTo>
                      <a:pt x="64" y="99"/>
                      <a:pt x="63" y="97"/>
                      <a:pt x="63" y="95"/>
                    </a:cubicBezTo>
                    <a:cubicBezTo>
                      <a:pt x="63" y="93"/>
                      <a:pt x="63" y="91"/>
                      <a:pt x="62" y="89"/>
                    </a:cubicBezTo>
                    <a:cubicBezTo>
                      <a:pt x="61" y="88"/>
                      <a:pt x="60" y="88"/>
                      <a:pt x="58" y="88"/>
                    </a:cubicBezTo>
                    <a:cubicBezTo>
                      <a:pt x="57" y="87"/>
                      <a:pt x="56" y="87"/>
                      <a:pt x="54" y="87"/>
                    </a:cubicBezTo>
                    <a:cubicBezTo>
                      <a:pt x="51" y="87"/>
                      <a:pt x="48" y="87"/>
                      <a:pt x="45" y="88"/>
                    </a:cubicBezTo>
                    <a:cubicBezTo>
                      <a:pt x="43" y="88"/>
                      <a:pt x="40" y="88"/>
                      <a:pt x="37" y="89"/>
                    </a:cubicBezTo>
                    <a:cubicBezTo>
                      <a:pt x="34" y="90"/>
                      <a:pt x="31" y="90"/>
                      <a:pt x="29" y="91"/>
                    </a:cubicBezTo>
                    <a:cubicBezTo>
                      <a:pt x="26" y="92"/>
                      <a:pt x="24" y="93"/>
                      <a:pt x="21" y="95"/>
                    </a:cubicBezTo>
                    <a:cubicBezTo>
                      <a:pt x="20" y="96"/>
                      <a:pt x="19" y="98"/>
                      <a:pt x="18" y="100"/>
                    </a:cubicBezTo>
                    <a:cubicBezTo>
                      <a:pt x="18" y="102"/>
                      <a:pt x="17" y="105"/>
                      <a:pt x="17" y="107"/>
                    </a:cubicBezTo>
                    <a:cubicBezTo>
                      <a:pt x="17" y="107"/>
                      <a:pt x="17" y="108"/>
                      <a:pt x="17" y="109"/>
                    </a:cubicBezTo>
                    <a:cubicBezTo>
                      <a:pt x="16" y="110"/>
                      <a:pt x="16" y="111"/>
                      <a:pt x="15" y="111"/>
                    </a:cubicBezTo>
                    <a:cubicBezTo>
                      <a:pt x="14" y="112"/>
                      <a:pt x="14" y="113"/>
                      <a:pt x="13" y="113"/>
                    </a:cubicBezTo>
                    <a:cubicBezTo>
                      <a:pt x="12" y="113"/>
                      <a:pt x="11" y="114"/>
                      <a:pt x="10" y="113"/>
                    </a:cubicBezTo>
                    <a:cubicBezTo>
                      <a:pt x="8" y="113"/>
                      <a:pt x="7" y="112"/>
                      <a:pt x="6" y="111"/>
                    </a:cubicBezTo>
                    <a:cubicBezTo>
                      <a:pt x="4" y="110"/>
                      <a:pt x="3" y="109"/>
                      <a:pt x="3" y="107"/>
                    </a:cubicBezTo>
                    <a:cubicBezTo>
                      <a:pt x="1" y="105"/>
                      <a:pt x="0" y="101"/>
                      <a:pt x="0" y="98"/>
                    </a:cubicBezTo>
                    <a:cubicBezTo>
                      <a:pt x="0" y="95"/>
                      <a:pt x="0" y="91"/>
                      <a:pt x="2" y="88"/>
                    </a:cubicBezTo>
                    <a:cubicBezTo>
                      <a:pt x="3" y="85"/>
                      <a:pt x="4" y="82"/>
                      <a:pt x="5" y="78"/>
                    </a:cubicBezTo>
                    <a:cubicBezTo>
                      <a:pt x="7" y="75"/>
                      <a:pt x="9" y="71"/>
                      <a:pt x="10" y="68"/>
                    </a:cubicBezTo>
                    <a:cubicBezTo>
                      <a:pt x="12" y="64"/>
                      <a:pt x="13" y="61"/>
                      <a:pt x="15" y="57"/>
                    </a:cubicBezTo>
                    <a:cubicBezTo>
                      <a:pt x="17" y="52"/>
                      <a:pt x="19" y="46"/>
                      <a:pt x="21" y="41"/>
                    </a:cubicBezTo>
                    <a:cubicBezTo>
                      <a:pt x="23" y="35"/>
                      <a:pt x="25" y="30"/>
                      <a:pt x="26" y="24"/>
                    </a:cubicBezTo>
                    <a:cubicBezTo>
                      <a:pt x="27" y="22"/>
                      <a:pt x="29" y="20"/>
                      <a:pt x="30" y="17"/>
                    </a:cubicBezTo>
                    <a:cubicBezTo>
                      <a:pt x="31" y="15"/>
                      <a:pt x="32" y="12"/>
                      <a:pt x="34" y="10"/>
                    </a:cubicBezTo>
                    <a:cubicBezTo>
                      <a:pt x="35" y="8"/>
                      <a:pt x="37" y="6"/>
                      <a:pt x="39" y="4"/>
                    </a:cubicBezTo>
                    <a:cubicBezTo>
                      <a:pt x="40" y="2"/>
                      <a:pt x="43" y="1"/>
                      <a:pt x="45" y="0"/>
                    </a:cubicBezTo>
                    <a:cubicBezTo>
                      <a:pt x="48" y="0"/>
                      <a:pt x="50" y="1"/>
                      <a:pt x="52" y="2"/>
                    </a:cubicBezTo>
                    <a:cubicBezTo>
                      <a:pt x="54" y="3"/>
                      <a:pt x="56" y="4"/>
                      <a:pt x="58" y="6"/>
                    </a:cubicBezTo>
                    <a:cubicBezTo>
                      <a:pt x="60" y="7"/>
                      <a:pt x="61" y="9"/>
                      <a:pt x="62" y="11"/>
                    </a:cubicBezTo>
                    <a:cubicBezTo>
                      <a:pt x="64" y="13"/>
                      <a:pt x="65" y="15"/>
                      <a:pt x="65" y="17"/>
                    </a:cubicBezTo>
                    <a:cubicBezTo>
                      <a:pt x="66" y="20"/>
                      <a:pt x="67" y="22"/>
                      <a:pt x="67" y="24"/>
                    </a:cubicBezTo>
                    <a:cubicBezTo>
                      <a:pt x="68" y="27"/>
                      <a:pt x="68" y="29"/>
                      <a:pt x="69" y="31"/>
                    </a:cubicBezTo>
                    <a:cubicBezTo>
                      <a:pt x="71" y="41"/>
                      <a:pt x="73" y="50"/>
                      <a:pt x="74" y="59"/>
                    </a:cubicBezTo>
                    <a:cubicBezTo>
                      <a:pt x="76" y="69"/>
                      <a:pt x="78" y="78"/>
                      <a:pt x="79" y="87"/>
                    </a:cubicBezTo>
                    <a:cubicBezTo>
                      <a:pt x="79" y="89"/>
                      <a:pt x="80" y="91"/>
                      <a:pt x="80" y="92"/>
                    </a:cubicBezTo>
                    <a:cubicBezTo>
                      <a:pt x="80" y="94"/>
                      <a:pt x="81" y="95"/>
                      <a:pt x="81" y="97"/>
                    </a:cubicBezTo>
                    <a:cubicBezTo>
                      <a:pt x="81" y="99"/>
                      <a:pt x="81" y="100"/>
                      <a:pt x="81" y="102"/>
                    </a:cubicBezTo>
                    <a:cubicBezTo>
                      <a:pt x="81" y="104"/>
                      <a:pt x="81" y="105"/>
                      <a:pt x="81" y="107"/>
                    </a:cubicBezTo>
                    <a:close/>
                    <a:moveTo>
                      <a:pt x="55" y="62"/>
                    </a:moveTo>
                    <a:cubicBezTo>
                      <a:pt x="55" y="58"/>
                      <a:pt x="55" y="55"/>
                      <a:pt x="54" y="52"/>
                    </a:cubicBezTo>
                    <a:cubicBezTo>
                      <a:pt x="54" y="49"/>
                      <a:pt x="53" y="45"/>
                      <a:pt x="53" y="42"/>
                    </a:cubicBezTo>
                    <a:cubicBezTo>
                      <a:pt x="52" y="39"/>
                      <a:pt x="51" y="36"/>
                      <a:pt x="50" y="33"/>
                    </a:cubicBezTo>
                    <a:cubicBezTo>
                      <a:pt x="49" y="30"/>
                      <a:pt x="48" y="27"/>
                      <a:pt x="48" y="24"/>
                    </a:cubicBezTo>
                    <a:cubicBezTo>
                      <a:pt x="45" y="26"/>
                      <a:pt x="43" y="29"/>
                      <a:pt x="41" y="32"/>
                    </a:cubicBezTo>
                    <a:cubicBezTo>
                      <a:pt x="39" y="36"/>
                      <a:pt x="37" y="39"/>
                      <a:pt x="36" y="42"/>
                    </a:cubicBezTo>
                    <a:cubicBezTo>
                      <a:pt x="35" y="46"/>
                      <a:pt x="33" y="49"/>
                      <a:pt x="32" y="53"/>
                    </a:cubicBezTo>
                    <a:cubicBezTo>
                      <a:pt x="31" y="56"/>
                      <a:pt x="30" y="60"/>
                      <a:pt x="30" y="63"/>
                    </a:cubicBezTo>
                    <a:cubicBezTo>
                      <a:pt x="30" y="64"/>
                      <a:pt x="30" y="64"/>
                      <a:pt x="30" y="64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30" y="66"/>
                      <a:pt x="30" y="66"/>
                      <a:pt x="30" y="67"/>
                    </a:cubicBezTo>
                    <a:cubicBezTo>
                      <a:pt x="30" y="67"/>
                      <a:pt x="30" y="67"/>
                      <a:pt x="30" y="68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1" y="69"/>
                      <a:pt x="32" y="69"/>
                      <a:pt x="33" y="69"/>
                    </a:cubicBezTo>
                    <a:cubicBezTo>
                      <a:pt x="34" y="69"/>
                      <a:pt x="35" y="69"/>
                      <a:pt x="36" y="69"/>
                    </a:cubicBezTo>
                    <a:cubicBezTo>
                      <a:pt x="37" y="69"/>
                      <a:pt x="38" y="69"/>
                      <a:pt x="39" y="69"/>
                    </a:cubicBezTo>
                    <a:cubicBezTo>
                      <a:pt x="40" y="69"/>
                      <a:pt x="41" y="69"/>
                      <a:pt x="42" y="69"/>
                    </a:cubicBezTo>
                    <a:cubicBezTo>
                      <a:pt x="43" y="69"/>
                      <a:pt x="44" y="69"/>
                      <a:pt x="46" y="69"/>
                    </a:cubicBezTo>
                    <a:cubicBezTo>
                      <a:pt x="47" y="69"/>
                      <a:pt x="49" y="69"/>
                      <a:pt x="50" y="68"/>
                    </a:cubicBezTo>
                    <a:cubicBezTo>
                      <a:pt x="52" y="67"/>
                      <a:pt x="53" y="67"/>
                      <a:pt x="54" y="66"/>
                    </a:cubicBezTo>
                    <a:cubicBezTo>
                      <a:pt x="54" y="65"/>
                      <a:pt x="55" y="63"/>
                      <a:pt x="55" y="6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4" name="işlîďè">
                <a:extLst>
                  <a:ext uri="{FF2B5EF4-FFF2-40B4-BE49-F238E27FC236}">
                    <a16:creationId xmlns:a16="http://schemas.microsoft.com/office/drawing/2014/main" id="{CD3600DF-804E-47B6-8673-3B0584A4F117}"/>
                  </a:ext>
                </a:extLst>
              </p:cNvPr>
              <p:cNvSpPr/>
              <p:nvPr/>
            </p:nvSpPr>
            <p:spPr>
              <a:xfrm flipH="1">
                <a:off x="9662453" y="1762156"/>
                <a:ext cx="102201" cy="169409"/>
              </a:xfrm>
              <a:custGeom>
                <a:avLst/>
                <a:gdLst/>
                <a:ahLst/>
                <a:cxnLst/>
                <a:rect l="l" t="t" r="r" b="b"/>
                <a:pathLst>
                  <a:path w="78" h="129" extrusionOk="0">
                    <a:moveTo>
                      <a:pt x="67" y="123"/>
                    </a:moveTo>
                    <a:cubicBezTo>
                      <a:pt x="66" y="124"/>
                      <a:pt x="65" y="126"/>
                      <a:pt x="64" y="127"/>
                    </a:cubicBezTo>
                    <a:cubicBezTo>
                      <a:pt x="62" y="128"/>
                      <a:pt x="60" y="129"/>
                      <a:pt x="58" y="129"/>
                    </a:cubicBezTo>
                    <a:cubicBezTo>
                      <a:pt x="58" y="129"/>
                      <a:pt x="58" y="129"/>
                      <a:pt x="57" y="129"/>
                    </a:cubicBezTo>
                    <a:cubicBezTo>
                      <a:pt x="57" y="129"/>
                      <a:pt x="56" y="129"/>
                      <a:pt x="56" y="129"/>
                    </a:cubicBezTo>
                    <a:cubicBezTo>
                      <a:pt x="55" y="126"/>
                      <a:pt x="53" y="122"/>
                      <a:pt x="52" y="119"/>
                    </a:cubicBezTo>
                    <a:cubicBezTo>
                      <a:pt x="50" y="116"/>
                      <a:pt x="48" y="114"/>
                      <a:pt x="46" y="111"/>
                    </a:cubicBezTo>
                    <a:cubicBezTo>
                      <a:pt x="45" y="113"/>
                      <a:pt x="43" y="114"/>
                      <a:pt x="42" y="115"/>
                    </a:cubicBezTo>
                    <a:cubicBezTo>
                      <a:pt x="40" y="117"/>
                      <a:pt x="39" y="118"/>
                      <a:pt x="37" y="118"/>
                    </a:cubicBezTo>
                    <a:cubicBezTo>
                      <a:pt x="35" y="119"/>
                      <a:pt x="34" y="120"/>
                      <a:pt x="32" y="120"/>
                    </a:cubicBezTo>
                    <a:cubicBezTo>
                      <a:pt x="30" y="121"/>
                      <a:pt x="28" y="121"/>
                      <a:pt x="27" y="120"/>
                    </a:cubicBezTo>
                    <a:cubicBezTo>
                      <a:pt x="24" y="120"/>
                      <a:pt x="21" y="119"/>
                      <a:pt x="19" y="118"/>
                    </a:cubicBezTo>
                    <a:cubicBezTo>
                      <a:pt x="16" y="116"/>
                      <a:pt x="14" y="115"/>
                      <a:pt x="13" y="113"/>
                    </a:cubicBezTo>
                    <a:cubicBezTo>
                      <a:pt x="11" y="111"/>
                      <a:pt x="9" y="108"/>
                      <a:pt x="8" y="106"/>
                    </a:cubicBezTo>
                    <a:cubicBezTo>
                      <a:pt x="7" y="104"/>
                      <a:pt x="5" y="101"/>
                      <a:pt x="4" y="99"/>
                    </a:cubicBezTo>
                    <a:cubicBezTo>
                      <a:pt x="2" y="94"/>
                      <a:pt x="1" y="89"/>
                      <a:pt x="0" y="83"/>
                    </a:cubicBezTo>
                    <a:cubicBezTo>
                      <a:pt x="0" y="78"/>
                      <a:pt x="0" y="72"/>
                      <a:pt x="1" y="67"/>
                    </a:cubicBezTo>
                    <a:cubicBezTo>
                      <a:pt x="1" y="66"/>
                      <a:pt x="1" y="64"/>
                      <a:pt x="1" y="63"/>
                    </a:cubicBezTo>
                    <a:cubicBezTo>
                      <a:pt x="1" y="62"/>
                      <a:pt x="2" y="61"/>
                      <a:pt x="2" y="59"/>
                    </a:cubicBezTo>
                    <a:cubicBezTo>
                      <a:pt x="3" y="53"/>
                      <a:pt x="6" y="46"/>
                      <a:pt x="8" y="40"/>
                    </a:cubicBezTo>
                    <a:cubicBezTo>
                      <a:pt x="11" y="33"/>
                      <a:pt x="15" y="27"/>
                      <a:pt x="19" y="21"/>
                    </a:cubicBezTo>
                    <a:cubicBezTo>
                      <a:pt x="21" y="18"/>
                      <a:pt x="23" y="16"/>
                      <a:pt x="26" y="13"/>
                    </a:cubicBezTo>
                    <a:cubicBezTo>
                      <a:pt x="28" y="10"/>
                      <a:pt x="31" y="8"/>
                      <a:pt x="34" y="6"/>
                    </a:cubicBezTo>
                    <a:cubicBezTo>
                      <a:pt x="37" y="4"/>
                      <a:pt x="40" y="3"/>
                      <a:pt x="44" y="2"/>
                    </a:cubicBezTo>
                    <a:cubicBezTo>
                      <a:pt x="47" y="1"/>
                      <a:pt x="50" y="0"/>
                      <a:pt x="54" y="1"/>
                    </a:cubicBezTo>
                    <a:cubicBezTo>
                      <a:pt x="57" y="1"/>
                      <a:pt x="60" y="2"/>
                      <a:pt x="63" y="4"/>
                    </a:cubicBezTo>
                    <a:cubicBezTo>
                      <a:pt x="65" y="5"/>
                      <a:pt x="68" y="7"/>
                      <a:pt x="69" y="10"/>
                    </a:cubicBezTo>
                    <a:cubicBezTo>
                      <a:pt x="71" y="12"/>
                      <a:pt x="73" y="15"/>
                      <a:pt x="74" y="18"/>
                    </a:cubicBezTo>
                    <a:cubicBezTo>
                      <a:pt x="75" y="21"/>
                      <a:pt x="76" y="24"/>
                      <a:pt x="76" y="27"/>
                    </a:cubicBezTo>
                    <a:cubicBezTo>
                      <a:pt x="77" y="33"/>
                      <a:pt x="78" y="39"/>
                      <a:pt x="77" y="45"/>
                    </a:cubicBezTo>
                    <a:cubicBezTo>
                      <a:pt x="77" y="52"/>
                      <a:pt x="76" y="58"/>
                      <a:pt x="75" y="64"/>
                    </a:cubicBezTo>
                    <a:cubicBezTo>
                      <a:pt x="74" y="67"/>
                      <a:pt x="73" y="70"/>
                      <a:pt x="72" y="73"/>
                    </a:cubicBezTo>
                    <a:cubicBezTo>
                      <a:pt x="71" y="76"/>
                      <a:pt x="70" y="79"/>
                      <a:pt x="69" y="82"/>
                    </a:cubicBezTo>
                    <a:cubicBezTo>
                      <a:pt x="68" y="85"/>
                      <a:pt x="66" y="88"/>
                      <a:pt x="64" y="91"/>
                    </a:cubicBezTo>
                    <a:cubicBezTo>
                      <a:pt x="63" y="93"/>
                      <a:pt x="61" y="96"/>
                      <a:pt x="58" y="98"/>
                    </a:cubicBezTo>
                    <a:cubicBezTo>
                      <a:pt x="59" y="101"/>
                      <a:pt x="60" y="104"/>
                      <a:pt x="62" y="106"/>
                    </a:cubicBezTo>
                    <a:cubicBezTo>
                      <a:pt x="63" y="109"/>
                      <a:pt x="64" y="112"/>
                      <a:pt x="66" y="114"/>
                    </a:cubicBezTo>
                    <a:cubicBezTo>
                      <a:pt x="66" y="116"/>
                      <a:pt x="67" y="117"/>
                      <a:pt x="67" y="118"/>
                    </a:cubicBezTo>
                    <a:cubicBezTo>
                      <a:pt x="67" y="120"/>
                      <a:pt x="67" y="121"/>
                      <a:pt x="67" y="123"/>
                    </a:cubicBezTo>
                    <a:close/>
                    <a:moveTo>
                      <a:pt x="56" y="61"/>
                    </a:moveTo>
                    <a:cubicBezTo>
                      <a:pt x="57" y="57"/>
                      <a:pt x="57" y="53"/>
                      <a:pt x="58" y="49"/>
                    </a:cubicBezTo>
                    <a:cubicBezTo>
                      <a:pt x="59" y="45"/>
                      <a:pt x="59" y="41"/>
                      <a:pt x="59" y="36"/>
                    </a:cubicBezTo>
                    <a:cubicBezTo>
                      <a:pt x="59" y="35"/>
                      <a:pt x="59" y="33"/>
                      <a:pt x="59" y="31"/>
                    </a:cubicBezTo>
                    <a:cubicBezTo>
                      <a:pt x="59" y="29"/>
                      <a:pt x="59" y="27"/>
                      <a:pt x="58" y="25"/>
                    </a:cubicBezTo>
                    <a:cubicBezTo>
                      <a:pt x="58" y="23"/>
                      <a:pt x="57" y="22"/>
                      <a:pt x="56" y="20"/>
                    </a:cubicBezTo>
                    <a:cubicBezTo>
                      <a:pt x="55" y="19"/>
                      <a:pt x="53" y="18"/>
                      <a:pt x="52" y="17"/>
                    </a:cubicBezTo>
                    <a:cubicBezTo>
                      <a:pt x="49" y="17"/>
                      <a:pt x="46" y="18"/>
                      <a:pt x="44" y="19"/>
                    </a:cubicBezTo>
                    <a:cubicBezTo>
                      <a:pt x="42" y="21"/>
                      <a:pt x="40" y="22"/>
                      <a:pt x="38" y="24"/>
                    </a:cubicBezTo>
                    <a:cubicBezTo>
                      <a:pt x="36" y="26"/>
                      <a:pt x="35" y="29"/>
                      <a:pt x="33" y="31"/>
                    </a:cubicBezTo>
                    <a:cubicBezTo>
                      <a:pt x="32" y="33"/>
                      <a:pt x="31" y="36"/>
                      <a:pt x="30" y="38"/>
                    </a:cubicBezTo>
                    <a:cubicBezTo>
                      <a:pt x="27" y="43"/>
                      <a:pt x="24" y="48"/>
                      <a:pt x="22" y="53"/>
                    </a:cubicBezTo>
                    <a:cubicBezTo>
                      <a:pt x="20" y="58"/>
                      <a:pt x="19" y="64"/>
                      <a:pt x="17" y="69"/>
                    </a:cubicBezTo>
                    <a:cubicBezTo>
                      <a:pt x="17" y="72"/>
                      <a:pt x="17" y="75"/>
                      <a:pt x="16" y="78"/>
                    </a:cubicBezTo>
                    <a:cubicBezTo>
                      <a:pt x="16" y="81"/>
                      <a:pt x="15" y="84"/>
                      <a:pt x="16" y="87"/>
                    </a:cubicBezTo>
                    <a:cubicBezTo>
                      <a:pt x="16" y="90"/>
                      <a:pt x="16" y="93"/>
                      <a:pt x="18" y="95"/>
                    </a:cubicBezTo>
                    <a:cubicBezTo>
                      <a:pt x="19" y="98"/>
                      <a:pt x="21" y="99"/>
                      <a:pt x="25" y="100"/>
                    </a:cubicBezTo>
                    <a:cubicBezTo>
                      <a:pt x="26" y="100"/>
                      <a:pt x="27" y="100"/>
                      <a:pt x="28" y="100"/>
                    </a:cubicBezTo>
                    <a:cubicBezTo>
                      <a:pt x="29" y="100"/>
                      <a:pt x="30" y="99"/>
                      <a:pt x="31" y="99"/>
                    </a:cubicBezTo>
                    <a:cubicBezTo>
                      <a:pt x="32" y="98"/>
                      <a:pt x="33" y="97"/>
                      <a:pt x="34" y="96"/>
                    </a:cubicBezTo>
                    <a:cubicBezTo>
                      <a:pt x="34" y="95"/>
                      <a:pt x="35" y="94"/>
                      <a:pt x="35" y="93"/>
                    </a:cubicBezTo>
                    <a:cubicBezTo>
                      <a:pt x="35" y="92"/>
                      <a:pt x="34" y="90"/>
                      <a:pt x="33" y="88"/>
                    </a:cubicBezTo>
                    <a:cubicBezTo>
                      <a:pt x="32" y="87"/>
                      <a:pt x="31" y="85"/>
                      <a:pt x="30" y="83"/>
                    </a:cubicBezTo>
                    <a:cubicBezTo>
                      <a:pt x="29" y="82"/>
                      <a:pt x="29" y="80"/>
                      <a:pt x="28" y="78"/>
                    </a:cubicBezTo>
                    <a:cubicBezTo>
                      <a:pt x="28" y="76"/>
                      <a:pt x="28" y="74"/>
                      <a:pt x="28" y="72"/>
                    </a:cubicBezTo>
                    <a:cubicBezTo>
                      <a:pt x="28" y="72"/>
                      <a:pt x="28" y="71"/>
                      <a:pt x="29" y="70"/>
                    </a:cubicBezTo>
                    <a:cubicBezTo>
                      <a:pt x="29" y="70"/>
                      <a:pt x="30" y="69"/>
                      <a:pt x="31" y="69"/>
                    </a:cubicBezTo>
                    <a:cubicBezTo>
                      <a:pt x="31" y="68"/>
                      <a:pt x="32" y="68"/>
                      <a:pt x="33" y="68"/>
                    </a:cubicBezTo>
                    <a:cubicBezTo>
                      <a:pt x="33" y="68"/>
                      <a:pt x="34" y="68"/>
                      <a:pt x="35" y="68"/>
                    </a:cubicBezTo>
                    <a:cubicBezTo>
                      <a:pt x="38" y="69"/>
                      <a:pt x="41" y="70"/>
                      <a:pt x="43" y="72"/>
                    </a:cubicBezTo>
                    <a:cubicBezTo>
                      <a:pt x="46" y="74"/>
                      <a:pt x="47" y="77"/>
                      <a:pt x="48" y="80"/>
                    </a:cubicBezTo>
                    <a:cubicBezTo>
                      <a:pt x="50" y="77"/>
                      <a:pt x="52" y="74"/>
                      <a:pt x="53" y="71"/>
                    </a:cubicBezTo>
                    <a:cubicBezTo>
                      <a:pt x="54" y="68"/>
                      <a:pt x="55" y="65"/>
                      <a:pt x="56" y="6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5" name="isľiḓê">
                <a:extLst>
                  <a:ext uri="{FF2B5EF4-FFF2-40B4-BE49-F238E27FC236}">
                    <a16:creationId xmlns:a16="http://schemas.microsoft.com/office/drawing/2014/main" id="{532629CA-6956-4193-8D3E-4CDAFF5E8F28}"/>
                  </a:ext>
                </a:extLst>
              </p:cNvPr>
              <p:cNvSpPr/>
              <p:nvPr/>
            </p:nvSpPr>
            <p:spPr>
              <a:xfrm flipH="1">
                <a:off x="10413405" y="1222824"/>
                <a:ext cx="266610" cy="378255"/>
              </a:xfrm>
              <a:custGeom>
                <a:avLst/>
                <a:gdLst/>
                <a:ahLst/>
                <a:cxnLst/>
                <a:rect l="l" t="t" r="r" b="b"/>
                <a:pathLst>
                  <a:path w="203" h="288" extrusionOk="0">
                    <a:moveTo>
                      <a:pt x="203" y="90"/>
                    </a:moveTo>
                    <a:cubicBezTo>
                      <a:pt x="203" y="93"/>
                      <a:pt x="203" y="95"/>
                      <a:pt x="202" y="98"/>
                    </a:cubicBezTo>
                    <a:cubicBezTo>
                      <a:pt x="200" y="100"/>
                      <a:pt x="199" y="102"/>
                      <a:pt x="197" y="103"/>
                    </a:cubicBezTo>
                    <a:cubicBezTo>
                      <a:pt x="195" y="104"/>
                      <a:pt x="192" y="105"/>
                      <a:pt x="190" y="106"/>
                    </a:cubicBezTo>
                    <a:cubicBezTo>
                      <a:pt x="187" y="107"/>
                      <a:pt x="184" y="107"/>
                      <a:pt x="182" y="106"/>
                    </a:cubicBezTo>
                    <a:cubicBezTo>
                      <a:pt x="177" y="106"/>
                      <a:pt x="173" y="104"/>
                      <a:pt x="169" y="101"/>
                    </a:cubicBezTo>
                    <a:cubicBezTo>
                      <a:pt x="165" y="98"/>
                      <a:pt x="162" y="94"/>
                      <a:pt x="161" y="90"/>
                    </a:cubicBezTo>
                    <a:cubicBezTo>
                      <a:pt x="159" y="85"/>
                      <a:pt x="157" y="81"/>
                      <a:pt x="155" y="76"/>
                    </a:cubicBezTo>
                    <a:cubicBezTo>
                      <a:pt x="153" y="71"/>
                      <a:pt x="152" y="66"/>
                      <a:pt x="150" y="61"/>
                    </a:cubicBezTo>
                    <a:cubicBezTo>
                      <a:pt x="149" y="57"/>
                      <a:pt x="146" y="53"/>
                      <a:pt x="142" y="50"/>
                    </a:cubicBezTo>
                    <a:cubicBezTo>
                      <a:pt x="139" y="47"/>
                      <a:pt x="134" y="45"/>
                      <a:pt x="129" y="45"/>
                    </a:cubicBezTo>
                    <a:cubicBezTo>
                      <a:pt x="123" y="45"/>
                      <a:pt x="117" y="46"/>
                      <a:pt x="111" y="49"/>
                    </a:cubicBezTo>
                    <a:cubicBezTo>
                      <a:pt x="105" y="52"/>
                      <a:pt x="100" y="55"/>
                      <a:pt x="96" y="60"/>
                    </a:cubicBezTo>
                    <a:cubicBezTo>
                      <a:pt x="91" y="64"/>
                      <a:pt x="87" y="69"/>
                      <a:pt x="83" y="74"/>
                    </a:cubicBezTo>
                    <a:cubicBezTo>
                      <a:pt x="79" y="80"/>
                      <a:pt x="76" y="85"/>
                      <a:pt x="73" y="91"/>
                    </a:cubicBezTo>
                    <a:cubicBezTo>
                      <a:pt x="67" y="102"/>
                      <a:pt x="61" y="114"/>
                      <a:pt x="58" y="126"/>
                    </a:cubicBezTo>
                    <a:cubicBezTo>
                      <a:pt x="54" y="139"/>
                      <a:pt x="51" y="151"/>
                      <a:pt x="50" y="164"/>
                    </a:cubicBezTo>
                    <a:cubicBezTo>
                      <a:pt x="50" y="173"/>
                      <a:pt x="50" y="182"/>
                      <a:pt x="52" y="192"/>
                    </a:cubicBezTo>
                    <a:cubicBezTo>
                      <a:pt x="53" y="201"/>
                      <a:pt x="57" y="209"/>
                      <a:pt x="63" y="216"/>
                    </a:cubicBezTo>
                    <a:cubicBezTo>
                      <a:pt x="67" y="223"/>
                      <a:pt x="74" y="229"/>
                      <a:pt x="82" y="234"/>
                    </a:cubicBezTo>
                    <a:cubicBezTo>
                      <a:pt x="91" y="238"/>
                      <a:pt x="99" y="240"/>
                      <a:pt x="109" y="240"/>
                    </a:cubicBezTo>
                    <a:cubicBezTo>
                      <a:pt x="114" y="240"/>
                      <a:pt x="119" y="239"/>
                      <a:pt x="125" y="238"/>
                    </a:cubicBezTo>
                    <a:cubicBezTo>
                      <a:pt x="130" y="236"/>
                      <a:pt x="135" y="234"/>
                      <a:pt x="140" y="232"/>
                    </a:cubicBezTo>
                    <a:cubicBezTo>
                      <a:pt x="143" y="229"/>
                      <a:pt x="147" y="227"/>
                      <a:pt x="150" y="224"/>
                    </a:cubicBezTo>
                    <a:cubicBezTo>
                      <a:pt x="154" y="221"/>
                      <a:pt x="157" y="219"/>
                      <a:pt x="161" y="216"/>
                    </a:cubicBezTo>
                    <a:cubicBezTo>
                      <a:pt x="163" y="214"/>
                      <a:pt x="165" y="213"/>
                      <a:pt x="167" y="211"/>
                    </a:cubicBezTo>
                    <a:cubicBezTo>
                      <a:pt x="169" y="209"/>
                      <a:pt x="171" y="208"/>
                      <a:pt x="174" y="207"/>
                    </a:cubicBezTo>
                    <a:cubicBezTo>
                      <a:pt x="177" y="207"/>
                      <a:pt x="179" y="208"/>
                      <a:pt x="181" y="209"/>
                    </a:cubicBezTo>
                    <a:cubicBezTo>
                      <a:pt x="183" y="211"/>
                      <a:pt x="184" y="212"/>
                      <a:pt x="185" y="215"/>
                    </a:cubicBezTo>
                    <a:cubicBezTo>
                      <a:pt x="186" y="217"/>
                      <a:pt x="186" y="220"/>
                      <a:pt x="186" y="222"/>
                    </a:cubicBezTo>
                    <a:cubicBezTo>
                      <a:pt x="186" y="225"/>
                      <a:pt x="186" y="227"/>
                      <a:pt x="186" y="229"/>
                    </a:cubicBezTo>
                    <a:cubicBezTo>
                      <a:pt x="184" y="237"/>
                      <a:pt x="181" y="244"/>
                      <a:pt x="176" y="251"/>
                    </a:cubicBezTo>
                    <a:cubicBezTo>
                      <a:pt x="171" y="258"/>
                      <a:pt x="165" y="264"/>
                      <a:pt x="159" y="268"/>
                    </a:cubicBezTo>
                    <a:cubicBezTo>
                      <a:pt x="153" y="274"/>
                      <a:pt x="146" y="278"/>
                      <a:pt x="139" y="282"/>
                    </a:cubicBezTo>
                    <a:cubicBezTo>
                      <a:pt x="131" y="285"/>
                      <a:pt x="124" y="287"/>
                      <a:pt x="116" y="288"/>
                    </a:cubicBezTo>
                    <a:cubicBezTo>
                      <a:pt x="107" y="288"/>
                      <a:pt x="99" y="288"/>
                      <a:pt x="90" y="286"/>
                    </a:cubicBezTo>
                    <a:cubicBezTo>
                      <a:pt x="82" y="284"/>
                      <a:pt x="75" y="281"/>
                      <a:pt x="67" y="277"/>
                    </a:cubicBezTo>
                    <a:cubicBezTo>
                      <a:pt x="60" y="273"/>
                      <a:pt x="53" y="269"/>
                      <a:pt x="47" y="263"/>
                    </a:cubicBezTo>
                    <a:cubicBezTo>
                      <a:pt x="41" y="258"/>
                      <a:pt x="35" y="252"/>
                      <a:pt x="31" y="245"/>
                    </a:cubicBezTo>
                    <a:cubicBezTo>
                      <a:pt x="20" y="232"/>
                      <a:pt x="13" y="218"/>
                      <a:pt x="7" y="202"/>
                    </a:cubicBezTo>
                    <a:cubicBezTo>
                      <a:pt x="2" y="186"/>
                      <a:pt x="0" y="169"/>
                      <a:pt x="2" y="151"/>
                    </a:cubicBezTo>
                    <a:cubicBezTo>
                      <a:pt x="3" y="135"/>
                      <a:pt x="7" y="118"/>
                      <a:pt x="13" y="102"/>
                    </a:cubicBezTo>
                    <a:cubicBezTo>
                      <a:pt x="20" y="86"/>
                      <a:pt x="28" y="71"/>
                      <a:pt x="37" y="56"/>
                    </a:cubicBezTo>
                    <a:cubicBezTo>
                      <a:pt x="42" y="49"/>
                      <a:pt x="47" y="42"/>
                      <a:pt x="53" y="35"/>
                    </a:cubicBezTo>
                    <a:cubicBezTo>
                      <a:pt x="59" y="29"/>
                      <a:pt x="65" y="23"/>
                      <a:pt x="72" y="17"/>
                    </a:cubicBezTo>
                    <a:cubicBezTo>
                      <a:pt x="79" y="12"/>
                      <a:pt x="86" y="8"/>
                      <a:pt x="94" y="5"/>
                    </a:cubicBezTo>
                    <a:cubicBezTo>
                      <a:pt x="102" y="1"/>
                      <a:pt x="110" y="0"/>
                      <a:pt x="119" y="0"/>
                    </a:cubicBezTo>
                    <a:cubicBezTo>
                      <a:pt x="131" y="0"/>
                      <a:pt x="142" y="3"/>
                      <a:pt x="152" y="8"/>
                    </a:cubicBezTo>
                    <a:cubicBezTo>
                      <a:pt x="162" y="14"/>
                      <a:pt x="170" y="21"/>
                      <a:pt x="178" y="29"/>
                    </a:cubicBezTo>
                    <a:cubicBezTo>
                      <a:pt x="186" y="37"/>
                      <a:pt x="192" y="46"/>
                      <a:pt x="197" y="57"/>
                    </a:cubicBezTo>
                    <a:cubicBezTo>
                      <a:pt x="201" y="67"/>
                      <a:pt x="203" y="78"/>
                      <a:pt x="203" y="9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6" name="íSḷiḓe">
                <a:extLst>
                  <a:ext uri="{FF2B5EF4-FFF2-40B4-BE49-F238E27FC236}">
                    <a16:creationId xmlns:a16="http://schemas.microsoft.com/office/drawing/2014/main" id="{D7896C54-7D4F-4AEF-8582-3BCFE54F7BAA}"/>
                  </a:ext>
                </a:extLst>
              </p:cNvPr>
              <p:cNvSpPr/>
              <p:nvPr/>
            </p:nvSpPr>
            <p:spPr>
              <a:xfrm flipH="1">
                <a:off x="9705777" y="1615520"/>
                <a:ext cx="131083" cy="144415"/>
              </a:xfrm>
              <a:custGeom>
                <a:avLst/>
                <a:gdLst/>
                <a:ahLst/>
                <a:cxnLst/>
                <a:rect l="l" t="t" r="r" b="b"/>
                <a:pathLst>
                  <a:path w="100" h="110" extrusionOk="0">
                    <a:moveTo>
                      <a:pt x="64" y="106"/>
                    </a:moveTo>
                    <a:cubicBezTo>
                      <a:pt x="63" y="107"/>
                      <a:pt x="61" y="108"/>
                      <a:pt x="60" y="109"/>
                    </a:cubicBezTo>
                    <a:cubicBezTo>
                      <a:pt x="59" y="110"/>
                      <a:pt x="58" y="110"/>
                      <a:pt x="56" y="110"/>
                    </a:cubicBezTo>
                    <a:cubicBezTo>
                      <a:pt x="50" y="110"/>
                      <a:pt x="45" y="109"/>
                      <a:pt x="39" y="108"/>
                    </a:cubicBezTo>
                    <a:cubicBezTo>
                      <a:pt x="34" y="107"/>
                      <a:pt x="28" y="105"/>
                      <a:pt x="23" y="104"/>
                    </a:cubicBezTo>
                    <a:cubicBezTo>
                      <a:pt x="20" y="103"/>
                      <a:pt x="17" y="102"/>
                      <a:pt x="14" y="101"/>
                    </a:cubicBezTo>
                    <a:cubicBezTo>
                      <a:pt x="11" y="99"/>
                      <a:pt x="9" y="98"/>
                      <a:pt x="6" y="97"/>
                    </a:cubicBezTo>
                    <a:cubicBezTo>
                      <a:pt x="5" y="96"/>
                      <a:pt x="4" y="95"/>
                      <a:pt x="3" y="94"/>
                    </a:cubicBezTo>
                    <a:cubicBezTo>
                      <a:pt x="3" y="93"/>
                      <a:pt x="2" y="91"/>
                      <a:pt x="2" y="90"/>
                    </a:cubicBezTo>
                    <a:cubicBezTo>
                      <a:pt x="1" y="89"/>
                      <a:pt x="1" y="88"/>
                      <a:pt x="1" y="87"/>
                    </a:cubicBezTo>
                    <a:cubicBezTo>
                      <a:pt x="0" y="85"/>
                      <a:pt x="1" y="84"/>
                      <a:pt x="1" y="83"/>
                    </a:cubicBezTo>
                    <a:cubicBezTo>
                      <a:pt x="2" y="82"/>
                      <a:pt x="2" y="81"/>
                      <a:pt x="3" y="80"/>
                    </a:cubicBezTo>
                    <a:cubicBezTo>
                      <a:pt x="3" y="80"/>
                      <a:pt x="4" y="79"/>
                      <a:pt x="4" y="78"/>
                    </a:cubicBezTo>
                    <a:cubicBezTo>
                      <a:pt x="8" y="75"/>
                      <a:pt x="12" y="72"/>
                      <a:pt x="16" y="69"/>
                    </a:cubicBezTo>
                    <a:cubicBezTo>
                      <a:pt x="20" y="66"/>
                      <a:pt x="24" y="63"/>
                      <a:pt x="28" y="60"/>
                    </a:cubicBezTo>
                    <a:cubicBezTo>
                      <a:pt x="37" y="55"/>
                      <a:pt x="46" y="49"/>
                      <a:pt x="55" y="44"/>
                    </a:cubicBezTo>
                    <a:cubicBezTo>
                      <a:pt x="64" y="39"/>
                      <a:pt x="73" y="34"/>
                      <a:pt x="82" y="29"/>
                    </a:cubicBezTo>
                    <a:cubicBezTo>
                      <a:pt x="81" y="28"/>
                      <a:pt x="79" y="26"/>
                      <a:pt x="77" y="25"/>
                    </a:cubicBezTo>
                    <a:cubicBezTo>
                      <a:pt x="75" y="24"/>
                      <a:pt x="73" y="23"/>
                      <a:pt x="71" y="22"/>
                    </a:cubicBezTo>
                    <a:cubicBezTo>
                      <a:pt x="70" y="22"/>
                      <a:pt x="69" y="21"/>
                      <a:pt x="68" y="21"/>
                    </a:cubicBezTo>
                    <a:cubicBezTo>
                      <a:pt x="67" y="20"/>
                      <a:pt x="66" y="20"/>
                      <a:pt x="65" y="20"/>
                    </a:cubicBezTo>
                    <a:cubicBezTo>
                      <a:pt x="64" y="19"/>
                      <a:pt x="63" y="19"/>
                      <a:pt x="62" y="18"/>
                    </a:cubicBezTo>
                    <a:cubicBezTo>
                      <a:pt x="61" y="18"/>
                      <a:pt x="60" y="17"/>
                      <a:pt x="59" y="17"/>
                    </a:cubicBezTo>
                    <a:cubicBezTo>
                      <a:pt x="57" y="16"/>
                      <a:pt x="55" y="15"/>
                      <a:pt x="53" y="15"/>
                    </a:cubicBezTo>
                    <a:cubicBezTo>
                      <a:pt x="52" y="14"/>
                      <a:pt x="50" y="13"/>
                      <a:pt x="48" y="12"/>
                    </a:cubicBezTo>
                    <a:cubicBezTo>
                      <a:pt x="47" y="11"/>
                      <a:pt x="46" y="11"/>
                      <a:pt x="45" y="10"/>
                    </a:cubicBezTo>
                    <a:cubicBezTo>
                      <a:pt x="44" y="9"/>
                      <a:pt x="44" y="9"/>
                      <a:pt x="43" y="8"/>
                    </a:cubicBezTo>
                    <a:cubicBezTo>
                      <a:pt x="42" y="7"/>
                      <a:pt x="42" y="6"/>
                      <a:pt x="42" y="5"/>
                    </a:cubicBezTo>
                    <a:cubicBezTo>
                      <a:pt x="42" y="5"/>
                      <a:pt x="42" y="4"/>
                      <a:pt x="43" y="3"/>
                    </a:cubicBezTo>
                    <a:cubicBezTo>
                      <a:pt x="45" y="1"/>
                      <a:pt x="47" y="0"/>
                      <a:pt x="49" y="0"/>
                    </a:cubicBezTo>
                    <a:cubicBezTo>
                      <a:pt x="52" y="0"/>
                      <a:pt x="54" y="0"/>
                      <a:pt x="57" y="0"/>
                    </a:cubicBezTo>
                    <a:cubicBezTo>
                      <a:pt x="59" y="0"/>
                      <a:pt x="62" y="1"/>
                      <a:pt x="64" y="2"/>
                    </a:cubicBezTo>
                    <a:cubicBezTo>
                      <a:pt x="66" y="3"/>
                      <a:pt x="69" y="3"/>
                      <a:pt x="71" y="4"/>
                    </a:cubicBezTo>
                    <a:cubicBezTo>
                      <a:pt x="77" y="7"/>
                      <a:pt x="77" y="7"/>
                      <a:pt x="77" y="7"/>
                    </a:cubicBezTo>
                    <a:cubicBezTo>
                      <a:pt x="78" y="7"/>
                      <a:pt x="79" y="8"/>
                      <a:pt x="80" y="8"/>
                    </a:cubicBezTo>
                    <a:cubicBezTo>
                      <a:pt x="81" y="9"/>
                      <a:pt x="82" y="9"/>
                      <a:pt x="83" y="10"/>
                    </a:cubicBezTo>
                    <a:cubicBezTo>
                      <a:pt x="86" y="11"/>
                      <a:pt x="88" y="12"/>
                      <a:pt x="90" y="14"/>
                    </a:cubicBezTo>
                    <a:cubicBezTo>
                      <a:pt x="93" y="16"/>
                      <a:pt x="95" y="18"/>
                      <a:pt x="96" y="20"/>
                    </a:cubicBezTo>
                    <a:cubicBezTo>
                      <a:pt x="98" y="22"/>
                      <a:pt x="99" y="24"/>
                      <a:pt x="100" y="27"/>
                    </a:cubicBezTo>
                    <a:cubicBezTo>
                      <a:pt x="100" y="29"/>
                      <a:pt x="100" y="32"/>
                      <a:pt x="98" y="35"/>
                    </a:cubicBezTo>
                    <a:cubicBezTo>
                      <a:pt x="96" y="38"/>
                      <a:pt x="94" y="42"/>
                      <a:pt x="90" y="45"/>
                    </a:cubicBezTo>
                    <a:cubicBezTo>
                      <a:pt x="87" y="47"/>
                      <a:pt x="83" y="50"/>
                      <a:pt x="80" y="52"/>
                    </a:cubicBezTo>
                    <a:cubicBezTo>
                      <a:pt x="75" y="56"/>
                      <a:pt x="69" y="59"/>
                      <a:pt x="64" y="62"/>
                    </a:cubicBezTo>
                    <a:cubicBezTo>
                      <a:pt x="59" y="65"/>
                      <a:pt x="54" y="67"/>
                      <a:pt x="49" y="70"/>
                    </a:cubicBezTo>
                    <a:cubicBezTo>
                      <a:pt x="44" y="73"/>
                      <a:pt x="40" y="75"/>
                      <a:pt x="35" y="78"/>
                    </a:cubicBezTo>
                    <a:cubicBezTo>
                      <a:pt x="31" y="80"/>
                      <a:pt x="27" y="83"/>
                      <a:pt x="22" y="87"/>
                    </a:cubicBezTo>
                    <a:cubicBezTo>
                      <a:pt x="28" y="89"/>
                      <a:pt x="33" y="91"/>
                      <a:pt x="39" y="92"/>
                    </a:cubicBezTo>
                    <a:cubicBezTo>
                      <a:pt x="44" y="94"/>
                      <a:pt x="50" y="95"/>
                      <a:pt x="56" y="96"/>
                    </a:cubicBezTo>
                    <a:cubicBezTo>
                      <a:pt x="56" y="96"/>
                      <a:pt x="57" y="96"/>
                      <a:pt x="57" y="96"/>
                    </a:cubicBezTo>
                    <a:cubicBezTo>
                      <a:pt x="57" y="96"/>
                      <a:pt x="57" y="96"/>
                      <a:pt x="58" y="96"/>
                    </a:cubicBezTo>
                    <a:cubicBezTo>
                      <a:pt x="59" y="96"/>
                      <a:pt x="60" y="97"/>
                      <a:pt x="61" y="97"/>
                    </a:cubicBezTo>
                    <a:cubicBezTo>
                      <a:pt x="62" y="98"/>
                      <a:pt x="63" y="99"/>
                      <a:pt x="64" y="100"/>
                    </a:cubicBezTo>
                    <a:cubicBezTo>
                      <a:pt x="64" y="101"/>
                      <a:pt x="65" y="102"/>
                      <a:pt x="65" y="103"/>
                    </a:cubicBezTo>
                    <a:cubicBezTo>
                      <a:pt x="65" y="104"/>
                      <a:pt x="64" y="105"/>
                      <a:pt x="64" y="10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7" name="îṩļiḍe">
                <a:extLst>
                  <a:ext uri="{FF2B5EF4-FFF2-40B4-BE49-F238E27FC236}">
                    <a16:creationId xmlns:a16="http://schemas.microsoft.com/office/drawing/2014/main" id="{25CF8EA1-3CD9-4C70-BDCB-864FB1EDC889}"/>
                  </a:ext>
                </a:extLst>
              </p:cNvPr>
              <p:cNvSpPr/>
              <p:nvPr/>
            </p:nvSpPr>
            <p:spPr>
              <a:xfrm flipH="1">
                <a:off x="10676127" y="1750492"/>
                <a:ext cx="131639" cy="129973"/>
              </a:xfrm>
              <a:custGeom>
                <a:avLst/>
                <a:gdLst/>
                <a:ahLst/>
                <a:cxnLst/>
                <a:rect l="l" t="t" r="r" b="b"/>
                <a:pathLst>
                  <a:path w="100" h="99" extrusionOk="0">
                    <a:moveTo>
                      <a:pt x="85" y="64"/>
                    </a:moveTo>
                    <a:cubicBezTo>
                      <a:pt x="82" y="67"/>
                      <a:pt x="79" y="69"/>
                      <a:pt x="76" y="71"/>
                    </a:cubicBezTo>
                    <a:cubicBezTo>
                      <a:pt x="73" y="74"/>
                      <a:pt x="70" y="76"/>
                      <a:pt x="66" y="78"/>
                    </a:cubicBezTo>
                    <a:cubicBezTo>
                      <a:pt x="63" y="80"/>
                      <a:pt x="59" y="82"/>
                      <a:pt x="55" y="83"/>
                    </a:cubicBezTo>
                    <a:cubicBezTo>
                      <a:pt x="52" y="85"/>
                      <a:pt x="48" y="87"/>
                      <a:pt x="45" y="88"/>
                    </a:cubicBezTo>
                    <a:cubicBezTo>
                      <a:pt x="41" y="90"/>
                      <a:pt x="38" y="91"/>
                      <a:pt x="34" y="92"/>
                    </a:cubicBezTo>
                    <a:cubicBezTo>
                      <a:pt x="31" y="94"/>
                      <a:pt x="27" y="95"/>
                      <a:pt x="24" y="96"/>
                    </a:cubicBezTo>
                    <a:cubicBezTo>
                      <a:pt x="20" y="98"/>
                      <a:pt x="17" y="98"/>
                      <a:pt x="13" y="99"/>
                    </a:cubicBezTo>
                    <a:cubicBezTo>
                      <a:pt x="9" y="99"/>
                      <a:pt x="6" y="99"/>
                      <a:pt x="2" y="97"/>
                    </a:cubicBezTo>
                    <a:cubicBezTo>
                      <a:pt x="1" y="96"/>
                      <a:pt x="0" y="95"/>
                      <a:pt x="0" y="93"/>
                    </a:cubicBezTo>
                    <a:cubicBezTo>
                      <a:pt x="0" y="92"/>
                      <a:pt x="1" y="90"/>
                      <a:pt x="2" y="89"/>
                    </a:cubicBezTo>
                    <a:cubicBezTo>
                      <a:pt x="4" y="88"/>
                      <a:pt x="4" y="88"/>
                      <a:pt x="4" y="88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9" y="85"/>
                      <a:pt x="11" y="83"/>
                      <a:pt x="14" y="82"/>
                    </a:cubicBezTo>
                    <a:cubicBezTo>
                      <a:pt x="16" y="81"/>
                      <a:pt x="19" y="80"/>
                      <a:pt x="21" y="79"/>
                    </a:cubicBezTo>
                    <a:cubicBezTo>
                      <a:pt x="24" y="78"/>
                      <a:pt x="27" y="77"/>
                      <a:pt x="29" y="76"/>
                    </a:cubicBezTo>
                    <a:cubicBezTo>
                      <a:pt x="32" y="75"/>
                      <a:pt x="35" y="74"/>
                      <a:pt x="37" y="73"/>
                    </a:cubicBezTo>
                    <a:cubicBezTo>
                      <a:pt x="41" y="72"/>
                      <a:pt x="45" y="71"/>
                      <a:pt x="48" y="69"/>
                    </a:cubicBezTo>
                    <a:cubicBezTo>
                      <a:pt x="52" y="67"/>
                      <a:pt x="56" y="65"/>
                      <a:pt x="59" y="63"/>
                    </a:cubicBezTo>
                    <a:cubicBezTo>
                      <a:pt x="56" y="64"/>
                      <a:pt x="53" y="64"/>
                      <a:pt x="49" y="64"/>
                    </a:cubicBezTo>
                    <a:cubicBezTo>
                      <a:pt x="46" y="63"/>
                      <a:pt x="43" y="63"/>
                      <a:pt x="40" y="62"/>
                    </a:cubicBezTo>
                    <a:cubicBezTo>
                      <a:pt x="37" y="61"/>
                      <a:pt x="34" y="60"/>
                      <a:pt x="31" y="58"/>
                    </a:cubicBezTo>
                    <a:cubicBezTo>
                      <a:pt x="28" y="57"/>
                      <a:pt x="25" y="55"/>
                      <a:pt x="23" y="53"/>
                    </a:cubicBezTo>
                    <a:cubicBezTo>
                      <a:pt x="20" y="50"/>
                      <a:pt x="18" y="47"/>
                      <a:pt x="16" y="43"/>
                    </a:cubicBezTo>
                    <a:cubicBezTo>
                      <a:pt x="15" y="39"/>
                      <a:pt x="14" y="36"/>
                      <a:pt x="15" y="32"/>
                    </a:cubicBezTo>
                    <a:cubicBezTo>
                      <a:pt x="15" y="28"/>
                      <a:pt x="17" y="25"/>
                      <a:pt x="19" y="22"/>
                    </a:cubicBezTo>
                    <a:cubicBezTo>
                      <a:pt x="21" y="19"/>
                      <a:pt x="23" y="16"/>
                      <a:pt x="26" y="13"/>
                    </a:cubicBezTo>
                    <a:cubicBezTo>
                      <a:pt x="29" y="10"/>
                      <a:pt x="33" y="8"/>
                      <a:pt x="37" y="6"/>
                    </a:cubicBezTo>
                    <a:cubicBezTo>
                      <a:pt x="41" y="4"/>
                      <a:pt x="45" y="3"/>
                      <a:pt x="49" y="1"/>
                    </a:cubicBezTo>
                    <a:cubicBezTo>
                      <a:pt x="53" y="0"/>
                      <a:pt x="58" y="0"/>
                      <a:pt x="62" y="0"/>
                    </a:cubicBezTo>
                    <a:cubicBezTo>
                      <a:pt x="67" y="0"/>
                      <a:pt x="71" y="0"/>
                      <a:pt x="75" y="1"/>
                    </a:cubicBezTo>
                    <a:cubicBezTo>
                      <a:pt x="78" y="2"/>
                      <a:pt x="81" y="3"/>
                      <a:pt x="84" y="5"/>
                    </a:cubicBezTo>
                    <a:cubicBezTo>
                      <a:pt x="87" y="6"/>
                      <a:pt x="89" y="8"/>
                      <a:pt x="91" y="10"/>
                    </a:cubicBezTo>
                    <a:cubicBezTo>
                      <a:pt x="93" y="12"/>
                      <a:pt x="95" y="14"/>
                      <a:pt x="96" y="16"/>
                    </a:cubicBezTo>
                    <a:cubicBezTo>
                      <a:pt x="97" y="18"/>
                      <a:pt x="98" y="20"/>
                      <a:pt x="99" y="23"/>
                    </a:cubicBezTo>
                    <a:cubicBezTo>
                      <a:pt x="100" y="25"/>
                      <a:pt x="100" y="28"/>
                      <a:pt x="100" y="30"/>
                    </a:cubicBezTo>
                    <a:cubicBezTo>
                      <a:pt x="100" y="33"/>
                      <a:pt x="100" y="35"/>
                      <a:pt x="100" y="38"/>
                    </a:cubicBezTo>
                    <a:cubicBezTo>
                      <a:pt x="99" y="43"/>
                      <a:pt x="97" y="48"/>
                      <a:pt x="95" y="52"/>
                    </a:cubicBezTo>
                    <a:cubicBezTo>
                      <a:pt x="92" y="56"/>
                      <a:pt x="89" y="60"/>
                      <a:pt x="85" y="64"/>
                    </a:cubicBezTo>
                    <a:close/>
                    <a:moveTo>
                      <a:pt x="80" y="41"/>
                    </a:moveTo>
                    <a:cubicBezTo>
                      <a:pt x="81" y="39"/>
                      <a:pt x="82" y="38"/>
                      <a:pt x="82" y="37"/>
                    </a:cubicBezTo>
                    <a:cubicBezTo>
                      <a:pt x="83" y="36"/>
                      <a:pt x="83" y="34"/>
                      <a:pt x="82" y="33"/>
                    </a:cubicBezTo>
                    <a:cubicBezTo>
                      <a:pt x="82" y="32"/>
                      <a:pt x="81" y="30"/>
                      <a:pt x="80" y="29"/>
                    </a:cubicBezTo>
                    <a:cubicBezTo>
                      <a:pt x="79" y="28"/>
                      <a:pt x="78" y="27"/>
                      <a:pt x="77" y="26"/>
                    </a:cubicBezTo>
                    <a:cubicBezTo>
                      <a:pt x="75" y="23"/>
                      <a:pt x="72" y="21"/>
                      <a:pt x="69" y="20"/>
                    </a:cubicBezTo>
                    <a:cubicBezTo>
                      <a:pt x="65" y="18"/>
                      <a:pt x="62" y="18"/>
                      <a:pt x="58" y="18"/>
                    </a:cubicBezTo>
                    <a:cubicBezTo>
                      <a:pt x="55" y="18"/>
                      <a:pt x="51" y="19"/>
                      <a:pt x="48" y="20"/>
                    </a:cubicBezTo>
                    <a:cubicBezTo>
                      <a:pt x="44" y="21"/>
                      <a:pt x="41" y="23"/>
                      <a:pt x="39" y="26"/>
                    </a:cubicBezTo>
                    <a:cubicBezTo>
                      <a:pt x="38" y="27"/>
                      <a:pt x="36" y="28"/>
                      <a:pt x="35" y="29"/>
                    </a:cubicBezTo>
                    <a:cubicBezTo>
                      <a:pt x="34" y="30"/>
                      <a:pt x="34" y="32"/>
                      <a:pt x="33" y="33"/>
                    </a:cubicBezTo>
                    <a:cubicBezTo>
                      <a:pt x="33" y="35"/>
                      <a:pt x="33" y="36"/>
                      <a:pt x="33" y="37"/>
                    </a:cubicBezTo>
                    <a:cubicBezTo>
                      <a:pt x="33" y="39"/>
                      <a:pt x="34" y="40"/>
                      <a:pt x="35" y="41"/>
                    </a:cubicBezTo>
                    <a:cubicBezTo>
                      <a:pt x="37" y="43"/>
                      <a:pt x="40" y="45"/>
                      <a:pt x="43" y="45"/>
                    </a:cubicBezTo>
                    <a:cubicBezTo>
                      <a:pt x="46" y="46"/>
                      <a:pt x="48" y="47"/>
                      <a:pt x="51" y="47"/>
                    </a:cubicBezTo>
                    <a:cubicBezTo>
                      <a:pt x="54" y="48"/>
                      <a:pt x="57" y="48"/>
                      <a:pt x="60" y="48"/>
                    </a:cubicBezTo>
                    <a:cubicBezTo>
                      <a:pt x="62" y="48"/>
                      <a:pt x="65" y="47"/>
                      <a:pt x="68" y="47"/>
                    </a:cubicBezTo>
                    <a:cubicBezTo>
                      <a:pt x="70" y="46"/>
                      <a:pt x="72" y="45"/>
                      <a:pt x="74" y="44"/>
                    </a:cubicBezTo>
                    <a:cubicBezTo>
                      <a:pt x="76" y="43"/>
                      <a:pt x="78" y="42"/>
                      <a:pt x="80" y="4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8" name="îṥḷîḓé">
                <a:extLst>
                  <a:ext uri="{FF2B5EF4-FFF2-40B4-BE49-F238E27FC236}">
                    <a16:creationId xmlns:a16="http://schemas.microsoft.com/office/drawing/2014/main" id="{CAB18447-5806-4C99-B426-D613C404CC7E}"/>
                  </a:ext>
                </a:extLst>
              </p:cNvPr>
              <p:cNvSpPr/>
              <p:nvPr/>
            </p:nvSpPr>
            <p:spPr>
              <a:xfrm flipH="1">
                <a:off x="9609686" y="1367239"/>
                <a:ext cx="158855" cy="207179"/>
              </a:xfrm>
              <a:custGeom>
                <a:avLst/>
                <a:gdLst/>
                <a:ahLst/>
                <a:cxnLst/>
                <a:rect l="l" t="t" r="r" b="b"/>
                <a:pathLst>
                  <a:path w="121" h="158" extrusionOk="0">
                    <a:moveTo>
                      <a:pt x="120" y="108"/>
                    </a:moveTo>
                    <a:cubicBezTo>
                      <a:pt x="119" y="112"/>
                      <a:pt x="117" y="117"/>
                      <a:pt x="114" y="120"/>
                    </a:cubicBezTo>
                    <a:cubicBezTo>
                      <a:pt x="111" y="124"/>
                      <a:pt x="108" y="128"/>
                      <a:pt x="104" y="131"/>
                    </a:cubicBezTo>
                    <a:cubicBezTo>
                      <a:pt x="101" y="134"/>
                      <a:pt x="96" y="137"/>
                      <a:pt x="92" y="139"/>
                    </a:cubicBezTo>
                    <a:cubicBezTo>
                      <a:pt x="88" y="141"/>
                      <a:pt x="83" y="143"/>
                      <a:pt x="79" y="145"/>
                    </a:cubicBezTo>
                    <a:cubicBezTo>
                      <a:pt x="74" y="147"/>
                      <a:pt x="69" y="149"/>
                      <a:pt x="63" y="150"/>
                    </a:cubicBezTo>
                    <a:cubicBezTo>
                      <a:pt x="58" y="152"/>
                      <a:pt x="53" y="153"/>
                      <a:pt x="47" y="155"/>
                    </a:cubicBezTo>
                    <a:cubicBezTo>
                      <a:pt x="42" y="156"/>
                      <a:pt x="37" y="156"/>
                      <a:pt x="32" y="157"/>
                    </a:cubicBezTo>
                    <a:cubicBezTo>
                      <a:pt x="27" y="158"/>
                      <a:pt x="22" y="158"/>
                      <a:pt x="17" y="157"/>
                    </a:cubicBezTo>
                    <a:cubicBezTo>
                      <a:pt x="12" y="155"/>
                      <a:pt x="8" y="152"/>
                      <a:pt x="6" y="149"/>
                    </a:cubicBezTo>
                    <a:cubicBezTo>
                      <a:pt x="4" y="145"/>
                      <a:pt x="2" y="141"/>
                      <a:pt x="1" y="137"/>
                    </a:cubicBezTo>
                    <a:cubicBezTo>
                      <a:pt x="0" y="132"/>
                      <a:pt x="0" y="127"/>
                      <a:pt x="0" y="122"/>
                    </a:cubicBezTo>
                    <a:cubicBezTo>
                      <a:pt x="0" y="117"/>
                      <a:pt x="1" y="113"/>
                      <a:pt x="1" y="108"/>
                    </a:cubicBezTo>
                    <a:cubicBezTo>
                      <a:pt x="2" y="104"/>
                      <a:pt x="3" y="99"/>
                      <a:pt x="4" y="95"/>
                    </a:cubicBezTo>
                    <a:cubicBezTo>
                      <a:pt x="5" y="90"/>
                      <a:pt x="7" y="85"/>
                      <a:pt x="8" y="81"/>
                    </a:cubicBezTo>
                    <a:cubicBezTo>
                      <a:pt x="10" y="76"/>
                      <a:pt x="11" y="71"/>
                      <a:pt x="12" y="67"/>
                    </a:cubicBezTo>
                    <a:cubicBezTo>
                      <a:pt x="14" y="62"/>
                      <a:pt x="15" y="58"/>
                      <a:pt x="16" y="53"/>
                    </a:cubicBezTo>
                    <a:cubicBezTo>
                      <a:pt x="17" y="50"/>
                      <a:pt x="17" y="47"/>
                      <a:pt x="18" y="44"/>
                    </a:cubicBezTo>
                    <a:cubicBezTo>
                      <a:pt x="18" y="42"/>
                      <a:pt x="18" y="39"/>
                      <a:pt x="19" y="36"/>
                    </a:cubicBezTo>
                    <a:cubicBezTo>
                      <a:pt x="19" y="33"/>
                      <a:pt x="20" y="31"/>
                      <a:pt x="20" y="28"/>
                    </a:cubicBezTo>
                    <a:cubicBezTo>
                      <a:pt x="20" y="25"/>
                      <a:pt x="21" y="22"/>
                      <a:pt x="22" y="20"/>
                    </a:cubicBezTo>
                    <a:cubicBezTo>
                      <a:pt x="24" y="15"/>
                      <a:pt x="27" y="11"/>
                      <a:pt x="31" y="8"/>
                    </a:cubicBezTo>
                    <a:cubicBezTo>
                      <a:pt x="34" y="5"/>
                      <a:pt x="39" y="3"/>
                      <a:pt x="43" y="2"/>
                    </a:cubicBezTo>
                    <a:cubicBezTo>
                      <a:pt x="48" y="1"/>
                      <a:pt x="53" y="0"/>
                      <a:pt x="58" y="0"/>
                    </a:cubicBezTo>
                    <a:cubicBezTo>
                      <a:pt x="62" y="0"/>
                      <a:pt x="67" y="0"/>
                      <a:pt x="71" y="0"/>
                    </a:cubicBezTo>
                    <a:cubicBezTo>
                      <a:pt x="76" y="0"/>
                      <a:pt x="81" y="1"/>
                      <a:pt x="86" y="2"/>
                    </a:cubicBezTo>
                    <a:cubicBezTo>
                      <a:pt x="91" y="4"/>
                      <a:pt x="95" y="6"/>
                      <a:pt x="99" y="8"/>
                    </a:cubicBezTo>
                    <a:cubicBezTo>
                      <a:pt x="101" y="9"/>
                      <a:pt x="103" y="11"/>
                      <a:pt x="105" y="12"/>
                    </a:cubicBezTo>
                    <a:cubicBezTo>
                      <a:pt x="106" y="14"/>
                      <a:pt x="108" y="16"/>
                      <a:pt x="109" y="17"/>
                    </a:cubicBezTo>
                    <a:cubicBezTo>
                      <a:pt x="111" y="19"/>
                      <a:pt x="112" y="21"/>
                      <a:pt x="112" y="24"/>
                    </a:cubicBezTo>
                    <a:cubicBezTo>
                      <a:pt x="113" y="26"/>
                      <a:pt x="113" y="28"/>
                      <a:pt x="113" y="31"/>
                    </a:cubicBezTo>
                    <a:cubicBezTo>
                      <a:pt x="112" y="34"/>
                      <a:pt x="112" y="36"/>
                      <a:pt x="111" y="39"/>
                    </a:cubicBezTo>
                    <a:cubicBezTo>
                      <a:pt x="110" y="42"/>
                      <a:pt x="109" y="44"/>
                      <a:pt x="108" y="46"/>
                    </a:cubicBezTo>
                    <a:cubicBezTo>
                      <a:pt x="106" y="49"/>
                      <a:pt x="104" y="51"/>
                      <a:pt x="103" y="53"/>
                    </a:cubicBezTo>
                    <a:cubicBezTo>
                      <a:pt x="101" y="55"/>
                      <a:pt x="99" y="57"/>
                      <a:pt x="97" y="59"/>
                    </a:cubicBezTo>
                    <a:cubicBezTo>
                      <a:pt x="102" y="61"/>
                      <a:pt x="106" y="63"/>
                      <a:pt x="109" y="67"/>
                    </a:cubicBezTo>
                    <a:cubicBezTo>
                      <a:pt x="112" y="71"/>
                      <a:pt x="115" y="75"/>
                      <a:pt x="117" y="79"/>
                    </a:cubicBezTo>
                    <a:cubicBezTo>
                      <a:pt x="118" y="84"/>
                      <a:pt x="120" y="88"/>
                      <a:pt x="120" y="93"/>
                    </a:cubicBezTo>
                    <a:cubicBezTo>
                      <a:pt x="121" y="98"/>
                      <a:pt x="121" y="103"/>
                      <a:pt x="120" y="108"/>
                    </a:cubicBezTo>
                    <a:close/>
                    <a:moveTo>
                      <a:pt x="91" y="97"/>
                    </a:moveTo>
                    <a:cubicBezTo>
                      <a:pt x="91" y="94"/>
                      <a:pt x="91" y="91"/>
                      <a:pt x="90" y="88"/>
                    </a:cubicBezTo>
                    <a:cubicBezTo>
                      <a:pt x="89" y="85"/>
                      <a:pt x="88" y="83"/>
                      <a:pt x="86" y="81"/>
                    </a:cubicBezTo>
                    <a:cubicBezTo>
                      <a:pt x="85" y="80"/>
                      <a:pt x="85" y="79"/>
                      <a:pt x="84" y="79"/>
                    </a:cubicBezTo>
                    <a:cubicBezTo>
                      <a:pt x="84" y="79"/>
                      <a:pt x="84" y="78"/>
                      <a:pt x="83" y="78"/>
                    </a:cubicBezTo>
                    <a:cubicBezTo>
                      <a:pt x="80" y="78"/>
                      <a:pt x="77" y="78"/>
                      <a:pt x="74" y="78"/>
                    </a:cubicBezTo>
                    <a:cubicBezTo>
                      <a:pt x="71" y="78"/>
                      <a:pt x="68" y="78"/>
                      <a:pt x="65" y="78"/>
                    </a:cubicBezTo>
                    <a:cubicBezTo>
                      <a:pt x="61" y="79"/>
                      <a:pt x="58" y="79"/>
                      <a:pt x="55" y="80"/>
                    </a:cubicBezTo>
                    <a:cubicBezTo>
                      <a:pt x="52" y="81"/>
                      <a:pt x="50" y="83"/>
                      <a:pt x="47" y="84"/>
                    </a:cubicBezTo>
                    <a:cubicBezTo>
                      <a:pt x="44" y="86"/>
                      <a:pt x="41" y="87"/>
                      <a:pt x="39" y="89"/>
                    </a:cubicBezTo>
                    <a:cubicBezTo>
                      <a:pt x="37" y="92"/>
                      <a:pt x="35" y="94"/>
                      <a:pt x="33" y="96"/>
                    </a:cubicBezTo>
                    <a:cubicBezTo>
                      <a:pt x="31" y="99"/>
                      <a:pt x="30" y="102"/>
                      <a:pt x="29" y="104"/>
                    </a:cubicBezTo>
                    <a:cubicBezTo>
                      <a:pt x="28" y="107"/>
                      <a:pt x="27" y="110"/>
                      <a:pt x="27" y="113"/>
                    </a:cubicBezTo>
                    <a:cubicBezTo>
                      <a:pt x="26" y="115"/>
                      <a:pt x="26" y="117"/>
                      <a:pt x="26" y="118"/>
                    </a:cubicBezTo>
                    <a:cubicBezTo>
                      <a:pt x="27" y="120"/>
                      <a:pt x="27" y="122"/>
                      <a:pt x="28" y="123"/>
                    </a:cubicBezTo>
                    <a:cubicBezTo>
                      <a:pt x="29" y="125"/>
                      <a:pt x="31" y="126"/>
                      <a:pt x="32" y="127"/>
                    </a:cubicBezTo>
                    <a:cubicBezTo>
                      <a:pt x="34" y="128"/>
                      <a:pt x="35" y="129"/>
                      <a:pt x="37" y="129"/>
                    </a:cubicBezTo>
                    <a:cubicBezTo>
                      <a:pt x="43" y="130"/>
                      <a:pt x="48" y="129"/>
                      <a:pt x="54" y="128"/>
                    </a:cubicBezTo>
                    <a:cubicBezTo>
                      <a:pt x="59" y="126"/>
                      <a:pt x="65" y="124"/>
                      <a:pt x="70" y="122"/>
                    </a:cubicBezTo>
                    <a:cubicBezTo>
                      <a:pt x="72" y="120"/>
                      <a:pt x="74" y="119"/>
                      <a:pt x="77" y="117"/>
                    </a:cubicBezTo>
                    <a:cubicBezTo>
                      <a:pt x="79" y="115"/>
                      <a:pt x="81" y="113"/>
                      <a:pt x="83" y="111"/>
                    </a:cubicBezTo>
                    <a:cubicBezTo>
                      <a:pt x="85" y="109"/>
                      <a:pt x="86" y="107"/>
                      <a:pt x="88" y="105"/>
                    </a:cubicBezTo>
                    <a:cubicBezTo>
                      <a:pt x="89" y="102"/>
                      <a:pt x="90" y="100"/>
                      <a:pt x="91" y="97"/>
                    </a:cubicBezTo>
                    <a:close/>
                    <a:moveTo>
                      <a:pt x="83" y="38"/>
                    </a:moveTo>
                    <a:cubicBezTo>
                      <a:pt x="83" y="36"/>
                      <a:pt x="83" y="34"/>
                      <a:pt x="82" y="32"/>
                    </a:cubicBezTo>
                    <a:cubicBezTo>
                      <a:pt x="81" y="31"/>
                      <a:pt x="80" y="29"/>
                      <a:pt x="79" y="28"/>
                    </a:cubicBezTo>
                    <a:cubicBezTo>
                      <a:pt x="77" y="27"/>
                      <a:pt x="75" y="26"/>
                      <a:pt x="74" y="25"/>
                    </a:cubicBezTo>
                    <a:cubicBezTo>
                      <a:pt x="72" y="25"/>
                      <a:pt x="70" y="25"/>
                      <a:pt x="68" y="24"/>
                    </a:cubicBezTo>
                    <a:cubicBezTo>
                      <a:pt x="65" y="24"/>
                      <a:pt x="63" y="24"/>
                      <a:pt x="61" y="24"/>
                    </a:cubicBezTo>
                    <a:cubicBezTo>
                      <a:pt x="58" y="25"/>
                      <a:pt x="56" y="25"/>
                      <a:pt x="54" y="26"/>
                    </a:cubicBezTo>
                    <a:cubicBezTo>
                      <a:pt x="52" y="27"/>
                      <a:pt x="50" y="29"/>
                      <a:pt x="48" y="30"/>
                    </a:cubicBezTo>
                    <a:cubicBezTo>
                      <a:pt x="47" y="32"/>
                      <a:pt x="45" y="34"/>
                      <a:pt x="45" y="36"/>
                    </a:cubicBezTo>
                    <a:cubicBezTo>
                      <a:pt x="44" y="39"/>
                      <a:pt x="44" y="41"/>
                      <a:pt x="43" y="43"/>
                    </a:cubicBezTo>
                    <a:cubicBezTo>
                      <a:pt x="43" y="45"/>
                      <a:pt x="42" y="47"/>
                      <a:pt x="42" y="50"/>
                    </a:cubicBezTo>
                    <a:cubicBezTo>
                      <a:pt x="41" y="52"/>
                      <a:pt x="41" y="53"/>
                      <a:pt x="41" y="55"/>
                    </a:cubicBezTo>
                    <a:cubicBezTo>
                      <a:pt x="41" y="57"/>
                      <a:pt x="41" y="59"/>
                      <a:pt x="41" y="61"/>
                    </a:cubicBezTo>
                    <a:cubicBezTo>
                      <a:pt x="45" y="61"/>
                      <a:pt x="49" y="60"/>
                      <a:pt x="53" y="59"/>
                    </a:cubicBezTo>
                    <a:cubicBezTo>
                      <a:pt x="57" y="58"/>
                      <a:pt x="61" y="56"/>
                      <a:pt x="65" y="54"/>
                    </a:cubicBezTo>
                    <a:cubicBezTo>
                      <a:pt x="67" y="53"/>
                      <a:pt x="69" y="52"/>
                      <a:pt x="71" y="51"/>
                    </a:cubicBezTo>
                    <a:cubicBezTo>
                      <a:pt x="72" y="50"/>
                      <a:pt x="74" y="49"/>
                      <a:pt x="76" y="48"/>
                    </a:cubicBezTo>
                    <a:cubicBezTo>
                      <a:pt x="77" y="47"/>
                      <a:pt x="79" y="45"/>
                      <a:pt x="80" y="44"/>
                    </a:cubicBezTo>
                    <a:cubicBezTo>
                      <a:pt x="81" y="42"/>
                      <a:pt x="82" y="40"/>
                      <a:pt x="83" y="3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49" name="íŝḷiďè">
                <a:extLst>
                  <a:ext uri="{FF2B5EF4-FFF2-40B4-BE49-F238E27FC236}">
                    <a16:creationId xmlns:a16="http://schemas.microsoft.com/office/drawing/2014/main" id="{3B4E8A6C-B9AF-45D2-A248-8823AE1C06E1}"/>
                  </a:ext>
                </a:extLst>
              </p:cNvPr>
              <p:cNvSpPr/>
              <p:nvPr/>
            </p:nvSpPr>
            <p:spPr>
              <a:xfrm flipH="1">
                <a:off x="10826095" y="1774376"/>
                <a:ext cx="72207" cy="108866"/>
              </a:xfrm>
              <a:custGeom>
                <a:avLst/>
                <a:gdLst/>
                <a:ahLst/>
                <a:cxnLst/>
                <a:rect l="l" t="t" r="r" b="b"/>
                <a:pathLst>
                  <a:path w="55" h="83" extrusionOk="0">
                    <a:moveTo>
                      <a:pt x="54" y="45"/>
                    </a:moveTo>
                    <a:cubicBezTo>
                      <a:pt x="54" y="48"/>
                      <a:pt x="53" y="50"/>
                      <a:pt x="52" y="53"/>
                    </a:cubicBezTo>
                    <a:cubicBezTo>
                      <a:pt x="51" y="55"/>
                      <a:pt x="50" y="57"/>
                      <a:pt x="48" y="60"/>
                    </a:cubicBezTo>
                    <a:cubicBezTo>
                      <a:pt x="47" y="62"/>
                      <a:pt x="45" y="64"/>
                      <a:pt x="43" y="66"/>
                    </a:cubicBezTo>
                    <a:cubicBezTo>
                      <a:pt x="41" y="68"/>
                      <a:pt x="39" y="70"/>
                      <a:pt x="37" y="71"/>
                    </a:cubicBezTo>
                    <a:cubicBezTo>
                      <a:pt x="35" y="73"/>
                      <a:pt x="33" y="74"/>
                      <a:pt x="31" y="76"/>
                    </a:cubicBezTo>
                    <a:cubicBezTo>
                      <a:pt x="29" y="77"/>
                      <a:pt x="27" y="79"/>
                      <a:pt x="24" y="80"/>
                    </a:cubicBezTo>
                    <a:cubicBezTo>
                      <a:pt x="22" y="81"/>
                      <a:pt x="19" y="82"/>
                      <a:pt x="17" y="82"/>
                    </a:cubicBezTo>
                    <a:cubicBezTo>
                      <a:pt x="14" y="83"/>
                      <a:pt x="12" y="83"/>
                      <a:pt x="9" y="82"/>
                    </a:cubicBezTo>
                    <a:cubicBezTo>
                      <a:pt x="8" y="82"/>
                      <a:pt x="7" y="82"/>
                      <a:pt x="6" y="81"/>
                    </a:cubicBezTo>
                    <a:cubicBezTo>
                      <a:pt x="5" y="81"/>
                      <a:pt x="5" y="80"/>
                      <a:pt x="4" y="79"/>
                    </a:cubicBezTo>
                    <a:cubicBezTo>
                      <a:pt x="4" y="78"/>
                      <a:pt x="3" y="77"/>
                      <a:pt x="3" y="76"/>
                    </a:cubicBezTo>
                    <a:cubicBezTo>
                      <a:pt x="3" y="75"/>
                      <a:pt x="3" y="74"/>
                      <a:pt x="3" y="73"/>
                    </a:cubicBezTo>
                    <a:cubicBezTo>
                      <a:pt x="3" y="72"/>
                      <a:pt x="3" y="71"/>
                      <a:pt x="3" y="70"/>
                    </a:cubicBezTo>
                    <a:cubicBezTo>
                      <a:pt x="4" y="69"/>
                      <a:pt x="4" y="69"/>
                      <a:pt x="5" y="68"/>
                    </a:cubicBezTo>
                    <a:cubicBezTo>
                      <a:pt x="6" y="68"/>
                      <a:pt x="8" y="68"/>
                      <a:pt x="9" y="68"/>
                    </a:cubicBezTo>
                    <a:cubicBezTo>
                      <a:pt x="10" y="68"/>
                      <a:pt x="11" y="68"/>
                      <a:pt x="12" y="68"/>
                    </a:cubicBezTo>
                    <a:cubicBezTo>
                      <a:pt x="13" y="68"/>
                      <a:pt x="14" y="68"/>
                      <a:pt x="16" y="68"/>
                    </a:cubicBezTo>
                    <a:cubicBezTo>
                      <a:pt x="17" y="68"/>
                      <a:pt x="18" y="68"/>
                      <a:pt x="19" y="67"/>
                    </a:cubicBezTo>
                    <a:cubicBezTo>
                      <a:pt x="22" y="67"/>
                      <a:pt x="24" y="65"/>
                      <a:pt x="26" y="64"/>
                    </a:cubicBezTo>
                    <a:cubicBezTo>
                      <a:pt x="28" y="62"/>
                      <a:pt x="30" y="60"/>
                      <a:pt x="32" y="58"/>
                    </a:cubicBezTo>
                    <a:cubicBezTo>
                      <a:pt x="32" y="57"/>
                      <a:pt x="33" y="56"/>
                      <a:pt x="34" y="55"/>
                    </a:cubicBezTo>
                    <a:cubicBezTo>
                      <a:pt x="35" y="54"/>
                      <a:pt x="36" y="53"/>
                      <a:pt x="37" y="52"/>
                    </a:cubicBezTo>
                    <a:cubicBezTo>
                      <a:pt x="37" y="51"/>
                      <a:pt x="38" y="50"/>
                      <a:pt x="38" y="48"/>
                    </a:cubicBezTo>
                    <a:cubicBezTo>
                      <a:pt x="39" y="47"/>
                      <a:pt x="39" y="46"/>
                      <a:pt x="39" y="45"/>
                    </a:cubicBezTo>
                    <a:cubicBezTo>
                      <a:pt x="40" y="44"/>
                      <a:pt x="40" y="43"/>
                      <a:pt x="40" y="43"/>
                    </a:cubicBezTo>
                    <a:cubicBezTo>
                      <a:pt x="39" y="42"/>
                      <a:pt x="39" y="41"/>
                      <a:pt x="39" y="41"/>
                    </a:cubicBezTo>
                    <a:cubicBezTo>
                      <a:pt x="39" y="40"/>
                      <a:pt x="38" y="39"/>
                      <a:pt x="38" y="39"/>
                    </a:cubicBezTo>
                    <a:cubicBezTo>
                      <a:pt x="38" y="39"/>
                      <a:pt x="37" y="38"/>
                      <a:pt x="36" y="38"/>
                    </a:cubicBezTo>
                    <a:cubicBezTo>
                      <a:pt x="34" y="39"/>
                      <a:pt x="32" y="39"/>
                      <a:pt x="30" y="41"/>
                    </a:cubicBezTo>
                    <a:cubicBezTo>
                      <a:pt x="28" y="42"/>
                      <a:pt x="26" y="43"/>
                      <a:pt x="24" y="45"/>
                    </a:cubicBezTo>
                    <a:cubicBezTo>
                      <a:pt x="22" y="46"/>
                      <a:pt x="20" y="48"/>
                      <a:pt x="18" y="49"/>
                    </a:cubicBezTo>
                    <a:cubicBezTo>
                      <a:pt x="16" y="51"/>
                      <a:pt x="14" y="52"/>
                      <a:pt x="12" y="54"/>
                    </a:cubicBezTo>
                    <a:cubicBezTo>
                      <a:pt x="11" y="54"/>
                      <a:pt x="10" y="55"/>
                      <a:pt x="9" y="55"/>
                    </a:cubicBezTo>
                    <a:cubicBezTo>
                      <a:pt x="8" y="56"/>
                      <a:pt x="7" y="56"/>
                      <a:pt x="6" y="56"/>
                    </a:cubicBezTo>
                    <a:cubicBezTo>
                      <a:pt x="5" y="56"/>
                      <a:pt x="4" y="56"/>
                      <a:pt x="3" y="55"/>
                    </a:cubicBezTo>
                    <a:cubicBezTo>
                      <a:pt x="2" y="54"/>
                      <a:pt x="1" y="53"/>
                      <a:pt x="1" y="52"/>
                    </a:cubicBezTo>
                    <a:cubicBezTo>
                      <a:pt x="0" y="51"/>
                      <a:pt x="0" y="49"/>
                      <a:pt x="0" y="48"/>
                    </a:cubicBezTo>
                    <a:cubicBezTo>
                      <a:pt x="0" y="47"/>
                      <a:pt x="0" y="46"/>
                      <a:pt x="0" y="44"/>
                    </a:cubicBezTo>
                    <a:cubicBezTo>
                      <a:pt x="0" y="42"/>
                      <a:pt x="0" y="39"/>
                      <a:pt x="1" y="37"/>
                    </a:cubicBezTo>
                    <a:cubicBezTo>
                      <a:pt x="1" y="34"/>
                      <a:pt x="1" y="32"/>
                      <a:pt x="2" y="29"/>
                    </a:cubicBezTo>
                    <a:cubicBezTo>
                      <a:pt x="2" y="26"/>
                      <a:pt x="3" y="24"/>
                      <a:pt x="3" y="21"/>
                    </a:cubicBezTo>
                    <a:cubicBezTo>
                      <a:pt x="4" y="19"/>
                      <a:pt x="4" y="16"/>
                      <a:pt x="4" y="14"/>
                    </a:cubicBezTo>
                    <a:cubicBezTo>
                      <a:pt x="5" y="13"/>
                      <a:pt x="5" y="12"/>
                      <a:pt x="5" y="11"/>
                    </a:cubicBezTo>
                    <a:cubicBezTo>
                      <a:pt x="6" y="10"/>
                      <a:pt x="6" y="9"/>
                      <a:pt x="7" y="8"/>
                    </a:cubicBezTo>
                    <a:cubicBezTo>
                      <a:pt x="9" y="6"/>
                      <a:pt x="11" y="4"/>
                      <a:pt x="13" y="3"/>
                    </a:cubicBezTo>
                    <a:cubicBezTo>
                      <a:pt x="15" y="2"/>
                      <a:pt x="18" y="2"/>
                      <a:pt x="20" y="1"/>
                    </a:cubicBezTo>
                    <a:cubicBezTo>
                      <a:pt x="23" y="1"/>
                      <a:pt x="25" y="0"/>
                      <a:pt x="28" y="0"/>
                    </a:cubicBezTo>
                    <a:cubicBezTo>
                      <a:pt x="30" y="0"/>
                      <a:pt x="33" y="0"/>
                      <a:pt x="35" y="0"/>
                    </a:cubicBezTo>
                    <a:cubicBezTo>
                      <a:pt x="36" y="0"/>
                      <a:pt x="37" y="0"/>
                      <a:pt x="39" y="0"/>
                    </a:cubicBezTo>
                    <a:cubicBezTo>
                      <a:pt x="40" y="1"/>
                      <a:pt x="41" y="1"/>
                      <a:pt x="42" y="2"/>
                    </a:cubicBezTo>
                    <a:cubicBezTo>
                      <a:pt x="43" y="3"/>
                      <a:pt x="44" y="5"/>
                      <a:pt x="44" y="8"/>
                    </a:cubicBezTo>
                    <a:cubicBezTo>
                      <a:pt x="44" y="8"/>
                      <a:pt x="44" y="9"/>
                      <a:pt x="43" y="9"/>
                    </a:cubicBezTo>
                    <a:cubicBezTo>
                      <a:pt x="43" y="10"/>
                      <a:pt x="42" y="10"/>
                      <a:pt x="42" y="10"/>
                    </a:cubicBezTo>
                    <a:cubicBezTo>
                      <a:pt x="41" y="11"/>
                      <a:pt x="40" y="11"/>
                      <a:pt x="40" y="11"/>
                    </a:cubicBezTo>
                    <a:cubicBezTo>
                      <a:pt x="39" y="11"/>
                      <a:pt x="39" y="11"/>
                      <a:pt x="38" y="11"/>
                    </a:cubicBezTo>
                    <a:cubicBezTo>
                      <a:pt x="37" y="11"/>
                      <a:pt x="35" y="11"/>
                      <a:pt x="33" y="11"/>
                    </a:cubicBezTo>
                    <a:cubicBezTo>
                      <a:pt x="31" y="11"/>
                      <a:pt x="29" y="11"/>
                      <a:pt x="27" y="11"/>
                    </a:cubicBezTo>
                    <a:cubicBezTo>
                      <a:pt x="26" y="12"/>
                      <a:pt x="24" y="12"/>
                      <a:pt x="22" y="12"/>
                    </a:cubicBezTo>
                    <a:cubicBezTo>
                      <a:pt x="20" y="13"/>
                      <a:pt x="19" y="13"/>
                      <a:pt x="17" y="14"/>
                    </a:cubicBezTo>
                    <a:cubicBezTo>
                      <a:pt x="17" y="16"/>
                      <a:pt x="16" y="18"/>
                      <a:pt x="16" y="20"/>
                    </a:cubicBezTo>
                    <a:cubicBezTo>
                      <a:pt x="16" y="22"/>
                      <a:pt x="15" y="24"/>
                      <a:pt x="15" y="25"/>
                    </a:cubicBezTo>
                    <a:cubicBezTo>
                      <a:pt x="15" y="27"/>
                      <a:pt x="14" y="29"/>
                      <a:pt x="14" y="31"/>
                    </a:cubicBezTo>
                    <a:cubicBezTo>
                      <a:pt x="14" y="33"/>
                      <a:pt x="14" y="35"/>
                      <a:pt x="13" y="37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5" y="37"/>
                      <a:pt x="16" y="35"/>
                      <a:pt x="18" y="33"/>
                    </a:cubicBezTo>
                    <a:cubicBezTo>
                      <a:pt x="20" y="31"/>
                      <a:pt x="22" y="30"/>
                      <a:pt x="24" y="28"/>
                    </a:cubicBezTo>
                    <a:cubicBezTo>
                      <a:pt x="26" y="27"/>
                      <a:pt x="28" y="26"/>
                      <a:pt x="31" y="25"/>
                    </a:cubicBezTo>
                    <a:cubicBezTo>
                      <a:pt x="33" y="25"/>
                      <a:pt x="35" y="24"/>
                      <a:pt x="38" y="24"/>
                    </a:cubicBezTo>
                    <a:cubicBezTo>
                      <a:pt x="40" y="24"/>
                      <a:pt x="43" y="25"/>
                      <a:pt x="45" y="26"/>
                    </a:cubicBezTo>
                    <a:cubicBezTo>
                      <a:pt x="48" y="27"/>
                      <a:pt x="49" y="28"/>
                      <a:pt x="51" y="30"/>
                    </a:cubicBezTo>
                    <a:cubicBezTo>
                      <a:pt x="52" y="32"/>
                      <a:pt x="53" y="35"/>
                      <a:pt x="54" y="37"/>
                    </a:cubicBezTo>
                    <a:cubicBezTo>
                      <a:pt x="55" y="40"/>
                      <a:pt x="55" y="43"/>
                      <a:pt x="54" y="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50" name="ï$ḻïḋe">
                <a:extLst>
                  <a:ext uri="{FF2B5EF4-FFF2-40B4-BE49-F238E27FC236}">
                    <a16:creationId xmlns:a16="http://schemas.microsoft.com/office/drawing/2014/main" id="{F418E9B8-C762-4846-A691-97C976A8E5F9}"/>
                  </a:ext>
                </a:extLst>
              </p:cNvPr>
              <p:cNvSpPr/>
              <p:nvPr/>
            </p:nvSpPr>
            <p:spPr>
              <a:xfrm flipH="1">
                <a:off x="9536368" y="1617742"/>
                <a:ext cx="128862" cy="133861"/>
              </a:xfrm>
              <a:custGeom>
                <a:avLst/>
                <a:gdLst/>
                <a:ahLst/>
                <a:cxnLst/>
                <a:rect l="l" t="t" r="r" b="b"/>
                <a:pathLst>
                  <a:path w="98" h="102" extrusionOk="0">
                    <a:moveTo>
                      <a:pt x="68" y="101"/>
                    </a:moveTo>
                    <a:cubicBezTo>
                      <a:pt x="67" y="102"/>
                      <a:pt x="65" y="102"/>
                      <a:pt x="64" y="102"/>
                    </a:cubicBezTo>
                    <a:cubicBezTo>
                      <a:pt x="63" y="102"/>
                      <a:pt x="61" y="102"/>
                      <a:pt x="60" y="101"/>
                    </a:cubicBezTo>
                    <a:cubicBezTo>
                      <a:pt x="59" y="101"/>
                      <a:pt x="58" y="100"/>
                      <a:pt x="57" y="100"/>
                    </a:cubicBezTo>
                    <a:cubicBezTo>
                      <a:pt x="57" y="100"/>
                      <a:pt x="56" y="99"/>
                      <a:pt x="55" y="98"/>
                    </a:cubicBezTo>
                    <a:cubicBezTo>
                      <a:pt x="55" y="97"/>
                      <a:pt x="55" y="96"/>
                      <a:pt x="55" y="96"/>
                    </a:cubicBezTo>
                    <a:cubicBezTo>
                      <a:pt x="55" y="95"/>
                      <a:pt x="55" y="94"/>
                      <a:pt x="55" y="93"/>
                    </a:cubicBezTo>
                    <a:cubicBezTo>
                      <a:pt x="57" y="88"/>
                      <a:pt x="58" y="84"/>
                      <a:pt x="60" y="80"/>
                    </a:cubicBezTo>
                    <a:cubicBezTo>
                      <a:pt x="62" y="76"/>
                      <a:pt x="64" y="72"/>
                      <a:pt x="65" y="68"/>
                    </a:cubicBezTo>
                    <a:cubicBezTo>
                      <a:pt x="66" y="66"/>
                      <a:pt x="67" y="64"/>
                      <a:pt x="68" y="63"/>
                    </a:cubicBezTo>
                    <a:cubicBezTo>
                      <a:pt x="69" y="61"/>
                      <a:pt x="70" y="60"/>
                      <a:pt x="71" y="58"/>
                    </a:cubicBezTo>
                    <a:cubicBezTo>
                      <a:pt x="71" y="57"/>
                      <a:pt x="72" y="56"/>
                      <a:pt x="73" y="54"/>
                    </a:cubicBezTo>
                    <a:cubicBezTo>
                      <a:pt x="73" y="53"/>
                      <a:pt x="74" y="52"/>
                      <a:pt x="75" y="51"/>
                    </a:cubicBezTo>
                    <a:cubicBezTo>
                      <a:pt x="75" y="50"/>
                      <a:pt x="76" y="48"/>
                      <a:pt x="76" y="47"/>
                    </a:cubicBezTo>
                    <a:cubicBezTo>
                      <a:pt x="77" y="46"/>
                      <a:pt x="77" y="45"/>
                      <a:pt x="78" y="43"/>
                    </a:cubicBezTo>
                    <a:cubicBezTo>
                      <a:pt x="74" y="45"/>
                      <a:pt x="71" y="46"/>
                      <a:pt x="68" y="48"/>
                    </a:cubicBezTo>
                    <a:cubicBezTo>
                      <a:pt x="65" y="50"/>
                      <a:pt x="62" y="52"/>
                      <a:pt x="59" y="54"/>
                    </a:cubicBezTo>
                    <a:cubicBezTo>
                      <a:pt x="56" y="56"/>
                      <a:pt x="54" y="59"/>
                      <a:pt x="51" y="61"/>
                    </a:cubicBezTo>
                    <a:cubicBezTo>
                      <a:pt x="48" y="63"/>
                      <a:pt x="46" y="66"/>
                      <a:pt x="43" y="68"/>
                    </a:cubicBezTo>
                    <a:cubicBezTo>
                      <a:pt x="42" y="69"/>
                      <a:pt x="41" y="70"/>
                      <a:pt x="40" y="71"/>
                    </a:cubicBezTo>
                    <a:cubicBezTo>
                      <a:pt x="39" y="72"/>
                      <a:pt x="39" y="73"/>
                      <a:pt x="38" y="73"/>
                    </a:cubicBezTo>
                    <a:cubicBezTo>
                      <a:pt x="37" y="74"/>
                      <a:pt x="37" y="74"/>
                      <a:pt x="36" y="75"/>
                    </a:cubicBezTo>
                    <a:cubicBezTo>
                      <a:pt x="36" y="75"/>
                      <a:pt x="35" y="75"/>
                      <a:pt x="35" y="76"/>
                    </a:cubicBezTo>
                    <a:cubicBezTo>
                      <a:pt x="34" y="76"/>
                      <a:pt x="34" y="76"/>
                      <a:pt x="33" y="76"/>
                    </a:cubicBezTo>
                    <a:cubicBezTo>
                      <a:pt x="32" y="77"/>
                      <a:pt x="32" y="77"/>
                      <a:pt x="31" y="76"/>
                    </a:cubicBezTo>
                    <a:cubicBezTo>
                      <a:pt x="29" y="76"/>
                      <a:pt x="28" y="74"/>
                      <a:pt x="27" y="72"/>
                    </a:cubicBezTo>
                    <a:cubicBezTo>
                      <a:pt x="26" y="70"/>
                      <a:pt x="25" y="68"/>
                      <a:pt x="25" y="66"/>
                    </a:cubicBezTo>
                    <a:cubicBezTo>
                      <a:pt x="26" y="64"/>
                      <a:pt x="26" y="61"/>
                      <a:pt x="27" y="58"/>
                    </a:cubicBezTo>
                    <a:cubicBezTo>
                      <a:pt x="27" y="56"/>
                      <a:pt x="28" y="53"/>
                      <a:pt x="29" y="51"/>
                    </a:cubicBezTo>
                    <a:cubicBezTo>
                      <a:pt x="30" y="48"/>
                      <a:pt x="31" y="46"/>
                      <a:pt x="32" y="43"/>
                    </a:cubicBezTo>
                    <a:cubicBezTo>
                      <a:pt x="32" y="40"/>
                      <a:pt x="33" y="38"/>
                      <a:pt x="33" y="35"/>
                    </a:cubicBezTo>
                    <a:cubicBezTo>
                      <a:pt x="32" y="36"/>
                      <a:pt x="31" y="37"/>
                      <a:pt x="30" y="38"/>
                    </a:cubicBezTo>
                    <a:cubicBezTo>
                      <a:pt x="28" y="39"/>
                      <a:pt x="28" y="40"/>
                      <a:pt x="27" y="42"/>
                    </a:cubicBezTo>
                    <a:cubicBezTo>
                      <a:pt x="26" y="43"/>
                      <a:pt x="25" y="44"/>
                      <a:pt x="24" y="46"/>
                    </a:cubicBezTo>
                    <a:cubicBezTo>
                      <a:pt x="23" y="47"/>
                      <a:pt x="23" y="48"/>
                      <a:pt x="22" y="49"/>
                    </a:cubicBezTo>
                    <a:cubicBezTo>
                      <a:pt x="21" y="51"/>
                      <a:pt x="20" y="52"/>
                      <a:pt x="20" y="53"/>
                    </a:cubicBezTo>
                    <a:cubicBezTo>
                      <a:pt x="19" y="54"/>
                      <a:pt x="18" y="56"/>
                      <a:pt x="18" y="57"/>
                    </a:cubicBezTo>
                    <a:cubicBezTo>
                      <a:pt x="17" y="58"/>
                      <a:pt x="17" y="59"/>
                      <a:pt x="16" y="60"/>
                    </a:cubicBezTo>
                    <a:cubicBezTo>
                      <a:pt x="16" y="61"/>
                      <a:pt x="16" y="62"/>
                      <a:pt x="15" y="63"/>
                    </a:cubicBezTo>
                    <a:cubicBezTo>
                      <a:pt x="15" y="64"/>
                      <a:pt x="15" y="65"/>
                      <a:pt x="14" y="66"/>
                    </a:cubicBezTo>
                    <a:cubicBezTo>
                      <a:pt x="14" y="67"/>
                      <a:pt x="14" y="67"/>
                      <a:pt x="13" y="68"/>
                    </a:cubicBezTo>
                    <a:cubicBezTo>
                      <a:pt x="13" y="69"/>
                      <a:pt x="12" y="70"/>
                      <a:pt x="12" y="71"/>
                    </a:cubicBezTo>
                    <a:cubicBezTo>
                      <a:pt x="11" y="72"/>
                      <a:pt x="10" y="72"/>
                      <a:pt x="10" y="73"/>
                    </a:cubicBezTo>
                    <a:cubicBezTo>
                      <a:pt x="9" y="73"/>
                      <a:pt x="8" y="74"/>
                      <a:pt x="7" y="74"/>
                    </a:cubicBezTo>
                    <a:cubicBezTo>
                      <a:pt x="6" y="74"/>
                      <a:pt x="5" y="74"/>
                      <a:pt x="4" y="73"/>
                    </a:cubicBezTo>
                    <a:cubicBezTo>
                      <a:pt x="3" y="72"/>
                      <a:pt x="2" y="71"/>
                      <a:pt x="1" y="69"/>
                    </a:cubicBezTo>
                    <a:cubicBezTo>
                      <a:pt x="0" y="68"/>
                      <a:pt x="0" y="66"/>
                      <a:pt x="0" y="65"/>
                    </a:cubicBezTo>
                    <a:cubicBezTo>
                      <a:pt x="0" y="63"/>
                      <a:pt x="0" y="62"/>
                      <a:pt x="1" y="60"/>
                    </a:cubicBezTo>
                    <a:cubicBezTo>
                      <a:pt x="1" y="59"/>
                      <a:pt x="2" y="57"/>
                      <a:pt x="2" y="56"/>
                    </a:cubicBezTo>
                    <a:cubicBezTo>
                      <a:pt x="4" y="52"/>
                      <a:pt x="6" y="48"/>
                      <a:pt x="8" y="45"/>
                    </a:cubicBezTo>
                    <a:cubicBezTo>
                      <a:pt x="9" y="41"/>
                      <a:pt x="11" y="37"/>
                      <a:pt x="14" y="34"/>
                    </a:cubicBezTo>
                    <a:cubicBezTo>
                      <a:pt x="16" y="30"/>
                      <a:pt x="18" y="27"/>
                      <a:pt x="20" y="24"/>
                    </a:cubicBezTo>
                    <a:cubicBezTo>
                      <a:pt x="22" y="21"/>
                      <a:pt x="24" y="18"/>
                      <a:pt x="27" y="16"/>
                    </a:cubicBezTo>
                    <a:cubicBezTo>
                      <a:pt x="28" y="14"/>
                      <a:pt x="30" y="12"/>
                      <a:pt x="32" y="10"/>
                    </a:cubicBezTo>
                    <a:cubicBezTo>
                      <a:pt x="34" y="8"/>
                      <a:pt x="35" y="7"/>
                      <a:pt x="37" y="5"/>
                    </a:cubicBezTo>
                    <a:cubicBezTo>
                      <a:pt x="39" y="4"/>
                      <a:pt x="40" y="2"/>
                      <a:pt x="42" y="2"/>
                    </a:cubicBezTo>
                    <a:cubicBezTo>
                      <a:pt x="44" y="1"/>
                      <a:pt x="46" y="0"/>
                      <a:pt x="48" y="0"/>
                    </a:cubicBezTo>
                    <a:cubicBezTo>
                      <a:pt x="50" y="1"/>
                      <a:pt x="51" y="1"/>
                      <a:pt x="51" y="2"/>
                    </a:cubicBezTo>
                    <a:cubicBezTo>
                      <a:pt x="52" y="3"/>
                      <a:pt x="53" y="4"/>
                      <a:pt x="53" y="5"/>
                    </a:cubicBezTo>
                    <a:cubicBezTo>
                      <a:pt x="54" y="6"/>
                      <a:pt x="54" y="7"/>
                      <a:pt x="54" y="8"/>
                    </a:cubicBezTo>
                    <a:cubicBezTo>
                      <a:pt x="54" y="9"/>
                      <a:pt x="54" y="10"/>
                      <a:pt x="54" y="11"/>
                    </a:cubicBezTo>
                    <a:cubicBezTo>
                      <a:pt x="54" y="14"/>
                      <a:pt x="53" y="16"/>
                      <a:pt x="52" y="18"/>
                    </a:cubicBezTo>
                    <a:cubicBezTo>
                      <a:pt x="52" y="21"/>
                      <a:pt x="51" y="23"/>
                      <a:pt x="50" y="25"/>
                    </a:cubicBezTo>
                    <a:cubicBezTo>
                      <a:pt x="50" y="27"/>
                      <a:pt x="49" y="28"/>
                      <a:pt x="49" y="30"/>
                    </a:cubicBezTo>
                    <a:cubicBezTo>
                      <a:pt x="49" y="31"/>
                      <a:pt x="48" y="33"/>
                      <a:pt x="48" y="34"/>
                    </a:cubicBezTo>
                    <a:cubicBezTo>
                      <a:pt x="48" y="35"/>
                      <a:pt x="48" y="36"/>
                      <a:pt x="48" y="36"/>
                    </a:cubicBezTo>
                    <a:cubicBezTo>
                      <a:pt x="47" y="37"/>
                      <a:pt x="47" y="38"/>
                      <a:pt x="47" y="39"/>
                    </a:cubicBezTo>
                    <a:cubicBezTo>
                      <a:pt x="47" y="39"/>
                      <a:pt x="48" y="40"/>
                      <a:pt x="48" y="41"/>
                    </a:cubicBezTo>
                    <a:cubicBezTo>
                      <a:pt x="48" y="42"/>
                      <a:pt x="48" y="42"/>
                      <a:pt x="49" y="43"/>
                    </a:cubicBezTo>
                    <a:cubicBezTo>
                      <a:pt x="52" y="40"/>
                      <a:pt x="56" y="38"/>
                      <a:pt x="60" y="36"/>
                    </a:cubicBezTo>
                    <a:cubicBezTo>
                      <a:pt x="63" y="33"/>
                      <a:pt x="67" y="31"/>
                      <a:pt x="71" y="29"/>
                    </a:cubicBezTo>
                    <a:cubicBezTo>
                      <a:pt x="72" y="28"/>
                      <a:pt x="74" y="27"/>
                      <a:pt x="76" y="26"/>
                    </a:cubicBezTo>
                    <a:cubicBezTo>
                      <a:pt x="77" y="25"/>
                      <a:pt x="79" y="24"/>
                      <a:pt x="81" y="23"/>
                    </a:cubicBezTo>
                    <a:cubicBezTo>
                      <a:pt x="82" y="22"/>
                      <a:pt x="84" y="22"/>
                      <a:pt x="86" y="21"/>
                    </a:cubicBezTo>
                    <a:cubicBezTo>
                      <a:pt x="88" y="21"/>
                      <a:pt x="90" y="21"/>
                      <a:pt x="91" y="21"/>
                    </a:cubicBezTo>
                    <a:cubicBezTo>
                      <a:pt x="93" y="22"/>
                      <a:pt x="94" y="23"/>
                      <a:pt x="95" y="24"/>
                    </a:cubicBezTo>
                    <a:cubicBezTo>
                      <a:pt x="96" y="25"/>
                      <a:pt x="96" y="26"/>
                      <a:pt x="97" y="27"/>
                    </a:cubicBezTo>
                    <a:cubicBezTo>
                      <a:pt x="97" y="28"/>
                      <a:pt x="98" y="29"/>
                      <a:pt x="98" y="31"/>
                    </a:cubicBezTo>
                    <a:cubicBezTo>
                      <a:pt x="98" y="32"/>
                      <a:pt x="98" y="33"/>
                      <a:pt x="98" y="35"/>
                    </a:cubicBezTo>
                    <a:cubicBezTo>
                      <a:pt x="98" y="37"/>
                      <a:pt x="97" y="40"/>
                      <a:pt x="96" y="42"/>
                    </a:cubicBezTo>
                    <a:cubicBezTo>
                      <a:pt x="95" y="45"/>
                      <a:pt x="94" y="48"/>
                      <a:pt x="93" y="50"/>
                    </a:cubicBezTo>
                    <a:cubicBezTo>
                      <a:pt x="93" y="51"/>
                      <a:pt x="93" y="51"/>
                      <a:pt x="92" y="51"/>
                    </a:cubicBezTo>
                    <a:cubicBezTo>
                      <a:pt x="92" y="52"/>
                      <a:pt x="92" y="52"/>
                      <a:pt x="92" y="53"/>
                    </a:cubicBezTo>
                    <a:cubicBezTo>
                      <a:pt x="91" y="54"/>
                      <a:pt x="90" y="55"/>
                      <a:pt x="90" y="56"/>
                    </a:cubicBezTo>
                    <a:cubicBezTo>
                      <a:pt x="89" y="57"/>
                      <a:pt x="88" y="59"/>
                      <a:pt x="87" y="60"/>
                    </a:cubicBezTo>
                    <a:cubicBezTo>
                      <a:pt x="86" y="61"/>
                      <a:pt x="86" y="62"/>
                      <a:pt x="85" y="63"/>
                    </a:cubicBezTo>
                    <a:cubicBezTo>
                      <a:pt x="84" y="64"/>
                      <a:pt x="83" y="66"/>
                      <a:pt x="82" y="67"/>
                    </a:cubicBezTo>
                    <a:cubicBezTo>
                      <a:pt x="82" y="67"/>
                      <a:pt x="81" y="68"/>
                      <a:pt x="81" y="69"/>
                    </a:cubicBezTo>
                    <a:cubicBezTo>
                      <a:pt x="81" y="70"/>
                      <a:pt x="80" y="71"/>
                      <a:pt x="80" y="71"/>
                    </a:cubicBezTo>
                    <a:cubicBezTo>
                      <a:pt x="78" y="74"/>
                      <a:pt x="77" y="76"/>
                      <a:pt x="76" y="79"/>
                    </a:cubicBezTo>
                    <a:cubicBezTo>
                      <a:pt x="76" y="82"/>
                      <a:pt x="75" y="84"/>
                      <a:pt x="74" y="87"/>
                    </a:cubicBezTo>
                    <a:cubicBezTo>
                      <a:pt x="73" y="89"/>
                      <a:pt x="72" y="92"/>
                      <a:pt x="71" y="94"/>
                    </a:cubicBezTo>
                    <a:cubicBezTo>
                      <a:pt x="70" y="96"/>
                      <a:pt x="69" y="99"/>
                      <a:pt x="68" y="10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51" name="íṩlîḑê">
                <a:extLst>
                  <a:ext uri="{FF2B5EF4-FFF2-40B4-BE49-F238E27FC236}">
                    <a16:creationId xmlns:a16="http://schemas.microsoft.com/office/drawing/2014/main" id="{7E7F57AF-5C20-4E69-A0A4-3FBABABBE579}"/>
                  </a:ext>
                </a:extLst>
              </p:cNvPr>
              <p:cNvSpPr/>
              <p:nvPr/>
            </p:nvSpPr>
            <p:spPr>
              <a:xfrm flipH="1">
                <a:off x="9443055" y="1431669"/>
                <a:ext cx="133861" cy="152191"/>
              </a:xfrm>
              <a:custGeom>
                <a:avLst/>
                <a:gdLst/>
                <a:ahLst/>
                <a:cxnLst/>
                <a:rect l="l" t="t" r="r" b="b"/>
                <a:pathLst>
                  <a:path w="102" h="116" extrusionOk="0">
                    <a:moveTo>
                      <a:pt x="68" y="105"/>
                    </a:moveTo>
                    <a:cubicBezTo>
                      <a:pt x="68" y="106"/>
                      <a:pt x="67" y="108"/>
                      <a:pt x="65" y="109"/>
                    </a:cubicBezTo>
                    <a:cubicBezTo>
                      <a:pt x="64" y="110"/>
                      <a:pt x="63" y="111"/>
                      <a:pt x="62" y="112"/>
                    </a:cubicBezTo>
                    <a:cubicBezTo>
                      <a:pt x="61" y="114"/>
                      <a:pt x="59" y="114"/>
                      <a:pt x="58" y="115"/>
                    </a:cubicBezTo>
                    <a:cubicBezTo>
                      <a:pt x="56" y="116"/>
                      <a:pt x="54" y="116"/>
                      <a:pt x="53" y="116"/>
                    </a:cubicBezTo>
                    <a:cubicBezTo>
                      <a:pt x="50" y="115"/>
                      <a:pt x="48" y="113"/>
                      <a:pt x="46" y="111"/>
                    </a:cubicBezTo>
                    <a:cubicBezTo>
                      <a:pt x="45" y="109"/>
                      <a:pt x="44" y="106"/>
                      <a:pt x="43" y="104"/>
                    </a:cubicBezTo>
                    <a:cubicBezTo>
                      <a:pt x="42" y="101"/>
                      <a:pt x="42" y="98"/>
                      <a:pt x="41" y="95"/>
                    </a:cubicBezTo>
                    <a:cubicBezTo>
                      <a:pt x="41" y="93"/>
                      <a:pt x="41" y="90"/>
                      <a:pt x="40" y="87"/>
                    </a:cubicBezTo>
                    <a:cubicBezTo>
                      <a:pt x="40" y="81"/>
                      <a:pt x="39" y="75"/>
                      <a:pt x="39" y="68"/>
                    </a:cubicBezTo>
                    <a:cubicBezTo>
                      <a:pt x="38" y="62"/>
                      <a:pt x="38" y="56"/>
                      <a:pt x="37" y="49"/>
                    </a:cubicBezTo>
                    <a:cubicBezTo>
                      <a:pt x="36" y="50"/>
                      <a:pt x="35" y="51"/>
                      <a:pt x="34" y="52"/>
                    </a:cubicBezTo>
                    <a:cubicBezTo>
                      <a:pt x="32" y="53"/>
                      <a:pt x="31" y="54"/>
                      <a:pt x="31" y="55"/>
                    </a:cubicBezTo>
                    <a:cubicBezTo>
                      <a:pt x="30" y="56"/>
                      <a:pt x="29" y="58"/>
                      <a:pt x="28" y="59"/>
                    </a:cubicBezTo>
                    <a:cubicBezTo>
                      <a:pt x="28" y="60"/>
                      <a:pt x="27" y="62"/>
                      <a:pt x="26" y="63"/>
                    </a:cubicBezTo>
                    <a:cubicBezTo>
                      <a:pt x="25" y="65"/>
                      <a:pt x="24" y="67"/>
                      <a:pt x="23" y="69"/>
                    </a:cubicBezTo>
                    <a:cubicBezTo>
                      <a:pt x="23" y="72"/>
                      <a:pt x="22" y="74"/>
                      <a:pt x="21" y="76"/>
                    </a:cubicBezTo>
                    <a:cubicBezTo>
                      <a:pt x="20" y="78"/>
                      <a:pt x="19" y="80"/>
                      <a:pt x="18" y="82"/>
                    </a:cubicBezTo>
                    <a:cubicBezTo>
                      <a:pt x="17" y="85"/>
                      <a:pt x="17" y="87"/>
                      <a:pt x="16" y="89"/>
                    </a:cubicBezTo>
                    <a:cubicBezTo>
                      <a:pt x="15" y="90"/>
                      <a:pt x="14" y="91"/>
                      <a:pt x="14" y="92"/>
                    </a:cubicBezTo>
                    <a:cubicBezTo>
                      <a:pt x="13" y="94"/>
                      <a:pt x="13" y="95"/>
                      <a:pt x="12" y="96"/>
                    </a:cubicBezTo>
                    <a:cubicBezTo>
                      <a:pt x="11" y="97"/>
                      <a:pt x="10" y="98"/>
                      <a:pt x="9" y="98"/>
                    </a:cubicBezTo>
                    <a:cubicBezTo>
                      <a:pt x="8" y="99"/>
                      <a:pt x="7" y="99"/>
                      <a:pt x="5" y="99"/>
                    </a:cubicBezTo>
                    <a:cubicBezTo>
                      <a:pt x="4" y="98"/>
                      <a:pt x="3" y="98"/>
                      <a:pt x="3" y="97"/>
                    </a:cubicBezTo>
                    <a:cubicBezTo>
                      <a:pt x="2" y="96"/>
                      <a:pt x="1" y="95"/>
                      <a:pt x="1" y="94"/>
                    </a:cubicBezTo>
                    <a:cubicBezTo>
                      <a:pt x="1" y="93"/>
                      <a:pt x="0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1" y="82"/>
                      <a:pt x="2" y="77"/>
                      <a:pt x="4" y="72"/>
                    </a:cubicBezTo>
                    <a:cubicBezTo>
                      <a:pt x="6" y="66"/>
                      <a:pt x="8" y="61"/>
                      <a:pt x="10" y="56"/>
                    </a:cubicBezTo>
                    <a:cubicBezTo>
                      <a:pt x="11" y="55"/>
                      <a:pt x="12" y="53"/>
                      <a:pt x="13" y="51"/>
                    </a:cubicBezTo>
                    <a:cubicBezTo>
                      <a:pt x="13" y="50"/>
                      <a:pt x="14" y="48"/>
                      <a:pt x="15" y="46"/>
                    </a:cubicBezTo>
                    <a:cubicBezTo>
                      <a:pt x="17" y="42"/>
                      <a:pt x="19" y="39"/>
                      <a:pt x="21" y="35"/>
                    </a:cubicBezTo>
                    <a:cubicBezTo>
                      <a:pt x="24" y="31"/>
                      <a:pt x="26" y="27"/>
                      <a:pt x="28" y="24"/>
                    </a:cubicBezTo>
                    <a:cubicBezTo>
                      <a:pt x="30" y="21"/>
                      <a:pt x="32" y="19"/>
                      <a:pt x="33" y="17"/>
                    </a:cubicBezTo>
                    <a:cubicBezTo>
                      <a:pt x="35" y="14"/>
                      <a:pt x="36" y="12"/>
                      <a:pt x="38" y="10"/>
                    </a:cubicBezTo>
                    <a:cubicBezTo>
                      <a:pt x="40" y="8"/>
                      <a:pt x="42" y="6"/>
                      <a:pt x="43" y="4"/>
                    </a:cubicBezTo>
                    <a:cubicBezTo>
                      <a:pt x="45" y="2"/>
                      <a:pt x="48" y="1"/>
                      <a:pt x="50" y="0"/>
                    </a:cubicBezTo>
                    <a:cubicBezTo>
                      <a:pt x="52" y="1"/>
                      <a:pt x="53" y="2"/>
                      <a:pt x="54" y="3"/>
                    </a:cubicBezTo>
                    <a:cubicBezTo>
                      <a:pt x="55" y="5"/>
                      <a:pt x="56" y="6"/>
                      <a:pt x="57" y="8"/>
                    </a:cubicBezTo>
                    <a:cubicBezTo>
                      <a:pt x="57" y="10"/>
                      <a:pt x="57" y="11"/>
                      <a:pt x="58" y="13"/>
                    </a:cubicBezTo>
                    <a:cubicBezTo>
                      <a:pt x="58" y="15"/>
                      <a:pt x="58" y="17"/>
                      <a:pt x="58" y="18"/>
                    </a:cubicBezTo>
                    <a:cubicBezTo>
                      <a:pt x="58" y="24"/>
                      <a:pt x="58" y="30"/>
                      <a:pt x="58" y="35"/>
                    </a:cubicBezTo>
                    <a:cubicBezTo>
                      <a:pt x="58" y="41"/>
                      <a:pt x="58" y="47"/>
                      <a:pt x="58" y="52"/>
                    </a:cubicBezTo>
                    <a:cubicBezTo>
                      <a:pt x="58" y="55"/>
                      <a:pt x="58" y="57"/>
                      <a:pt x="58" y="59"/>
                    </a:cubicBezTo>
                    <a:cubicBezTo>
                      <a:pt x="58" y="62"/>
                      <a:pt x="58" y="64"/>
                      <a:pt x="58" y="66"/>
                    </a:cubicBezTo>
                    <a:cubicBezTo>
                      <a:pt x="58" y="69"/>
                      <a:pt x="59" y="71"/>
                      <a:pt x="59" y="73"/>
                    </a:cubicBezTo>
                    <a:cubicBezTo>
                      <a:pt x="59" y="75"/>
                      <a:pt x="60" y="78"/>
                      <a:pt x="61" y="80"/>
                    </a:cubicBezTo>
                    <a:cubicBezTo>
                      <a:pt x="62" y="78"/>
                      <a:pt x="63" y="77"/>
                      <a:pt x="64" y="75"/>
                    </a:cubicBezTo>
                    <a:cubicBezTo>
                      <a:pt x="65" y="74"/>
                      <a:pt x="66" y="72"/>
                      <a:pt x="67" y="70"/>
                    </a:cubicBezTo>
                    <a:cubicBezTo>
                      <a:pt x="68" y="67"/>
                      <a:pt x="70" y="64"/>
                      <a:pt x="71" y="60"/>
                    </a:cubicBezTo>
                    <a:cubicBezTo>
                      <a:pt x="72" y="57"/>
                      <a:pt x="74" y="54"/>
                      <a:pt x="75" y="50"/>
                    </a:cubicBezTo>
                    <a:cubicBezTo>
                      <a:pt x="76" y="47"/>
                      <a:pt x="77" y="44"/>
                      <a:pt x="78" y="41"/>
                    </a:cubicBezTo>
                    <a:cubicBezTo>
                      <a:pt x="80" y="37"/>
                      <a:pt x="81" y="34"/>
                      <a:pt x="82" y="31"/>
                    </a:cubicBezTo>
                    <a:cubicBezTo>
                      <a:pt x="83" y="30"/>
                      <a:pt x="84" y="28"/>
                      <a:pt x="85" y="27"/>
                    </a:cubicBezTo>
                    <a:cubicBezTo>
                      <a:pt x="85" y="25"/>
                      <a:pt x="86" y="24"/>
                      <a:pt x="88" y="22"/>
                    </a:cubicBezTo>
                    <a:cubicBezTo>
                      <a:pt x="89" y="21"/>
                      <a:pt x="90" y="20"/>
                      <a:pt x="91" y="19"/>
                    </a:cubicBezTo>
                    <a:cubicBezTo>
                      <a:pt x="93" y="19"/>
                      <a:pt x="94" y="19"/>
                      <a:pt x="96" y="19"/>
                    </a:cubicBezTo>
                    <a:cubicBezTo>
                      <a:pt x="98" y="20"/>
                      <a:pt x="99" y="22"/>
                      <a:pt x="100" y="23"/>
                    </a:cubicBezTo>
                    <a:cubicBezTo>
                      <a:pt x="101" y="25"/>
                      <a:pt x="102" y="27"/>
                      <a:pt x="102" y="29"/>
                    </a:cubicBezTo>
                    <a:cubicBezTo>
                      <a:pt x="102" y="31"/>
                      <a:pt x="102" y="33"/>
                      <a:pt x="101" y="35"/>
                    </a:cubicBezTo>
                    <a:cubicBezTo>
                      <a:pt x="101" y="36"/>
                      <a:pt x="100" y="38"/>
                      <a:pt x="99" y="40"/>
                    </a:cubicBezTo>
                    <a:cubicBezTo>
                      <a:pt x="98" y="43"/>
                      <a:pt x="97" y="45"/>
                      <a:pt x="96" y="47"/>
                    </a:cubicBezTo>
                    <a:cubicBezTo>
                      <a:pt x="95" y="50"/>
                      <a:pt x="94" y="52"/>
                      <a:pt x="93" y="55"/>
                    </a:cubicBezTo>
                    <a:cubicBezTo>
                      <a:pt x="86" y="70"/>
                      <a:pt x="86" y="70"/>
                      <a:pt x="86" y="70"/>
                    </a:cubicBezTo>
                    <a:cubicBezTo>
                      <a:pt x="83" y="75"/>
                      <a:pt x="80" y="81"/>
                      <a:pt x="78" y="86"/>
                    </a:cubicBezTo>
                    <a:cubicBezTo>
                      <a:pt x="75" y="92"/>
                      <a:pt x="72" y="97"/>
                      <a:pt x="69" y="103"/>
                    </a:cubicBezTo>
                    <a:lnTo>
                      <a:pt x="68" y="10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  <p:sp>
            <p:nvSpPr>
              <p:cNvPr id="152" name="íś1ïḓè">
                <a:extLst>
                  <a:ext uri="{FF2B5EF4-FFF2-40B4-BE49-F238E27FC236}">
                    <a16:creationId xmlns:a16="http://schemas.microsoft.com/office/drawing/2014/main" id="{FB1951BF-E645-44CC-B5DE-4E97A80127F5}"/>
                  </a:ext>
                </a:extLst>
              </p:cNvPr>
              <p:cNvSpPr/>
              <p:nvPr/>
            </p:nvSpPr>
            <p:spPr>
              <a:xfrm flipH="1">
                <a:off x="9180333" y="2934690"/>
                <a:ext cx="2266742" cy="3212110"/>
              </a:xfrm>
              <a:custGeom>
                <a:avLst/>
                <a:gdLst/>
                <a:ahLst/>
                <a:cxnLst/>
                <a:rect l="l" t="t" r="r" b="b"/>
                <a:pathLst>
                  <a:path w="1726" h="2446" extrusionOk="0">
                    <a:moveTo>
                      <a:pt x="1616" y="847"/>
                    </a:moveTo>
                    <a:cubicBezTo>
                      <a:pt x="1592" y="814"/>
                      <a:pt x="1570" y="775"/>
                      <a:pt x="1555" y="743"/>
                    </a:cubicBezTo>
                    <a:cubicBezTo>
                      <a:pt x="1566" y="730"/>
                      <a:pt x="1575" y="714"/>
                      <a:pt x="1571" y="690"/>
                    </a:cubicBezTo>
                    <a:cubicBezTo>
                      <a:pt x="1564" y="701"/>
                      <a:pt x="1556" y="713"/>
                      <a:pt x="1547" y="725"/>
                    </a:cubicBezTo>
                    <a:cubicBezTo>
                      <a:pt x="1546" y="724"/>
                      <a:pt x="1546" y="723"/>
                      <a:pt x="1545" y="722"/>
                    </a:cubicBezTo>
                    <a:cubicBezTo>
                      <a:pt x="1560" y="685"/>
                      <a:pt x="1571" y="644"/>
                      <a:pt x="1575" y="606"/>
                    </a:cubicBezTo>
                    <a:cubicBezTo>
                      <a:pt x="1584" y="523"/>
                      <a:pt x="1568" y="449"/>
                      <a:pt x="1543" y="371"/>
                    </a:cubicBezTo>
                    <a:cubicBezTo>
                      <a:pt x="1530" y="332"/>
                      <a:pt x="1512" y="300"/>
                      <a:pt x="1488" y="273"/>
                    </a:cubicBezTo>
                    <a:cubicBezTo>
                      <a:pt x="1475" y="241"/>
                      <a:pt x="1442" y="210"/>
                      <a:pt x="1304" y="147"/>
                    </a:cubicBezTo>
                    <a:cubicBezTo>
                      <a:pt x="1300" y="145"/>
                      <a:pt x="1295" y="143"/>
                      <a:pt x="1289" y="140"/>
                    </a:cubicBezTo>
                    <a:cubicBezTo>
                      <a:pt x="1289" y="139"/>
                      <a:pt x="1288" y="139"/>
                      <a:pt x="1288" y="139"/>
                    </a:cubicBezTo>
                    <a:cubicBezTo>
                      <a:pt x="1269" y="128"/>
                      <a:pt x="1233" y="98"/>
                      <a:pt x="1207" y="89"/>
                    </a:cubicBezTo>
                    <a:cubicBezTo>
                      <a:pt x="1234" y="91"/>
                      <a:pt x="1277" y="95"/>
                      <a:pt x="1277" y="95"/>
                    </a:cubicBezTo>
                    <a:cubicBezTo>
                      <a:pt x="1270" y="72"/>
                      <a:pt x="1187" y="15"/>
                      <a:pt x="1020" y="53"/>
                    </a:cubicBezTo>
                    <a:cubicBezTo>
                      <a:pt x="1010" y="189"/>
                      <a:pt x="1010" y="189"/>
                      <a:pt x="1010" y="189"/>
                    </a:cubicBezTo>
                    <a:cubicBezTo>
                      <a:pt x="1136" y="197"/>
                      <a:pt x="1228" y="241"/>
                      <a:pt x="1252" y="256"/>
                    </a:cubicBezTo>
                    <a:cubicBezTo>
                      <a:pt x="1348" y="319"/>
                      <a:pt x="1573" y="511"/>
                      <a:pt x="1242" y="715"/>
                    </a:cubicBezTo>
                    <a:cubicBezTo>
                      <a:pt x="1242" y="715"/>
                      <a:pt x="981" y="805"/>
                      <a:pt x="864" y="936"/>
                    </a:cubicBezTo>
                    <a:cubicBezTo>
                      <a:pt x="747" y="1066"/>
                      <a:pt x="613" y="1090"/>
                      <a:pt x="536" y="1043"/>
                    </a:cubicBezTo>
                    <a:cubicBezTo>
                      <a:pt x="459" y="996"/>
                      <a:pt x="118" y="669"/>
                      <a:pt x="563" y="330"/>
                    </a:cubicBezTo>
                    <a:cubicBezTo>
                      <a:pt x="675" y="244"/>
                      <a:pt x="786" y="205"/>
                      <a:pt x="886" y="192"/>
                    </a:cubicBezTo>
                    <a:cubicBezTo>
                      <a:pt x="884" y="24"/>
                      <a:pt x="884" y="24"/>
                      <a:pt x="884" y="24"/>
                    </a:cubicBezTo>
                    <a:cubicBezTo>
                      <a:pt x="847" y="32"/>
                      <a:pt x="802" y="45"/>
                      <a:pt x="759" y="61"/>
                    </a:cubicBezTo>
                    <a:cubicBezTo>
                      <a:pt x="790" y="43"/>
                      <a:pt x="813" y="29"/>
                      <a:pt x="813" y="28"/>
                    </a:cubicBezTo>
                    <a:cubicBezTo>
                      <a:pt x="814" y="14"/>
                      <a:pt x="591" y="0"/>
                      <a:pt x="437" y="269"/>
                    </a:cubicBezTo>
                    <a:cubicBezTo>
                      <a:pt x="434" y="276"/>
                      <a:pt x="427" y="173"/>
                      <a:pt x="427" y="173"/>
                    </a:cubicBezTo>
                    <a:cubicBezTo>
                      <a:pt x="427" y="173"/>
                      <a:pt x="375" y="219"/>
                      <a:pt x="370" y="315"/>
                    </a:cubicBezTo>
                    <a:cubicBezTo>
                      <a:pt x="370" y="320"/>
                      <a:pt x="368" y="323"/>
                      <a:pt x="364" y="327"/>
                    </a:cubicBezTo>
                    <a:cubicBezTo>
                      <a:pt x="300" y="315"/>
                      <a:pt x="239" y="446"/>
                      <a:pt x="215" y="491"/>
                    </a:cubicBezTo>
                    <a:cubicBezTo>
                      <a:pt x="150" y="615"/>
                      <a:pt x="140" y="783"/>
                      <a:pt x="140" y="921"/>
                    </a:cubicBezTo>
                    <a:cubicBezTo>
                      <a:pt x="140" y="966"/>
                      <a:pt x="140" y="1011"/>
                      <a:pt x="142" y="1056"/>
                    </a:cubicBezTo>
                    <a:cubicBezTo>
                      <a:pt x="133" y="1112"/>
                      <a:pt x="121" y="1169"/>
                      <a:pt x="112" y="1224"/>
                    </a:cubicBezTo>
                    <a:cubicBezTo>
                      <a:pt x="100" y="1295"/>
                      <a:pt x="87" y="1382"/>
                      <a:pt x="56" y="1448"/>
                    </a:cubicBezTo>
                    <a:cubicBezTo>
                      <a:pt x="38" y="1486"/>
                      <a:pt x="6" y="1545"/>
                      <a:pt x="0" y="1586"/>
                    </a:cubicBezTo>
                    <a:cubicBezTo>
                      <a:pt x="27" y="1540"/>
                      <a:pt x="60" y="1504"/>
                      <a:pt x="79" y="1447"/>
                    </a:cubicBezTo>
                    <a:cubicBezTo>
                      <a:pt x="85" y="1521"/>
                      <a:pt x="94" y="1587"/>
                      <a:pt x="111" y="1659"/>
                    </a:cubicBezTo>
                    <a:cubicBezTo>
                      <a:pt x="125" y="1720"/>
                      <a:pt x="134" y="1799"/>
                      <a:pt x="164" y="1854"/>
                    </a:cubicBezTo>
                    <a:cubicBezTo>
                      <a:pt x="163" y="1808"/>
                      <a:pt x="169" y="1765"/>
                      <a:pt x="172" y="1720"/>
                    </a:cubicBezTo>
                    <a:cubicBezTo>
                      <a:pt x="172" y="1777"/>
                      <a:pt x="218" y="1842"/>
                      <a:pt x="248" y="1887"/>
                    </a:cubicBezTo>
                    <a:cubicBezTo>
                      <a:pt x="266" y="1914"/>
                      <a:pt x="283" y="1942"/>
                      <a:pt x="301" y="1970"/>
                    </a:cubicBezTo>
                    <a:cubicBezTo>
                      <a:pt x="260" y="2041"/>
                      <a:pt x="228" y="2103"/>
                      <a:pt x="224" y="2135"/>
                    </a:cubicBezTo>
                    <a:cubicBezTo>
                      <a:pt x="208" y="2240"/>
                      <a:pt x="857" y="2446"/>
                      <a:pt x="881" y="2439"/>
                    </a:cubicBezTo>
                    <a:cubicBezTo>
                      <a:pt x="893" y="2435"/>
                      <a:pt x="976" y="2368"/>
                      <a:pt x="1054" y="2306"/>
                    </a:cubicBezTo>
                    <a:cubicBezTo>
                      <a:pt x="1076" y="2302"/>
                      <a:pt x="1100" y="2299"/>
                      <a:pt x="1124" y="2299"/>
                    </a:cubicBezTo>
                    <a:cubicBezTo>
                      <a:pt x="1210" y="2298"/>
                      <a:pt x="1309" y="2321"/>
                      <a:pt x="1363" y="2240"/>
                    </a:cubicBezTo>
                    <a:cubicBezTo>
                      <a:pt x="1309" y="2164"/>
                      <a:pt x="1253" y="2094"/>
                      <a:pt x="1220" y="2006"/>
                    </a:cubicBezTo>
                    <a:cubicBezTo>
                      <a:pt x="1206" y="1970"/>
                      <a:pt x="1193" y="1929"/>
                      <a:pt x="1192" y="1908"/>
                    </a:cubicBezTo>
                    <a:cubicBezTo>
                      <a:pt x="1189" y="1851"/>
                      <a:pt x="1193" y="1793"/>
                      <a:pt x="1192" y="1736"/>
                    </a:cubicBezTo>
                    <a:cubicBezTo>
                      <a:pt x="1191" y="1713"/>
                      <a:pt x="1193" y="1686"/>
                      <a:pt x="1199" y="1667"/>
                    </a:cubicBezTo>
                    <a:cubicBezTo>
                      <a:pt x="1212" y="1697"/>
                      <a:pt x="1237" y="1761"/>
                      <a:pt x="1266" y="1778"/>
                    </a:cubicBezTo>
                    <a:cubicBezTo>
                      <a:pt x="1262" y="1714"/>
                      <a:pt x="1229" y="1623"/>
                      <a:pt x="1228" y="1556"/>
                    </a:cubicBezTo>
                    <a:cubicBezTo>
                      <a:pt x="1228" y="1529"/>
                      <a:pt x="1223" y="1469"/>
                      <a:pt x="1224" y="1439"/>
                    </a:cubicBezTo>
                    <a:cubicBezTo>
                      <a:pt x="1286" y="1421"/>
                      <a:pt x="1312" y="1425"/>
                      <a:pt x="1362" y="1432"/>
                    </a:cubicBezTo>
                    <a:cubicBezTo>
                      <a:pt x="1415" y="1440"/>
                      <a:pt x="1481" y="1447"/>
                      <a:pt x="1528" y="1431"/>
                    </a:cubicBezTo>
                    <a:cubicBezTo>
                      <a:pt x="1588" y="1410"/>
                      <a:pt x="1578" y="1312"/>
                      <a:pt x="1588" y="1279"/>
                    </a:cubicBezTo>
                    <a:cubicBezTo>
                      <a:pt x="1602" y="1228"/>
                      <a:pt x="1685" y="1201"/>
                      <a:pt x="1646" y="1154"/>
                    </a:cubicBezTo>
                    <a:cubicBezTo>
                      <a:pt x="1682" y="1127"/>
                      <a:pt x="1674" y="1103"/>
                      <a:pt x="1663" y="1088"/>
                    </a:cubicBezTo>
                    <a:cubicBezTo>
                      <a:pt x="1653" y="1074"/>
                      <a:pt x="1641" y="1061"/>
                      <a:pt x="1630" y="1047"/>
                    </a:cubicBezTo>
                    <a:cubicBezTo>
                      <a:pt x="1657" y="1044"/>
                      <a:pt x="1682" y="1037"/>
                      <a:pt x="1694" y="1020"/>
                    </a:cubicBezTo>
                    <a:cubicBezTo>
                      <a:pt x="1726" y="977"/>
                      <a:pt x="1669" y="919"/>
                      <a:pt x="1616" y="847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</a:endParaRPr>
              </a:p>
            </p:txBody>
          </p:sp>
        </p:grpSp>
        <p:sp>
          <p:nvSpPr>
            <p:cNvPr id="81" name="iSļiďè">
              <a:extLst>
                <a:ext uri="{FF2B5EF4-FFF2-40B4-BE49-F238E27FC236}">
                  <a16:creationId xmlns:a16="http://schemas.microsoft.com/office/drawing/2014/main" id="{0CB926C5-19B5-452B-9674-BC161A751124}"/>
                </a:ext>
              </a:extLst>
            </p:cNvPr>
            <p:cNvSpPr/>
            <p:nvPr/>
          </p:nvSpPr>
          <p:spPr>
            <a:xfrm>
              <a:off x="1684562" y="1582731"/>
              <a:ext cx="4759325" cy="57876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solidFill>
                    <a:schemeClr val="tx1"/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82" name="ïṥľïďe">
              <a:extLst>
                <a:ext uri="{FF2B5EF4-FFF2-40B4-BE49-F238E27FC236}">
                  <a16:creationId xmlns:a16="http://schemas.microsoft.com/office/drawing/2014/main" id="{CD756FDA-B81A-443B-9F70-2B83B80DCE88}"/>
                </a:ext>
              </a:extLst>
            </p:cNvPr>
            <p:cNvSpPr/>
            <p:nvPr/>
          </p:nvSpPr>
          <p:spPr>
            <a:xfrm>
              <a:off x="1684562" y="2289305"/>
              <a:ext cx="4759325" cy="57876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solidFill>
                    <a:schemeClr val="tx1"/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83" name="iś1íḍé">
              <a:extLst>
                <a:ext uri="{FF2B5EF4-FFF2-40B4-BE49-F238E27FC236}">
                  <a16:creationId xmlns:a16="http://schemas.microsoft.com/office/drawing/2014/main" id="{5D990761-861C-4533-BE24-7F3D8B56110C}"/>
                </a:ext>
              </a:extLst>
            </p:cNvPr>
            <p:cNvSpPr/>
            <p:nvPr/>
          </p:nvSpPr>
          <p:spPr>
            <a:xfrm>
              <a:off x="1684562" y="2995879"/>
              <a:ext cx="4759325" cy="57876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solidFill>
                    <a:schemeClr val="tx1"/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84" name="iṥlíḑê">
              <a:extLst>
                <a:ext uri="{FF2B5EF4-FFF2-40B4-BE49-F238E27FC236}">
                  <a16:creationId xmlns:a16="http://schemas.microsoft.com/office/drawing/2014/main" id="{15BA2C2A-A38D-4B57-A591-968BD44E8362}"/>
                </a:ext>
              </a:extLst>
            </p:cNvPr>
            <p:cNvSpPr/>
            <p:nvPr/>
          </p:nvSpPr>
          <p:spPr>
            <a:xfrm>
              <a:off x="1684562" y="3702453"/>
              <a:ext cx="5820734" cy="578768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85" name="ïsḻïdé">
              <a:extLst>
                <a:ext uri="{FF2B5EF4-FFF2-40B4-BE49-F238E27FC236}">
                  <a16:creationId xmlns:a16="http://schemas.microsoft.com/office/drawing/2014/main" id="{B56D333C-9A3A-4378-AFBF-7E22E11E72D1}"/>
                </a:ext>
              </a:extLst>
            </p:cNvPr>
            <p:cNvSpPr/>
            <p:nvPr/>
          </p:nvSpPr>
          <p:spPr>
            <a:xfrm>
              <a:off x="1684562" y="4409027"/>
              <a:ext cx="4759325" cy="57876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solidFill>
                    <a:schemeClr val="tx1"/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86" name="íṩḻíďê">
              <a:extLst>
                <a:ext uri="{FF2B5EF4-FFF2-40B4-BE49-F238E27FC236}">
                  <a16:creationId xmlns:a16="http://schemas.microsoft.com/office/drawing/2014/main" id="{B7E4D19C-C38D-407A-B025-F89B49534ECC}"/>
                </a:ext>
              </a:extLst>
            </p:cNvPr>
            <p:cNvSpPr/>
            <p:nvPr/>
          </p:nvSpPr>
          <p:spPr>
            <a:xfrm>
              <a:off x="1684562" y="5115601"/>
              <a:ext cx="4759325" cy="57876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solidFill>
                    <a:schemeClr val="tx1"/>
                  </a:solidFill>
                </a:rPr>
                <a:t>Copy paste fonts. Choose the only option to retain text……</a:t>
              </a:r>
            </a:p>
          </p:txBody>
        </p:sp>
        <p:cxnSp>
          <p:nvCxnSpPr>
            <p:cNvPr id="87" name="直接连接符 86">
              <a:extLst>
                <a:ext uri="{FF2B5EF4-FFF2-40B4-BE49-F238E27FC236}">
                  <a16:creationId xmlns:a16="http://schemas.microsoft.com/office/drawing/2014/main" id="{AB0FFDFA-4B90-4E1D-9711-27368B8A3A89}"/>
                </a:ext>
              </a:extLst>
            </p:cNvPr>
            <p:cNvCxnSpPr/>
            <p:nvPr/>
          </p:nvCxnSpPr>
          <p:spPr>
            <a:xfrm>
              <a:off x="1684562" y="2225402"/>
              <a:ext cx="58229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直接连接符 87">
              <a:extLst>
                <a:ext uri="{FF2B5EF4-FFF2-40B4-BE49-F238E27FC236}">
                  <a16:creationId xmlns:a16="http://schemas.microsoft.com/office/drawing/2014/main" id="{BB41B027-5D2E-4984-894A-3BBDC396692F}"/>
                </a:ext>
              </a:extLst>
            </p:cNvPr>
            <p:cNvCxnSpPr/>
            <p:nvPr/>
          </p:nvCxnSpPr>
          <p:spPr>
            <a:xfrm>
              <a:off x="1684562" y="2931976"/>
              <a:ext cx="58229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直接连接符 88">
              <a:extLst>
                <a:ext uri="{FF2B5EF4-FFF2-40B4-BE49-F238E27FC236}">
                  <a16:creationId xmlns:a16="http://schemas.microsoft.com/office/drawing/2014/main" id="{234C908A-3F97-40DD-B0B2-D16422EFC0CD}"/>
                </a:ext>
              </a:extLst>
            </p:cNvPr>
            <p:cNvCxnSpPr/>
            <p:nvPr/>
          </p:nvCxnSpPr>
          <p:spPr>
            <a:xfrm>
              <a:off x="1684562" y="3638550"/>
              <a:ext cx="58229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直接连接符 89">
              <a:extLst>
                <a:ext uri="{FF2B5EF4-FFF2-40B4-BE49-F238E27FC236}">
                  <a16:creationId xmlns:a16="http://schemas.microsoft.com/office/drawing/2014/main" id="{BFC5328E-1D0E-42B2-A3A3-D3DD966252AA}"/>
                </a:ext>
              </a:extLst>
            </p:cNvPr>
            <p:cNvCxnSpPr/>
            <p:nvPr/>
          </p:nvCxnSpPr>
          <p:spPr>
            <a:xfrm>
              <a:off x="1684562" y="4345124"/>
              <a:ext cx="58229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直接连接符 90">
              <a:extLst>
                <a:ext uri="{FF2B5EF4-FFF2-40B4-BE49-F238E27FC236}">
                  <a16:creationId xmlns:a16="http://schemas.microsoft.com/office/drawing/2014/main" id="{5DA5EE3B-C50C-42A6-A0BF-A96C34864441}"/>
                </a:ext>
              </a:extLst>
            </p:cNvPr>
            <p:cNvCxnSpPr/>
            <p:nvPr/>
          </p:nvCxnSpPr>
          <p:spPr>
            <a:xfrm>
              <a:off x="1684562" y="5051698"/>
              <a:ext cx="58229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25705315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51AADFB-E062-495A-9D07-1853A681C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5C703ED-AEF9-4757-8AD3-0AB694D49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8012358-2C24-4693-8FDD-2877F821DB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5" name="27246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59FE339-F5FD-4C58-B671-20B3C867E895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9925" y="1883776"/>
            <a:ext cx="10850562" cy="4300993"/>
            <a:chOff x="4403171" y="2150476"/>
            <a:chExt cx="7788829" cy="4300993"/>
          </a:xfrm>
        </p:grpSpPr>
        <p:sp>
          <p:nvSpPr>
            <p:cNvPr id="6" name="iṣḻîḋe">
              <a:extLst>
                <a:ext uri="{FF2B5EF4-FFF2-40B4-BE49-F238E27FC236}">
                  <a16:creationId xmlns:a16="http://schemas.microsoft.com/office/drawing/2014/main" id="{A61A4F39-8D44-46DB-9B68-EB963BBD595A}"/>
                </a:ext>
              </a:extLst>
            </p:cNvPr>
            <p:cNvSpPr/>
            <p:nvPr/>
          </p:nvSpPr>
          <p:spPr>
            <a:xfrm>
              <a:off x="4403171" y="2150476"/>
              <a:ext cx="7788829" cy="1347437"/>
            </a:xfrm>
            <a:prstGeom prst="rect">
              <a:avLst/>
            </a:prstGeom>
            <a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>
                <a:fillRect t="-164541" b="-161468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8" name="ïśḻiḓé">
              <a:extLst>
                <a:ext uri="{FF2B5EF4-FFF2-40B4-BE49-F238E27FC236}">
                  <a16:creationId xmlns:a16="http://schemas.microsoft.com/office/drawing/2014/main" id="{854722C0-B77F-47A0-8A39-14370928CCFE}"/>
                </a:ext>
              </a:extLst>
            </p:cNvPr>
            <p:cNvSpPr/>
            <p:nvPr/>
          </p:nvSpPr>
          <p:spPr>
            <a:xfrm>
              <a:off x="4403171" y="3099725"/>
              <a:ext cx="7788829" cy="398188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lang="en-US" altLang="zh-CN" sz="1400" b="1">
                  <a:solidFill>
                    <a:schemeClr val="bg1"/>
                  </a:solidFill>
                </a:rPr>
                <a:t>Text here</a:t>
              </a:r>
              <a:endParaRPr lang="id-ID" altLang="zh-C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ïS1îḍe">
              <a:extLst>
                <a:ext uri="{FF2B5EF4-FFF2-40B4-BE49-F238E27FC236}">
                  <a16:creationId xmlns:a16="http://schemas.microsoft.com/office/drawing/2014/main" id="{4526A6D4-3938-483E-AE04-387A4D4F50AE}"/>
                </a:ext>
              </a:extLst>
            </p:cNvPr>
            <p:cNvSpPr txBox="1"/>
            <p:nvPr/>
          </p:nvSpPr>
          <p:spPr>
            <a:xfrm>
              <a:off x="4403171" y="3893488"/>
              <a:ext cx="7115729" cy="25579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defRPr sz="1100"/>
              </a:lvl1pPr>
            </a:lstStyle>
            <a:p>
              <a:r>
                <a:rPr lang="en-US" altLang="zh-CN" dirty="0"/>
                <a:t>Theme color makes PPT more convenient to </a:t>
              </a:r>
              <a:r>
                <a:rPr lang="en-US" altLang="zh-CN" dirty="0" err="1"/>
                <a:t>change.Adjust</a:t>
              </a:r>
              <a:r>
                <a:rPr lang="en-US" altLang="zh-CN" dirty="0"/>
                <a:t> the spacing to adapt to Chinese typesetting, use the reference line in PPT.</a:t>
              </a:r>
            </a:p>
            <a:p>
              <a:r>
                <a:rPr lang="en-US" altLang="zh-CN" dirty="0"/>
                <a:t>……</a:t>
              </a:r>
            </a:p>
            <a:p>
              <a:endParaRPr lang="en-US" altLang="zh-CN" dirty="0"/>
            </a:p>
            <a:p>
              <a:endParaRPr lang="en-US" altLang="zh-CN" dirty="0"/>
            </a:p>
            <a:p>
              <a:r>
                <a:rPr lang="en-US" altLang="zh-CN" dirty="0"/>
                <a:t>Theme color makes PPT more convenient to </a:t>
              </a:r>
              <a:r>
                <a:rPr lang="en-US" altLang="zh-CN" dirty="0" err="1"/>
                <a:t>change.Adjust</a:t>
              </a:r>
              <a:r>
                <a:rPr lang="en-US" altLang="zh-CN" dirty="0"/>
                <a:t> the spacing to adapt to Chinese typesetting, use the reference line in PPT.</a:t>
              </a:r>
            </a:p>
            <a:p>
              <a:r>
                <a:rPr lang="en-US" altLang="zh-CN" dirty="0"/>
                <a:t>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20259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空心弧 4">
            <a:extLst>
              <a:ext uri="{FF2B5EF4-FFF2-40B4-BE49-F238E27FC236}">
                <a16:creationId xmlns:a16="http://schemas.microsoft.com/office/drawing/2014/main" id="{830066D9-8318-4A56-A798-FB7F2FEFB6D7}"/>
              </a:ext>
            </a:extLst>
          </p:cNvPr>
          <p:cNvSpPr/>
          <p:nvPr/>
        </p:nvSpPr>
        <p:spPr>
          <a:xfrm flipV="1">
            <a:off x="3938557" y="195122"/>
            <a:ext cx="4314886" cy="4314886"/>
          </a:xfrm>
          <a:prstGeom prst="blockArc">
            <a:avLst>
              <a:gd name="adj1" fmla="val 10800000"/>
              <a:gd name="adj2" fmla="val 21463651"/>
              <a:gd name="adj3" fmla="val 12886"/>
            </a:avLst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040DD99-051D-412A-8B13-60C74F872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34FF9B1-9D64-4C7C-BCC0-86CA203D09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0D791C9-81BC-4619-A36C-4AE876A8E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grpSp>
        <p:nvGrpSpPr>
          <p:cNvPr id="77" name="iSḻïḋe">
            <a:extLst>
              <a:ext uri="{FF2B5EF4-FFF2-40B4-BE49-F238E27FC236}">
                <a16:creationId xmlns:a16="http://schemas.microsoft.com/office/drawing/2014/main" id="{F536D672-28BA-45F3-84D2-2D9165FC038A}"/>
              </a:ext>
            </a:extLst>
          </p:cNvPr>
          <p:cNvGrpSpPr/>
          <p:nvPr/>
        </p:nvGrpSpPr>
        <p:grpSpPr>
          <a:xfrm>
            <a:off x="660400" y="1699522"/>
            <a:ext cx="2662743" cy="3865356"/>
            <a:chOff x="660400" y="2268744"/>
            <a:chExt cx="2662743" cy="3865356"/>
          </a:xfrm>
        </p:grpSpPr>
        <p:sp>
          <p:nvSpPr>
            <p:cNvPr id="91" name="íŝlíḑe">
              <a:extLst>
                <a:ext uri="{FF2B5EF4-FFF2-40B4-BE49-F238E27FC236}">
                  <a16:creationId xmlns:a16="http://schemas.microsoft.com/office/drawing/2014/main" id="{22E7CC3A-A434-4E6B-881A-DC1EA966F873}"/>
                </a:ext>
              </a:extLst>
            </p:cNvPr>
            <p:cNvSpPr/>
            <p:nvPr/>
          </p:nvSpPr>
          <p:spPr>
            <a:xfrm>
              <a:off x="660401" y="2268744"/>
              <a:ext cx="2662742" cy="425170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altLang="zh-CN" sz="1600" b="1" dirty="0">
                  <a:solidFill>
                    <a:schemeClr val="tx1"/>
                  </a:solidFill>
                </a:rPr>
                <a:t>Text here</a:t>
              </a:r>
              <a:endParaRPr lang="id-ID" altLang="zh-CN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92" name="ísḻïḑê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60401" y="3063016"/>
              <a:ext cx="2662742" cy="705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Supporting text here.</a:t>
              </a: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93" name="iṣliďè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60401" y="4245652"/>
              <a:ext cx="2662742" cy="705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Supporting text here.</a:t>
              </a: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94" name="iṡ1ïḑè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60401" y="5428288"/>
              <a:ext cx="2662742" cy="705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Supporting text here.</a:t>
              </a: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cxnSp>
          <p:nvCxnSpPr>
            <p:cNvPr id="95" name="直接连接符 94">
              <a:extLst>
                <a:ext uri="{FF2B5EF4-FFF2-40B4-BE49-F238E27FC236}">
                  <a16:creationId xmlns:a16="http://schemas.microsoft.com/office/drawing/2014/main" id="{54F47A36-6931-4802-97E2-6DE6436EFD5B}"/>
                </a:ext>
              </a:extLst>
            </p:cNvPr>
            <p:cNvCxnSpPr/>
            <p:nvPr/>
          </p:nvCxnSpPr>
          <p:spPr>
            <a:xfrm>
              <a:off x="660400" y="4007240"/>
              <a:ext cx="255725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直接连接符 95">
              <a:extLst>
                <a:ext uri="{FF2B5EF4-FFF2-40B4-BE49-F238E27FC236}">
                  <a16:creationId xmlns:a16="http://schemas.microsoft.com/office/drawing/2014/main" id="{24DF75A6-23F5-4B82-A42C-7354F21D60AC}"/>
                </a:ext>
              </a:extLst>
            </p:cNvPr>
            <p:cNvCxnSpPr/>
            <p:nvPr/>
          </p:nvCxnSpPr>
          <p:spPr>
            <a:xfrm>
              <a:off x="660400" y="5189876"/>
              <a:ext cx="255725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ïśļíde">
            <a:extLst>
              <a:ext uri="{FF2B5EF4-FFF2-40B4-BE49-F238E27FC236}">
                <a16:creationId xmlns:a16="http://schemas.microsoft.com/office/drawing/2014/main" id="{D9EA24F6-819F-4123-9EDE-CDF52F6D22DA}"/>
              </a:ext>
            </a:extLst>
          </p:cNvPr>
          <p:cNvGrpSpPr/>
          <p:nvPr/>
        </p:nvGrpSpPr>
        <p:grpSpPr>
          <a:xfrm>
            <a:off x="3403213" y="1738784"/>
            <a:ext cx="1302588" cy="1302588"/>
            <a:chOff x="3403213" y="2182941"/>
            <a:chExt cx="1302588" cy="1302588"/>
          </a:xfrm>
        </p:grpSpPr>
        <p:sp>
          <p:nvSpPr>
            <p:cNvPr id="89" name="îS1ídê">
              <a:extLst>
                <a:ext uri="{FF2B5EF4-FFF2-40B4-BE49-F238E27FC236}">
                  <a16:creationId xmlns:a16="http://schemas.microsoft.com/office/drawing/2014/main" id="{287D5D51-4315-48A9-9745-3D939E58276A}"/>
                </a:ext>
              </a:extLst>
            </p:cNvPr>
            <p:cNvSpPr/>
            <p:nvPr/>
          </p:nvSpPr>
          <p:spPr>
            <a:xfrm>
              <a:off x="3403213" y="2182941"/>
              <a:ext cx="1302588" cy="1302588"/>
            </a:xfrm>
            <a:prstGeom prst="ellipse">
              <a:avLst/>
            </a:prstGeom>
            <a:solidFill>
              <a:schemeClr val="accent1"/>
            </a:solidFill>
            <a:ln w="7620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90" name="ïš1îḑe">
              <a:extLst>
                <a:ext uri="{FF2B5EF4-FFF2-40B4-BE49-F238E27FC236}">
                  <a16:creationId xmlns:a16="http://schemas.microsoft.com/office/drawing/2014/main" id="{1D369E38-3D13-4E0B-BD54-4DE3CC027434}"/>
                </a:ext>
              </a:extLst>
            </p:cNvPr>
            <p:cNvSpPr/>
            <p:nvPr/>
          </p:nvSpPr>
          <p:spPr>
            <a:xfrm>
              <a:off x="3742462" y="2493993"/>
              <a:ext cx="624089" cy="680483"/>
            </a:xfrm>
            <a:custGeom>
              <a:avLst/>
              <a:gdLst>
                <a:gd name="T0" fmla="*/ 156 w 208"/>
                <a:gd name="T1" fmla="*/ 0 h 224"/>
                <a:gd name="T2" fmla="*/ 156 w 208"/>
                <a:gd name="T3" fmla="*/ 8 h 224"/>
                <a:gd name="T4" fmla="*/ 144 w 208"/>
                <a:gd name="T5" fmla="*/ 8 h 224"/>
                <a:gd name="T6" fmla="*/ 144 w 208"/>
                <a:gd name="T7" fmla="*/ 59 h 224"/>
                <a:gd name="T8" fmla="*/ 208 w 208"/>
                <a:gd name="T9" fmla="*/ 204 h 224"/>
                <a:gd name="T10" fmla="*/ 201 w 208"/>
                <a:gd name="T11" fmla="*/ 224 h 224"/>
                <a:gd name="T12" fmla="*/ 7 w 208"/>
                <a:gd name="T13" fmla="*/ 224 h 224"/>
                <a:gd name="T14" fmla="*/ 0 w 208"/>
                <a:gd name="T15" fmla="*/ 204 h 224"/>
                <a:gd name="T16" fmla="*/ 64 w 208"/>
                <a:gd name="T17" fmla="*/ 59 h 224"/>
                <a:gd name="T18" fmla="*/ 64 w 208"/>
                <a:gd name="T19" fmla="*/ 8 h 224"/>
                <a:gd name="T20" fmla="*/ 52 w 208"/>
                <a:gd name="T21" fmla="*/ 8 h 224"/>
                <a:gd name="T22" fmla="*/ 52 w 208"/>
                <a:gd name="T23" fmla="*/ 0 h 224"/>
                <a:gd name="T24" fmla="*/ 156 w 208"/>
                <a:gd name="T25" fmla="*/ 0 h 224"/>
                <a:gd name="T26" fmla="*/ 108 w 208"/>
                <a:gd name="T27" fmla="*/ 174 h 224"/>
                <a:gd name="T28" fmla="*/ 106 w 208"/>
                <a:gd name="T29" fmla="*/ 175 h 224"/>
                <a:gd name="T30" fmla="*/ 22 w 208"/>
                <a:gd name="T31" fmla="*/ 174 h 224"/>
                <a:gd name="T32" fmla="*/ 8 w 208"/>
                <a:gd name="T33" fmla="*/ 204 h 224"/>
                <a:gd name="T34" fmla="*/ 13 w 208"/>
                <a:gd name="T35" fmla="*/ 216 h 224"/>
                <a:gd name="T36" fmla="*/ 195 w 208"/>
                <a:gd name="T37" fmla="*/ 216 h 224"/>
                <a:gd name="T38" fmla="*/ 200 w 208"/>
                <a:gd name="T39" fmla="*/ 204 h 224"/>
                <a:gd name="T40" fmla="*/ 185 w 208"/>
                <a:gd name="T41" fmla="*/ 171 h 224"/>
                <a:gd name="T42" fmla="*/ 108 w 208"/>
                <a:gd name="T43" fmla="*/ 174 h 224"/>
                <a:gd name="T44" fmla="*/ 136 w 208"/>
                <a:gd name="T45" fmla="*/ 8 h 224"/>
                <a:gd name="T46" fmla="*/ 72 w 208"/>
                <a:gd name="T47" fmla="*/ 8 h 224"/>
                <a:gd name="T48" fmla="*/ 72 w 208"/>
                <a:gd name="T49" fmla="*/ 61 h 224"/>
                <a:gd name="T50" fmla="*/ 25 w 208"/>
                <a:gd name="T51" fmla="*/ 166 h 224"/>
                <a:gd name="T52" fmla="*/ 101 w 208"/>
                <a:gd name="T53" fmla="*/ 170 h 224"/>
                <a:gd name="T54" fmla="*/ 102 w 208"/>
                <a:gd name="T55" fmla="*/ 169 h 224"/>
                <a:gd name="T56" fmla="*/ 180 w 208"/>
                <a:gd name="T57" fmla="*/ 160 h 224"/>
                <a:gd name="T58" fmla="*/ 136 w 208"/>
                <a:gd name="T59" fmla="*/ 61 h 224"/>
                <a:gd name="T60" fmla="*/ 136 w 208"/>
                <a:gd name="T61" fmla="*/ 8 h 224"/>
                <a:gd name="T62" fmla="*/ 130 w 208"/>
                <a:gd name="T63" fmla="*/ 104 h 224"/>
                <a:gd name="T64" fmla="*/ 148 w 208"/>
                <a:gd name="T65" fmla="*/ 122 h 224"/>
                <a:gd name="T66" fmla="*/ 130 w 208"/>
                <a:gd name="T67" fmla="*/ 140 h 224"/>
                <a:gd name="T68" fmla="*/ 112 w 208"/>
                <a:gd name="T69" fmla="*/ 122 h 224"/>
                <a:gd name="T70" fmla="*/ 130 w 208"/>
                <a:gd name="T71" fmla="*/ 104 h 224"/>
                <a:gd name="T72" fmla="*/ 130 w 208"/>
                <a:gd name="T73" fmla="*/ 112 h 224"/>
                <a:gd name="T74" fmla="*/ 120 w 208"/>
                <a:gd name="T75" fmla="*/ 122 h 224"/>
                <a:gd name="T76" fmla="*/ 130 w 208"/>
                <a:gd name="T77" fmla="*/ 132 h 224"/>
                <a:gd name="T78" fmla="*/ 140 w 208"/>
                <a:gd name="T79" fmla="*/ 122 h 224"/>
                <a:gd name="T80" fmla="*/ 130 w 208"/>
                <a:gd name="T81" fmla="*/ 11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8" h="224">
                  <a:moveTo>
                    <a:pt x="156" y="0"/>
                  </a:moveTo>
                  <a:cubicBezTo>
                    <a:pt x="156" y="8"/>
                    <a:pt x="156" y="8"/>
                    <a:pt x="156" y="8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59"/>
                    <a:pt x="144" y="59"/>
                    <a:pt x="144" y="59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1" y="224"/>
                    <a:pt x="201" y="224"/>
                    <a:pt x="201" y="224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156" y="0"/>
                  </a:lnTo>
                  <a:close/>
                  <a:moveTo>
                    <a:pt x="108" y="174"/>
                  </a:moveTo>
                  <a:cubicBezTo>
                    <a:pt x="106" y="175"/>
                    <a:pt x="106" y="175"/>
                    <a:pt x="106" y="175"/>
                  </a:cubicBezTo>
                  <a:cubicBezTo>
                    <a:pt x="83" y="192"/>
                    <a:pt x="50" y="191"/>
                    <a:pt x="22" y="174"/>
                  </a:cubicBezTo>
                  <a:cubicBezTo>
                    <a:pt x="8" y="204"/>
                    <a:pt x="8" y="204"/>
                    <a:pt x="8" y="204"/>
                  </a:cubicBezTo>
                  <a:cubicBezTo>
                    <a:pt x="13" y="216"/>
                    <a:pt x="13" y="216"/>
                    <a:pt x="13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85" y="171"/>
                    <a:pt x="185" y="171"/>
                    <a:pt x="185" y="171"/>
                  </a:cubicBezTo>
                  <a:cubicBezTo>
                    <a:pt x="159" y="159"/>
                    <a:pt x="128" y="160"/>
                    <a:pt x="108" y="174"/>
                  </a:cubicBezTo>
                  <a:close/>
                  <a:moveTo>
                    <a:pt x="136" y="8"/>
                  </a:moveTo>
                  <a:cubicBezTo>
                    <a:pt x="72" y="8"/>
                    <a:pt x="72" y="8"/>
                    <a:pt x="72" y="8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25" y="166"/>
                    <a:pt x="25" y="166"/>
                    <a:pt x="25" y="166"/>
                  </a:cubicBezTo>
                  <a:cubicBezTo>
                    <a:pt x="50" y="182"/>
                    <a:pt x="80" y="183"/>
                    <a:pt x="101" y="170"/>
                  </a:cubicBezTo>
                  <a:cubicBezTo>
                    <a:pt x="102" y="169"/>
                    <a:pt x="102" y="169"/>
                    <a:pt x="102" y="169"/>
                  </a:cubicBezTo>
                  <a:cubicBezTo>
                    <a:pt x="123" y="154"/>
                    <a:pt x="153" y="151"/>
                    <a:pt x="180" y="160"/>
                  </a:cubicBezTo>
                  <a:cubicBezTo>
                    <a:pt x="136" y="61"/>
                    <a:pt x="136" y="61"/>
                    <a:pt x="136" y="61"/>
                  </a:cubicBezTo>
                  <a:lnTo>
                    <a:pt x="136" y="8"/>
                  </a:lnTo>
                  <a:close/>
                  <a:moveTo>
                    <a:pt x="130" y="104"/>
                  </a:moveTo>
                  <a:cubicBezTo>
                    <a:pt x="140" y="104"/>
                    <a:pt x="148" y="112"/>
                    <a:pt x="148" y="122"/>
                  </a:cubicBezTo>
                  <a:cubicBezTo>
                    <a:pt x="148" y="132"/>
                    <a:pt x="140" y="140"/>
                    <a:pt x="130" y="140"/>
                  </a:cubicBezTo>
                  <a:cubicBezTo>
                    <a:pt x="120" y="140"/>
                    <a:pt x="112" y="132"/>
                    <a:pt x="112" y="122"/>
                  </a:cubicBezTo>
                  <a:cubicBezTo>
                    <a:pt x="112" y="112"/>
                    <a:pt x="120" y="104"/>
                    <a:pt x="130" y="104"/>
                  </a:cubicBezTo>
                  <a:close/>
                  <a:moveTo>
                    <a:pt x="130" y="112"/>
                  </a:moveTo>
                  <a:cubicBezTo>
                    <a:pt x="124" y="112"/>
                    <a:pt x="120" y="116"/>
                    <a:pt x="120" y="122"/>
                  </a:cubicBezTo>
                  <a:cubicBezTo>
                    <a:pt x="120" y="128"/>
                    <a:pt x="124" y="132"/>
                    <a:pt x="130" y="132"/>
                  </a:cubicBezTo>
                  <a:cubicBezTo>
                    <a:pt x="136" y="132"/>
                    <a:pt x="140" y="128"/>
                    <a:pt x="140" y="122"/>
                  </a:cubicBezTo>
                  <a:cubicBezTo>
                    <a:pt x="140" y="116"/>
                    <a:pt x="136" y="112"/>
                    <a:pt x="130" y="112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9" name="iṩļíde">
            <a:extLst>
              <a:ext uri="{FF2B5EF4-FFF2-40B4-BE49-F238E27FC236}">
                <a16:creationId xmlns:a16="http://schemas.microsoft.com/office/drawing/2014/main" id="{C028E991-A277-46BC-A16F-5E3CA11456F3}"/>
              </a:ext>
            </a:extLst>
          </p:cNvPr>
          <p:cNvGrpSpPr/>
          <p:nvPr/>
        </p:nvGrpSpPr>
        <p:grpSpPr>
          <a:xfrm>
            <a:off x="7473499" y="1738784"/>
            <a:ext cx="1302588" cy="1302588"/>
            <a:chOff x="3403213" y="2182941"/>
            <a:chExt cx="1302588" cy="1302588"/>
          </a:xfrm>
        </p:grpSpPr>
        <p:sp>
          <p:nvSpPr>
            <p:cNvPr id="87" name="íṩḻide">
              <a:extLst>
                <a:ext uri="{FF2B5EF4-FFF2-40B4-BE49-F238E27FC236}">
                  <a16:creationId xmlns:a16="http://schemas.microsoft.com/office/drawing/2014/main" id="{8604C9CF-82D6-4FC8-BC6D-6740416AA14E}"/>
                </a:ext>
              </a:extLst>
            </p:cNvPr>
            <p:cNvSpPr/>
            <p:nvPr/>
          </p:nvSpPr>
          <p:spPr>
            <a:xfrm>
              <a:off x="3403213" y="2182941"/>
              <a:ext cx="1302588" cy="1302588"/>
            </a:xfrm>
            <a:prstGeom prst="ellipse">
              <a:avLst/>
            </a:prstGeom>
            <a:solidFill>
              <a:schemeClr val="accent2"/>
            </a:solidFill>
            <a:ln w="7620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88" name="îSlîḋe">
              <a:extLst>
                <a:ext uri="{FF2B5EF4-FFF2-40B4-BE49-F238E27FC236}">
                  <a16:creationId xmlns:a16="http://schemas.microsoft.com/office/drawing/2014/main" id="{83C61F42-08F7-4808-82A5-EAE6CCFADB25}"/>
                </a:ext>
              </a:extLst>
            </p:cNvPr>
            <p:cNvSpPr/>
            <p:nvPr/>
          </p:nvSpPr>
          <p:spPr>
            <a:xfrm>
              <a:off x="3718024" y="2493993"/>
              <a:ext cx="672963" cy="680483"/>
            </a:xfrm>
            <a:custGeom>
              <a:avLst/>
              <a:gdLst>
                <a:gd name="T0" fmla="*/ 160 w 224"/>
                <a:gd name="T1" fmla="*/ 0 h 224"/>
                <a:gd name="T2" fmla="*/ 160 w 224"/>
                <a:gd name="T3" fmla="*/ 48 h 224"/>
                <a:gd name="T4" fmla="*/ 224 w 224"/>
                <a:gd name="T5" fmla="*/ 48 h 224"/>
                <a:gd name="T6" fmla="*/ 224 w 224"/>
                <a:gd name="T7" fmla="*/ 176 h 224"/>
                <a:gd name="T8" fmla="*/ 160 w 224"/>
                <a:gd name="T9" fmla="*/ 176 h 224"/>
                <a:gd name="T10" fmla="*/ 160 w 224"/>
                <a:gd name="T11" fmla="*/ 224 h 224"/>
                <a:gd name="T12" fmla="*/ 64 w 224"/>
                <a:gd name="T13" fmla="*/ 224 h 224"/>
                <a:gd name="T14" fmla="*/ 64 w 224"/>
                <a:gd name="T15" fmla="*/ 176 h 224"/>
                <a:gd name="T16" fmla="*/ 0 w 224"/>
                <a:gd name="T17" fmla="*/ 176 h 224"/>
                <a:gd name="T18" fmla="*/ 0 w 224"/>
                <a:gd name="T19" fmla="*/ 76 h 224"/>
                <a:gd name="T20" fmla="*/ 26 w 224"/>
                <a:gd name="T21" fmla="*/ 48 h 224"/>
                <a:gd name="T22" fmla="*/ 64 w 224"/>
                <a:gd name="T23" fmla="*/ 48 h 224"/>
                <a:gd name="T24" fmla="*/ 64 w 224"/>
                <a:gd name="T25" fmla="*/ 0 h 224"/>
                <a:gd name="T26" fmla="*/ 160 w 224"/>
                <a:gd name="T27" fmla="*/ 0 h 224"/>
                <a:gd name="T28" fmla="*/ 152 w 224"/>
                <a:gd name="T29" fmla="*/ 120 h 224"/>
                <a:gd name="T30" fmla="*/ 72 w 224"/>
                <a:gd name="T31" fmla="*/ 120 h 224"/>
                <a:gd name="T32" fmla="*/ 72 w 224"/>
                <a:gd name="T33" fmla="*/ 216 h 224"/>
                <a:gd name="T34" fmla="*/ 152 w 224"/>
                <a:gd name="T35" fmla="*/ 216 h 224"/>
                <a:gd name="T36" fmla="*/ 152 w 224"/>
                <a:gd name="T37" fmla="*/ 120 h 224"/>
                <a:gd name="T38" fmla="*/ 216 w 224"/>
                <a:gd name="T39" fmla="*/ 56 h 224"/>
                <a:gd name="T40" fmla="*/ 30 w 224"/>
                <a:gd name="T41" fmla="*/ 56 h 224"/>
                <a:gd name="T42" fmla="*/ 8 w 224"/>
                <a:gd name="T43" fmla="*/ 80 h 224"/>
                <a:gd name="T44" fmla="*/ 8 w 224"/>
                <a:gd name="T45" fmla="*/ 168 h 224"/>
                <a:gd name="T46" fmla="*/ 64 w 224"/>
                <a:gd name="T47" fmla="*/ 168 h 224"/>
                <a:gd name="T48" fmla="*/ 64 w 224"/>
                <a:gd name="T49" fmla="*/ 112 h 224"/>
                <a:gd name="T50" fmla="*/ 160 w 224"/>
                <a:gd name="T51" fmla="*/ 112 h 224"/>
                <a:gd name="T52" fmla="*/ 160 w 224"/>
                <a:gd name="T53" fmla="*/ 168 h 224"/>
                <a:gd name="T54" fmla="*/ 216 w 224"/>
                <a:gd name="T55" fmla="*/ 168 h 224"/>
                <a:gd name="T56" fmla="*/ 216 w 224"/>
                <a:gd name="T57" fmla="*/ 56 h 224"/>
                <a:gd name="T58" fmla="*/ 194 w 224"/>
                <a:gd name="T59" fmla="*/ 72 h 224"/>
                <a:gd name="T60" fmla="*/ 200 w 224"/>
                <a:gd name="T61" fmla="*/ 78 h 224"/>
                <a:gd name="T62" fmla="*/ 194 w 224"/>
                <a:gd name="T63" fmla="*/ 84 h 224"/>
                <a:gd name="T64" fmla="*/ 188 w 224"/>
                <a:gd name="T65" fmla="*/ 78 h 224"/>
                <a:gd name="T66" fmla="*/ 194 w 224"/>
                <a:gd name="T67" fmla="*/ 72 h 224"/>
                <a:gd name="T68" fmla="*/ 152 w 224"/>
                <a:gd name="T69" fmla="*/ 8 h 224"/>
                <a:gd name="T70" fmla="*/ 72 w 224"/>
                <a:gd name="T71" fmla="*/ 8 h 224"/>
                <a:gd name="T72" fmla="*/ 72 w 224"/>
                <a:gd name="T73" fmla="*/ 48 h 224"/>
                <a:gd name="T74" fmla="*/ 152 w 224"/>
                <a:gd name="T75" fmla="*/ 48 h 224"/>
                <a:gd name="T76" fmla="*/ 152 w 224"/>
                <a:gd name="T77" fmla="*/ 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24" h="224">
                  <a:moveTo>
                    <a:pt x="160" y="0"/>
                  </a:moveTo>
                  <a:cubicBezTo>
                    <a:pt x="160" y="48"/>
                    <a:pt x="160" y="48"/>
                    <a:pt x="160" y="48"/>
                  </a:cubicBezTo>
                  <a:cubicBezTo>
                    <a:pt x="224" y="48"/>
                    <a:pt x="224" y="48"/>
                    <a:pt x="224" y="48"/>
                  </a:cubicBezTo>
                  <a:cubicBezTo>
                    <a:pt x="224" y="176"/>
                    <a:pt x="224" y="176"/>
                    <a:pt x="224" y="176"/>
                  </a:cubicBezTo>
                  <a:cubicBezTo>
                    <a:pt x="160" y="176"/>
                    <a:pt x="160" y="176"/>
                    <a:pt x="160" y="176"/>
                  </a:cubicBezTo>
                  <a:cubicBezTo>
                    <a:pt x="160" y="224"/>
                    <a:pt x="160" y="224"/>
                    <a:pt x="160" y="224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160" y="0"/>
                  </a:lnTo>
                  <a:close/>
                  <a:moveTo>
                    <a:pt x="152" y="120"/>
                  </a:moveTo>
                  <a:cubicBezTo>
                    <a:pt x="72" y="120"/>
                    <a:pt x="72" y="120"/>
                    <a:pt x="72" y="120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152" y="216"/>
                    <a:pt x="152" y="216"/>
                    <a:pt x="152" y="216"/>
                  </a:cubicBezTo>
                  <a:lnTo>
                    <a:pt x="152" y="120"/>
                  </a:lnTo>
                  <a:close/>
                  <a:moveTo>
                    <a:pt x="216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168"/>
                    <a:pt x="8" y="168"/>
                    <a:pt x="8" y="168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4" y="112"/>
                    <a:pt x="64" y="112"/>
                    <a:pt x="64" y="112"/>
                  </a:cubicBezTo>
                  <a:cubicBezTo>
                    <a:pt x="160" y="112"/>
                    <a:pt x="160" y="112"/>
                    <a:pt x="160" y="112"/>
                  </a:cubicBezTo>
                  <a:cubicBezTo>
                    <a:pt x="160" y="168"/>
                    <a:pt x="160" y="168"/>
                    <a:pt x="160" y="168"/>
                  </a:cubicBezTo>
                  <a:cubicBezTo>
                    <a:pt x="216" y="168"/>
                    <a:pt x="216" y="168"/>
                    <a:pt x="216" y="168"/>
                  </a:cubicBezTo>
                  <a:lnTo>
                    <a:pt x="216" y="56"/>
                  </a:lnTo>
                  <a:close/>
                  <a:moveTo>
                    <a:pt x="194" y="72"/>
                  </a:moveTo>
                  <a:cubicBezTo>
                    <a:pt x="197" y="72"/>
                    <a:pt x="200" y="75"/>
                    <a:pt x="200" y="78"/>
                  </a:cubicBezTo>
                  <a:cubicBezTo>
                    <a:pt x="200" y="81"/>
                    <a:pt x="197" y="84"/>
                    <a:pt x="194" y="84"/>
                  </a:cubicBezTo>
                  <a:cubicBezTo>
                    <a:pt x="191" y="84"/>
                    <a:pt x="188" y="81"/>
                    <a:pt x="188" y="78"/>
                  </a:cubicBezTo>
                  <a:cubicBezTo>
                    <a:pt x="188" y="75"/>
                    <a:pt x="191" y="72"/>
                    <a:pt x="194" y="72"/>
                  </a:cubicBezTo>
                  <a:close/>
                  <a:moveTo>
                    <a:pt x="152" y="8"/>
                  </a:moveTo>
                  <a:cubicBezTo>
                    <a:pt x="72" y="8"/>
                    <a:pt x="72" y="8"/>
                    <a:pt x="72" y="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152" y="48"/>
                    <a:pt x="152" y="48"/>
                    <a:pt x="152" y="48"/>
                  </a:cubicBezTo>
                  <a:lnTo>
                    <a:pt x="152" y="8"/>
                  </a:ln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81" name="iş1îḍê">
            <a:extLst>
              <a:ext uri="{FF2B5EF4-FFF2-40B4-BE49-F238E27FC236}">
                <a16:creationId xmlns:a16="http://schemas.microsoft.com/office/drawing/2014/main" id="{6E1DF6CF-2DF7-4510-AF1B-CD5F38A8C1A7}"/>
              </a:ext>
            </a:extLst>
          </p:cNvPr>
          <p:cNvSpPr/>
          <p:nvPr/>
        </p:nvSpPr>
        <p:spPr>
          <a:xfrm>
            <a:off x="8856158" y="1699522"/>
            <a:ext cx="2662742" cy="425170"/>
          </a:xfrm>
          <a:prstGeom prst="rect">
            <a:avLst/>
          </a:prstGeom>
          <a:noFill/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 dirty="0">
                <a:solidFill>
                  <a:schemeClr val="tx1"/>
                </a:solidFill>
              </a:rPr>
              <a:t>Text here</a:t>
            </a:r>
            <a:endParaRPr lang="id-ID" altLang="zh-CN" sz="1600" b="1" dirty="0">
              <a:solidFill>
                <a:schemeClr val="tx1"/>
              </a:solidFill>
            </a:endParaRPr>
          </a:p>
        </p:txBody>
      </p:sp>
      <p:sp>
        <p:nvSpPr>
          <p:cNvPr id="82" name="îṣlïḓè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8856158" y="2493794"/>
            <a:ext cx="2662742" cy="70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sp>
        <p:nvSpPr>
          <p:cNvPr id="83" name="iš1ïďé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8856158" y="3676430"/>
            <a:ext cx="2662742" cy="70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sp>
        <p:nvSpPr>
          <p:cNvPr id="84" name="ïṩ1iďè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8856158" y="4859066"/>
            <a:ext cx="2662742" cy="70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cxnSp>
        <p:nvCxnSpPr>
          <p:cNvPr id="85" name="直接连接符 84">
            <a:extLst>
              <a:ext uri="{FF2B5EF4-FFF2-40B4-BE49-F238E27FC236}">
                <a16:creationId xmlns:a16="http://schemas.microsoft.com/office/drawing/2014/main" id="{F10ACBC2-57AF-406A-B2C1-B9126F2571F6}"/>
              </a:ext>
            </a:extLst>
          </p:cNvPr>
          <p:cNvCxnSpPr/>
          <p:nvPr/>
        </p:nvCxnSpPr>
        <p:spPr>
          <a:xfrm>
            <a:off x="8961648" y="3438018"/>
            <a:ext cx="255725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直接连接符 85">
            <a:extLst>
              <a:ext uri="{FF2B5EF4-FFF2-40B4-BE49-F238E27FC236}">
                <a16:creationId xmlns:a16="http://schemas.microsoft.com/office/drawing/2014/main" id="{EEA0DFA4-AFAA-47F7-9B33-89061040D9AA}"/>
              </a:ext>
            </a:extLst>
          </p:cNvPr>
          <p:cNvCxnSpPr/>
          <p:nvPr/>
        </p:nvCxnSpPr>
        <p:spPr>
          <a:xfrm>
            <a:off x="8961648" y="4620654"/>
            <a:ext cx="255725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íṩḻide">
            <a:extLst>
              <a:ext uri="{FF2B5EF4-FFF2-40B4-BE49-F238E27FC236}">
                <a16:creationId xmlns:a16="http://schemas.microsoft.com/office/drawing/2014/main" id="{E684E949-8267-4276-A1D4-4FBD1BF1C235}"/>
              </a:ext>
            </a:extLst>
          </p:cNvPr>
          <p:cNvSpPr/>
          <p:nvPr/>
        </p:nvSpPr>
        <p:spPr>
          <a:xfrm>
            <a:off x="5443911" y="3574773"/>
            <a:ext cx="1302588" cy="1302588"/>
          </a:xfrm>
          <a:prstGeom prst="ellipse">
            <a:avLst/>
          </a:prstGeom>
          <a:solidFill>
            <a:schemeClr val="accent5"/>
          </a:solidFill>
          <a:ln w="7620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41" name="iş1îḍê">
            <a:extLst>
              <a:ext uri="{FF2B5EF4-FFF2-40B4-BE49-F238E27FC236}">
                <a16:creationId xmlns:a16="http://schemas.microsoft.com/office/drawing/2014/main" id="{58A92153-F5F9-460B-9BB3-B835B5680DBA}"/>
              </a:ext>
            </a:extLst>
          </p:cNvPr>
          <p:cNvSpPr/>
          <p:nvPr/>
        </p:nvSpPr>
        <p:spPr>
          <a:xfrm>
            <a:off x="4764629" y="4020816"/>
            <a:ext cx="2662742" cy="425170"/>
          </a:xfrm>
          <a:prstGeom prst="rect">
            <a:avLst/>
          </a:prstGeom>
          <a:noFill/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bg1"/>
                </a:solidFill>
              </a:rPr>
              <a:t>Text here</a:t>
            </a:r>
            <a:endParaRPr lang="id-ID" altLang="zh-CN" sz="1600" b="1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547897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grpSp>
        <p:nvGrpSpPr>
          <p:cNvPr id="132" name="i$ļiḋê">
            <a:extLst>
              <a:ext uri="{FF2B5EF4-FFF2-40B4-BE49-F238E27FC236}">
                <a16:creationId xmlns:a16="http://schemas.microsoft.com/office/drawing/2014/main" id="{59AAF05E-0E2B-4E75-9D08-C565B61E8182}"/>
              </a:ext>
            </a:extLst>
          </p:cNvPr>
          <p:cNvGrpSpPr/>
          <p:nvPr/>
        </p:nvGrpSpPr>
        <p:grpSpPr>
          <a:xfrm>
            <a:off x="4133276" y="2863479"/>
            <a:ext cx="3097061" cy="2825308"/>
            <a:chOff x="1088828" y="2165990"/>
            <a:chExt cx="4457368" cy="4066252"/>
          </a:xfrm>
        </p:grpSpPr>
        <p:sp>
          <p:nvSpPr>
            <p:cNvPr id="157" name="iṥľïḑe">
              <a:extLst>
                <a:ext uri="{FF2B5EF4-FFF2-40B4-BE49-F238E27FC236}">
                  <a16:creationId xmlns:a16="http://schemas.microsoft.com/office/drawing/2014/main" id="{398A2F3D-68FB-4D09-A3D9-28C56B30483F}"/>
                </a:ext>
              </a:extLst>
            </p:cNvPr>
            <p:cNvSpPr/>
            <p:nvPr/>
          </p:nvSpPr>
          <p:spPr>
            <a:xfrm>
              <a:off x="2754870" y="2165990"/>
              <a:ext cx="1405973" cy="15863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5" h="21458" extrusionOk="0">
                  <a:moveTo>
                    <a:pt x="14768" y="0"/>
                  </a:moveTo>
                  <a:cubicBezTo>
                    <a:pt x="11682" y="279"/>
                    <a:pt x="8751" y="1325"/>
                    <a:pt x="6316" y="3018"/>
                  </a:cubicBezTo>
                  <a:cubicBezTo>
                    <a:pt x="3974" y="4646"/>
                    <a:pt x="2184" y="6809"/>
                    <a:pt x="1141" y="9271"/>
                  </a:cubicBezTo>
                  <a:cubicBezTo>
                    <a:pt x="2104" y="9290"/>
                    <a:pt x="2984" y="9759"/>
                    <a:pt x="3451" y="10501"/>
                  </a:cubicBezTo>
                  <a:cubicBezTo>
                    <a:pt x="4024" y="11411"/>
                    <a:pt x="3878" y="12542"/>
                    <a:pt x="3086" y="13315"/>
                  </a:cubicBezTo>
                  <a:lnTo>
                    <a:pt x="0" y="15442"/>
                  </a:lnTo>
                  <a:lnTo>
                    <a:pt x="4923" y="15200"/>
                  </a:lnTo>
                  <a:cubicBezTo>
                    <a:pt x="5306" y="15206"/>
                    <a:pt x="5677" y="15267"/>
                    <a:pt x="6024" y="15374"/>
                  </a:cubicBezTo>
                  <a:cubicBezTo>
                    <a:pt x="6371" y="15481"/>
                    <a:pt x="6711" y="15640"/>
                    <a:pt x="6954" y="15902"/>
                  </a:cubicBezTo>
                  <a:cubicBezTo>
                    <a:pt x="7352" y="16332"/>
                    <a:pt x="7393" y="16938"/>
                    <a:pt x="7056" y="17405"/>
                  </a:cubicBezTo>
                  <a:cubicBezTo>
                    <a:pt x="6814" y="17687"/>
                    <a:pt x="6637" y="18007"/>
                    <a:pt x="6534" y="18348"/>
                  </a:cubicBezTo>
                  <a:cubicBezTo>
                    <a:pt x="6441" y="18655"/>
                    <a:pt x="6409" y="18974"/>
                    <a:pt x="6440" y="19291"/>
                  </a:cubicBezTo>
                  <a:cubicBezTo>
                    <a:pt x="6624" y="20412"/>
                    <a:pt x="7633" y="21288"/>
                    <a:pt x="8908" y="21436"/>
                  </a:cubicBezTo>
                  <a:cubicBezTo>
                    <a:pt x="10328" y="21600"/>
                    <a:pt x="11673" y="20831"/>
                    <a:pt x="12079" y="19622"/>
                  </a:cubicBezTo>
                  <a:cubicBezTo>
                    <a:pt x="12197" y="19191"/>
                    <a:pt x="12191" y="18740"/>
                    <a:pt x="12062" y="18311"/>
                  </a:cubicBezTo>
                  <a:cubicBezTo>
                    <a:pt x="11962" y="17978"/>
                    <a:pt x="11789" y="17666"/>
                    <a:pt x="11554" y="17390"/>
                  </a:cubicBezTo>
                  <a:cubicBezTo>
                    <a:pt x="11216" y="16965"/>
                    <a:pt x="11162" y="16414"/>
                    <a:pt x="11412" y="15944"/>
                  </a:cubicBezTo>
                  <a:cubicBezTo>
                    <a:pt x="11706" y="15392"/>
                    <a:pt x="12355" y="15058"/>
                    <a:pt x="13045" y="15102"/>
                  </a:cubicBezTo>
                  <a:lnTo>
                    <a:pt x="15810" y="15677"/>
                  </a:lnTo>
                  <a:lnTo>
                    <a:pt x="16049" y="14612"/>
                  </a:lnTo>
                  <a:cubicBezTo>
                    <a:pt x="15557" y="13797"/>
                    <a:pt x="15190" y="12927"/>
                    <a:pt x="14958" y="12027"/>
                  </a:cubicBezTo>
                  <a:cubicBezTo>
                    <a:pt x="14730" y="11140"/>
                    <a:pt x="14635" y="10231"/>
                    <a:pt x="14674" y="9322"/>
                  </a:cubicBezTo>
                  <a:cubicBezTo>
                    <a:pt x="14713" y="8979"/>
                    <a:pt x="14902" y="8663"/>
                    <a:pt x="15203" y="8441"/>
                  </a:cubicBezTo>
                  <a:cubicBezTo>
                    <a:pt x="15695" y="8077"/>
                    <a:pt x="16391" y="8018"/>
                    <a:pt x="16954" y="8292"/>
                  </a:cubicBezTo>
                  <a:cubicBezTo>
                    <a:pt x="17187" y="8445"/>
                    <a:pt x="17436" y="8578"/>
                    <a:pt x="17696" y="8690"/>
                  </a:cubicBezTo>
                  <a:cubicBezTo>
                    <a:pt x="17915" y="8785"/>
                    <a:pt x="18143" y="8864"/>
                    <a:pt x="18380" y="8912"/>
                  </a:cubicBezTo>
                  <a:cubicBezTo>
                    <a:pt x="18952" y="9030"/>
                    <a:pt x="19554" y="8967"/>
                    <a:pt x="20079" y="8734"/>
                  </a:cubicBezTo>
                  <a:cubicBezTo>
                    <a:pt x="21011" y="8266"/>
                    <a:pt x="21589" y="7396"/>
                    <a:pt x="21595" y="6452"/>
                  </a:cubicBezTo>
                  <a:cubicBezTo>
                    <a:pt x="21600" y="5680"/>
                    <a:pt x="21217" y="4947"/>
                    <a:pt x="20548" y="4448"/>
                  </a:cubicBezTo>
                  <a:cubicBezTo>
                    <a:pt x="20044" y="4129"/>
                    <a:pt x="19435" y="3967"/>
                    <a:pt x="18815" y="3986"/>
                  </a:cubicBezTo>
                  <a:cubicBezTo>
                    <a:pt x="18253" y="4004"/>
                    <a:pt x="17711" y="4171"/>
                    <a:pt x="17260" y="4465"/>
                  </a:cubicBezTo>
                  <a:cubicBezTo>
                    <a:pt x="16658" y="4811"/>
                    <a:pt x="15876" y="4793"/>
                    <a:pt x="15297" y="4418"/>
                  </a:cubicBezTo>
                  <a:cubicBezTo>
                    <a:pt x="14878" y="4147"/>
                    <a:pt x="14626" y="3721"/>
                    <a:pt x="14614" y="3264"/>
                  </a:cubicBezTo>
                  <a:lnTo>
                    <a:pt x="14768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l" defTabSz="455612">
                <a:defRPr sz="1800">
                  <a:solidFill>
                    <a:srgbClr val="070707"/>
                  </a:solidFill>
                </a:defRPr>
              </a:pPr>
              <a:endParaRPr/>
            </a:p>
          </p:txBody>
        </p:sp>
        <p:sp>
          <p:nvSpPr>
            <p:cNvPr id="158" name="íS1iḍé">
              <a:extLst>
                <a:ext uri="{FF2B5EF4-FFF2-40B4-BE49-F238E27FC236}">
                  <a16:creationId xmlns:a16="http://schemas.microsoft.com/office/drawing/2014/main" id="{DCD6248B-3C84-4C08-B031-09DF71E1A61D}"/>
                </a:ext>
              </a:extLst>
            </p:cNvPr>
            <p:cNvSpPr/>
            <p:nvPr/>
          </p:nvSpPr>
          <p:spPr>
            <a:xfrm>
              <a:off x="4110125" y="5254924"/>
              <a:ext cx="637136" cy="7049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18603"/>
                  </a:lnTo>
                  <a:lnTo>
                    <a:pt x="3317" y="21600"/>
                  </a:lnTo>
                  <a:lnTo>
                    <a:pt x="18095" y="21600"/>
                  </a:lnTo>
                  <a:lnTo>
                    <a:pt x="21600" y="18432"/>
                  </a:lnTo>
                  <a:lnTo>
                    <a:pt x="2160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825500">
                <a:defRPr sz="3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159" name="iṩľíďè">
              <a:extLst>
                <a:ext uri="{FF2B5EF4-FFF2-40B4-BE49-F238E27FC236}">
                  <a16:creationId xmlns:a16="http://schemas.microsoft.com/office/drawing/2014/main" id="{3EC73DEB-A320-420A-BAFE-9EB74A084E89}"/>
                </a:ext>
              </a:extLst>
            </p:cNvPr>
            <p:cNvSpPr/>
            <p:nvPr/>
          </p:nvSpPr>
          <p:spPr>
            <a:xfrm>
              <a:off x="3978266" y="5010187"/>
              <a:ext cx="915351" cy="291882"/>
            </a:xfrm>
            <a:prstGeom prst="roundRect">
              <a:avLst>
                <a:gd name="adj" fmla="val 35919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825500">
                <a:defRPr sz="3200"/>
              </a:pPr>
              <a:endParaRPr/>
            </a:p>
          </p:txBody>
        </p:sp>
        <p:sp>
          <p:nvSpPr>
            <p:cNvPr id="160" name="îṥḷîḋé">
              <a:extLst>
                <a:ext uri="{FF2B5EF4-FFF2-40B4-BE49-F238E27FC236}">
                  <a16:creationId xmlns:a16="http://schemas.microsoft.com/office/drawing/2014/main" id="{1C384539-1C07-4271-A182-D272F399E873}"/>
                </a:ext>
              </a:extLst>
            </p:cNvPr>
            <p:cNvSpPr/>
            <p:nvPr/>
          </p:nvSpPr>
          <p:spPr>
            <a:xfrm>
              <a:off x="1610490" y="2269332"/>
              <a:ext cx="889593" cy="8893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8" h="19678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l" defTabSz="455612">
                <a:defRPr sz="1800">
                  <a:solidFill>
                    <a:srgbClr val="070707"/>
                  </a:solidFill>
                </a:defRPr>
              </a:pPr>
              <a:endParaRPr/>
            </a:p>
          </p:txBody>
        </p:sp>
        <p:sp>
          <p:nvSpPr>
            <p:cNvPr id="161" name="išliḍe">
              <a:extLst>
                <a:ext uri="{FF2B5EF4-FFF2-40B4-BE49-F238E27FC236}">
                  <a16:creationId xmlns:a16="http://schemas.microsoft.com/office/drawing/2014/main" id="{F659681D-1148-4270-A30F-EB71CC067BF6}"/>
                </a:ext>
              </a:extLst>
            </p:cNvPr>
            <p:cNvSpPr/>
            <p:nvPr/>
          </p:nvSpPr>
          <p:spPr>
            <a:xfrm>
              <a:off x="1088828" y="2852951"/>
              <a:ext cx="2320078" cy="33792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50" h="21276" extrusionOk="0">
                  <a:moveTo>
                    <a:pt x="15139" y="153"/>
                  </a:moveTo>
                  <a:lnTo>
                    <a:pt x="10554" y="2666"/>
                  </a:lnTo>
                  <a:lnTo>
                    <a:pt x="8420" y="2691"/>
                  </a:lnTo>
                  <a:lnTo>
                    <a:pt x="9880" y="2576"/>
                  </a:lnTo>
                  <a:cubicBezTo>
                    <a:pt x="9292" y="2366"/>
                    <a:pt x="8640" y="2257"/>
                    <a:pt x="7977" y="2256"/>
                  </a:cubicBezTo>
                  <a:cubicBezTo>
                    <a:pt x="7299" y="2256"/>
                    <a:pt x="6632" y="2371"/>
                    <a:pt x="6033" y="2590"/>
                  </a:cubicBezTo>
                  <a:cubicBezTo>
                    <a:pt x="5847" y="2669"/>
                    <a:pt x="5686" y="2774"/>
                    <a:pt x="5559" y="2897"/>
                  </a:cubicBezTo>
                  <a:cubicBezTo>
                    <a:pt x="5268" y="3179"/>
                    <a:pt x="5183" y="3522"/>
                    <a:pt x="5134" y="3855"/>
                  </a:cubicBezTo>
                  <a:cubicBezTo>
                    <a:pt x="5083" y="4197"/>
                    <a:pt x="5069" y="4546"/>
                    <a:pt x="5094" y="4899"/>
                  </a:cubicBezTo>
                  <a:lnTo>
                    <a:pt x="5880" y="14818"/>
                  </a:lnTo>
                  <a:lnTo>
                    <a:pt x="591" y="18707"/>
                  </a:lnTo>
                  <a:cubicBezTo>
                    <a:pt x="-161" y="19253"/>
                    <a:pt x="-200" y="20099"/>
                    <a:pt x="500" y="20677"/>
                  </a:cubicBezTo>
                  <a:cubicBezTo>
                    <a:pt x="1276" y="21318"/>
                    <a:pt x="2661" y="21405"/>
                    <a:pt x="3592" y="20871"/>
                  </a:cubicBezTo>
                  <a:lnTo>
                    <a:pt x="9585" y="16419"/>
                  </a:lnTo>
                  <a:cubicBezTo>
                    <a:pt x="9810" y="16257"/>
                    <a:pt x="9989" y="16067"/>
                    <a:pt x="10111" y="15859"/>
                  </a:cubicBezTo>
                  <a:cubicBezTo>
                    <a:pt x="10235" y="15649"/>
                    <a:pt x="10300" y="15425"/>
                    <a:pt x="10302" y="15198"/>
                  </a:cubicBezTo>
                  <a:lnTo>
                    <a:pt x="10408" y="12572"/>
                  </a:lnTo>
                  <a:lnTo>
                    <a:pt x="10862" y="12365"/>
                  </a:lnTo>
                  <a:cubicBezTo>
                    <a:pt x="11063" y="12280"/>
                    <a:pt x="11241" y="12172"/>
                    <a:pt x="11387" y="12045"/>
                  </a:cubicBezTo>
                  <a:cubicBezTo>
                    <a:pt x="11527" y="11923"/>
                    <a:pt x="11636" y="11787"/>
                    <a:pt x="11710" y="11641"/>
                  </a:cubicBezTo>
                  <a:lnTo>
                    <a:pt x="12674" y="9915"/>
                  </a:lnTo>
                  <a:lnTo>
                    <a:pt x="11917" y="11736"/>
                  </a:lnTo>
                  <a:cubicBezTo>
                    <a:pt x="11847" y="11880"/>
                    <a:pt x="11742" y="12015"/>
                    <a:pt x="11605" y="12135"/>
                  </a:cubicBezTo>
                  <a:cubicBezTo>
                    <a:pt x="11462" y="12261"/>
                    <a:pt x="11287" y="12368"/>
                    <a:pt x="11089" y="12451"/>
                  </a:cubicBezTo>
                  <a:lnTo>
                    <a:pt x="10671" y="12648"/>
                  </a:lnTo>
                  <a:lnTo>
                    <a:pt x="14607" y="14752"/>
                  </a:lnTo>
                  <a:lnTo>
                    <a:pt x="16850" y="20281"/>
                  </a:lnTo>
                  <a:cubicBezTo>
                    <a:pt x="17307" y="21070"/>
                    <a:pt x="18592" y="21469"/>
                    <a:pt x="19755" y="21183"/>
                  </a:cubicBezTo>
                  <a:cubicBezTo>
                    <a:pt x="20783" y="20930"/>
                    <a:pt x="21400" y="20208"/>
                    <a:pt x="21219" y="19468"/>
                  </a:cubicBezTo>
                  <a:lnTo>
                    <a:pt x="18564" y="13517"/>
                  </a:lnTo>
                  <a:cubicBezTo>
                    <a:pt x="18484" y="13324"/>
                    <a:pt x="18361" y="13141"/>
                    <a:pt x="18198" y="12974"/>
                  </a:cubicBezTo>
                  <a:cubicBezTo>
                    <a:pt x="18060" y="12834"/>
                    <a:pt x="17897" y="12708"/>
                    <a:pt x="17711" y="12598"/>
                  </a:cubicBezTo>
                  <a:lnTo>
                    <a:pt x="12806" y="9592"/>
                  </a:lnTo>
                  <a:lnTo>
                    <a:pt x="12168" y="4943"/>
                  </a:lnTo>
                  <a:lnTo>
                    <a:pt x="12599" y="6696"/>
                  </a:lnTo>
                  <a:lnTo>
                    <a:pt x="13014" y="6844"/>
                  </a:lnTo>
                  <a:cubicBezTo>
                    <a:pt x="13142" y="6874"/>
                    <a:pt x="13274" y="6896"/>
                    <a:pt x="13407" y="6911"/>
                  </a:cubicBezTo>
                  <a:cubicBezTo>
                    <a:pt x="13587" y="6930"/>
                    <a:pt x="13769" y="6934"/>
                    <a:pt x="13950" y="6923"/>
                  </a:cubicBezTo>
                  <a:lnTo>
                    <a:pt x="19601" y="6672"/>
                  </a:lnTo>
                  <a:cubicBezTo>
                    <a:pt x="20440" y="6578"/>
                    <a:pt x="21026" y="6051"/>
                    <a:pt x="20937" y="5470"/>
                  </a:cubicBezTo>
                  <a:cubicBezTo>
                    <a:pt x="20848" y="4885"/>
                    <a:pt x="20105" y="4451"/>
                    <a:pt x="19250" y="4484"/>
                  </a:cubicBezTo>
                  <a:lnTo>
                    <a:pt x="14113" y="4776"/>
                  </a:lnTo>
                  <a:lnTo>
                    <a:pt x="13074" y="4140"/>
                  </a:lnTo>
                  <a:lnTo>
                    <a:pt x="12521" y="4445"/>
                  </a:lnTo>
                  <a:cubicBezTo>
                    <a:pt x="12361" y="4505"/>
                    <a:pt x="12192" y="4553"/>
                    <a:pt x="12017" y="4588"/>
                  </a:cubicBezTo>
                  <a:cubicBezTo>
                    <a:pt x="11788" y="4635"/>
                    <a:pt x="11551" y="4659"/>
                    <a:pt x="11312" y="4660"/>
                  </a:cubicBezTo>
                  <a:lnTo>
                    <a:pt x="10129" y="4744"/>
                  </a:lnTo>
                  <a:lnTo>
                    <a:pt x="11322" y="4611"/>
                  </a:lnTo>
                  <a:cubicBezTo>
                    <a:pt x="11528" y="4586"/>
                    <a:pt x="11730" y="4549"/>
                    <a:pt x="11926" y="4499"/>
                  </a:cubicBezTo>
                  <a:cubicBezTo>
                    <a:pt x="12100" y="4454"/>
                    <a:pt x="12268" y="4399"/>
                    <a:pt x="12429" y="4335"/>
                  </a:cubicBezTo>
                  <a:lnTo>
                    <a:pt x="16883" y="2016"/>
                  </a:lnTo>
                  <a:cubicBezTo>
                    <a:pt x="17624" y="1648"/>
                    <a:pt x="17778" y="933"/>
                    <a:pt x="17225" y="433"/>
                  </a:cubicBezTo>
                  <a:cubicBezTo>
                    <a:pt x="16734" y="-11"/>
                    <a:pt x="15837" y="-131"/>
                    <a:pt x="15139" y="153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l" defTabSz="455612">
                <a:defRPr sz="1800">
                  <a:solidFill>
                    <a:srgbClr val="070707"/>
                  </a:solidFill>
                </a:defRPr>
              </a:pPr>
              <a:endParaRPr/>
            </a:p>
          </p:txBody>
        </p:sp>
        <p:sp>
          <p:nvSpPr>
            <p:cNvPr id="162" name="išľiḑè">
              <a:extLst>
                <a:ext uri="{FF2B5EF4-FFF2-40B4-BE49-F238E27FC236}">
                  <a16:creationId xmlns:a16="http://schemas.microsoft.com/office/drawing/2014/main" id="{424D3D75-4217-4B8C-B02E-10F63FCF3FA9}"/>
                </a:ext>
              </a:extLst>
            </p:cNvPr>
            <p:cNvSpPr/>
            <p:nvPr/>
          </p:nvSpPr>
          <p:spPr>
            <a:xfrm>
              <a:off x="4348796" y="2690054"/>
              <a:ext cx="1197400" cy="11463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19" extrusionOk="0">
                  <a:moveTo>
                    <a:pt x="160" y="104"/>
                  </a:moveTo>
                  <a:lnTo>
                    <a:pt x="1" y="4052"/>
                  </a:lnTo>
                  <a:cubicBezTo>
                    <a:pt x="-7" y="4404"/>
                    <a:pt x="39" y="4740"/>
                    <a:pt x="129" y="5058"/>
                  </a:cubicBezTo>
                  <a:cubicBezTo>
                    <a:pt x="208" y="5333"/>
                    <a:pt x="325" y="5616"/>
                    <a:pt x="569" y="5794"/>
                  </a:cubicBezTo>
                  <a:cubicBezTo>
                    <a:pt x="1209" y="6259"/>
                    <a:pt x="1949" y="5684"/>
                    <a:pt x="2629" y="5313"/>
                  </a:cubicBezTo>
                  <a:cubicBezTo>
                    <a:pt x="2861" y="5186"/>
                    <a:pt x="3107" y="5086"/>
                    <a:pt x="3362" y="5016"/>
                  </a:cubicBezTo>
                  <a:cubicBezTo>
                    <a:pt x="5496" y="4484"/>
                    <a:pt x="7636" y="5868"/>
                    <a:pt x="8093" y="8076"/>
                  </a:cubicBezTo>
                  <a:cubicBezTo>
                    <a:pt x="8528" y="10173"/>
                    <a:pt x="7265" y="12246"/>
                    <a:pt x="5240" y="12761"/>
                  </a:cubicBezTo>
                  <a:cubicBezTo>
                    <a:pt x="4654" y="12914"/>
                    <a:pt x="4042" y="12925"/>
                    <a:pt x="3451" y="12793"/>
                  </a:cubicBezTo>
                  <a:cubicBezTo>
                    <a:pt x="3032" y="12700"/>
                    <a:pt x="2632" y="12536"/>
                    <a:pt x="2265" y="12308"/>
                  </a:cubicBezTo>
                  <a:cubicBezTo>
                    <a:pt x="1811" y="11919"/>
                    <a:pt x="1163" y="11880"/>
                    <a:pt x="667" y="12211"/>
                  </a:cubicBezTo>
                  <a:cubicBezTo>
                    <a:pt x="240" y="12497"/>
                    <a:pt x="10" y="13009"/>
                    <a:pt x="75" y="13529"/>
                  </a:cubicBezTo>
                  <a:cubicBezTo>
                    <a:pt x="95" y="14568"/>
                    <a:pt x="216" y="15603"/>
                    <a:pt x="436" y="16617"/>
                  </a:cubicBezTo>
                  <a:cubicBezTo>
                    <a:pt x="679" y="17735"/>
                    <a:pt x="1041" y="18822"/>
                    <a:pt x="1515" y="19858"/>
                  </a:cubicBezTo>
                  <a:lnTo>
                    <a:pt x="8609" y="21077"/>
                  </a:lnTo>
                  <a:cubicBezTo>
                    <a:pt x="8838" y="21129"/>
                    <a:pt x="9067" y="21131"/>
                    <a:pt x="9285" y="21090"/>
                  </a:cubicBezTo>
                  <a:cubicBezTo>
                    <a:pt x="9367" y="21074"/>
                    <a:pt x="9447" y="21053"/>
                    <a:pt x="9526" y="21024"/>
                  </a:cubicBezTo>
                  <a:cubicBezTo>
                    <a:pt x="9604" y="20995"/>
                    <a:pt x="9679" y="20958"/>
                    <a:pt x="9749" y="20913"/>
                  </a:cubicBezTo>
                  <a:cubicBezTo>
                    <a:pt x="9942" y="20788"/>
                    <a:pt x="10091" y="20596"/>
                    <a:pt x="10180" y="20365"/>
                  </a:cubicBezTo>
                  <a:cubicBezTo>
                    <a:pt x="10469" y="19621"/>
                    <a:pt x="10057" y="18873"/>
                    <a:pt x="9804" y="18157"/>
                  </a:cubicBezTo>
                  <a:cubicBezTo>
                    <a:pt x="9643" y="17702"/>
                    <a:pt x="9540" y="17226"/>
                    <a:pt x="9500" y="16737"/>
                  </a:cubicBezTo>
                  <a:cubicBezTo>
                    <a:pt x="9365" y="15414"/>
                    <a:pt x="9896" y="14111"/>
                    <a:pt x="10910" y="13283"/>
                  </a:cubicBezTo>
                  <a:cubicBezTo>
                    <a:pt x="11674" y="12658"/>
                    <a:pt x="12647" y="12367"/>
                    <a:pt x="13619" y="12473"/>
                  </a:cubicBezTo>
                  <a:cubicBezTo>
                    <a:pt x="14755" y="12578"/>
                    <a:pt x="15790" y="13189"/>
                    <a:pt x="16452" y="14144"/>
                  </a:cubicBezTo>
                  <a:cubicBezTo>
                    <a:pt x="17056" y="15017"/>
                    <a:pt x="17295" y="16103"/>
                    <a:pt x="17115" y="17158"/>
                  </a:cubicBezTo>
                  <a:cubicBezTo>
                    <a:pt x="17055" y="17619"/>
                    <a:pt x="16918" y="18062"/>
                    <a:pt x="16713" y="18470"/>
                  </a:cubicBezTo>
                  <a:cubicBezTo>
                    <a:pt x="16450" y="18993"/>
                    <a:pt x="16064" y="19547"/>
                    <a:pt x="16298" y="20112"/>
                  </a:cubicBezTo>
                  <a:cubicBezTo>
                    <a:pt x="16435" y="20441"/>
                    <a:pt x="16733" y="20628"/>
                    <a:pt x="17036" y="20741"/>
                  </a:cubicBezTo>
                  <a:cubicBezTo>
                    <a:pt x="17304" y="20841"/>
                    <a:pt x="17594" y="20892"/>
                    <a:pt x="17897" y="20880"/>
                  </a:cubicBezTo>
                  <a:lnTo>
                    <a:pt x="21448" y="20388"/>
                  </a:lnTo>
                  <a:cubicBezTo>
                    <a:pt x="21593" y="14575"/>
                    <a:pt x="19256" y="8988"/>
                    <a:pt x="15052" y="5098"/>
                  </a:cubicBezTo>
                  <a:cubicBezTo>
                    <a:pt x="10997" y="1345"/>
                    <a:pt x="5588" y="-469"/>
                    <a:pt x="160" y="104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l" defTabSz="455612">
                <a:defRPr sz="1800">
                  <a:solidFill>
                    <a:srgbClr val="070707"/>
                  </a:solidFill>
                </a:defRPr>
              </a:pPr>
              <a:endParaRPr/>
            </a:p>
          </p:txBody>
        </p:sp>
        <p:sp>
          <p:nvSpPr>
            <p:cNvPr id="163" name="îś1îḑé">
              <a:extLst>
                <a:ext uri="{FF2B5EF4-FFF2-40B4-BE49-F238E27FC236}">
                  <a16:creationId xmlns:a16="http://schemas.microsoft.com/office/drawing/2014/main" id="{3AAEA5FC-C30C-403E-9D7B-6DE0520F2D4B}"/>
                </a:ext>
              </a:extLst>
            </p:cNvPr>
            <p:cNvSpPr/>
            <p:nvPr/>
          </p:nvSpPr>
          <p:spPr>
            <a:xfrm>
              <a:off x="3367949" y="3863414"/>
              <a:ext cx="1445026" cy="11210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47" h="21571" extrusionOk="0">
                  <a:moveTo>
                    <a:pt x="0" y="314"/>
                  </a:moveTo>
                  <a:lnTo>
                    <a:pt x="4873" y="107"/>
                  </a:lnTo>
                  <a:cubicBezTo>
                    <a:pt x="5177" y="49"/>
                    <a:pt x="5475" y="84"/>
                    <a:pt x="5750" y="194"/>
                  </a:cubicBezTo>
                  <a:cubicBezTo>
                    <a:pt x="5978" y="285"/>
                    <a:pt x="6205" y="432"/>
                    <a:pt x="6345" y="709"/>
                  </a:cubicBezTo>
                  <a:cubicBezTo>
                    <a:pt x="6658" y="1329"/>
                    <a:pt x="6350" y="2057"/>
                    <a:pt x="6129" y="2710"/>
                  </a:cubicBezTo>
                  <a:cubicBezTo>
                    <a:pt x="6003" y="3083"/>
                    <a:pt x="5906" y="3473"/>
                    <a:pt x="5842" y="3879"/>
                  </a:cubicBezTo>
                  <a:cubicBezTo>
                    <a:pt x="5657" y="4975"/>
                    <a:pt x="5829" y="6120"/>
                    <a:pt x="6317" y="7049"/>
                  </a:cubicBezTo>
                  <a:cubicBezTo>
                    <a:pt x="6942" y="8238"/>
                    <a:pt x="7998" y="8928"/>
                    <a:pt x="9111" y="8873"/>
                  </a:cubicBezTo>
                  <a:cubicBezTo>
                    <a:pt x="9937" y="8859"/>
                    <a:pt x="10726" y="8423"/>
                    <a:pt x="11304" y="7660"/>
                  </a:cubicBezTo>
                  <a:cubicBezTo>
                    <a:pt x="11883" y="6896"/>
                    <a:pt x="12204" y="5865"/>
                    <a:pt x="12195" y="4796"/>
                  </a:cubicBezTo>
                  <a:cubicBezTo>
                    <a:pt x="12209" y="4355"/>
                    <a:pt x="12172" y="3913"/>
                    <a:pt x="12085" y="3486"/>
                  </a:cubicBezTo>
                  <a:cubicBezTo>
                    <a:pt x="12002" y="3084"/>
                    <a:pt x="11875" y="2699"/>
                    <a:pt x="11708" y="2342"/>
                  </a:cubicBezTo>
                  <a:cubicBezTo>
                    <a:pt x="11563" y="2084"/>
                    <a:pt x="11478" y="1788"/>
                    <a:pt x="11453" y="1486"/>
                  </a:cubicBezTo>
                  <a:cubicBezTo>
                    <a:pt x="11428" y="1189"/>
                    <a:pt x="11461" y="876"/>
                    <a:pt x="11590" y="606"/>
                  </a:cubicBezTo>
                  <a:cubicBezTo>
                    <a:pt x="11712" y="350"/>
                    <a:pt x="11902" y="175"/>
                    <a:pt x="12110" y="81"/>
                  </a:cubicBezTo>
                  <a:cubicBezTo>
                    <a:pt x="12322" y="-14"/>
                    <a:pt x="12557" y="-29"/>
                    <a:pt x="12785" y="54"/>
                  </a:cubicBezTo>
                  <a:lnTo>
                    <a:pt x="15202" y="732"/>
                  </a:lnTo>
                  <a:lnTo>
                    <a:pt x="14626" y="4996"/>
                  </a:lnTo>
                  <a:cubicBezTo>
                    <a:pt x="14456" y="5780"/>
                    <a:pt x="14650" y="6621"/>
                    <a:pt x="15126" y="7156"/>
                  </a:cubicBezTo>
                  <a:cubicBezTo>
                    <a:pt x="15656" y="7752"/>
                    <a:pt x="16420" y="7850"/>
                    <a:pt x="17031" y="7401"/>
                  </a:cubicBezTo>
                  <a:cubicBezTo>
                    <a:pt x="17428" y="7050"/>
                    <a:pt x="17871" y="6812"/>
                    <a:pt x="18332" y="6694"/>
                  </a:cubicBezTo>
                  <a:cubicBezTo>
                    <a:pt x="18760" y="6585"/>
                    <a:pt x="19207" y="6579"/>
                    <a:pt x="19641" y="6729"/>
                  </a:cubicBezTo>
                  <a:cubicBezTo>
                    <a:pt x="20809" y="7132"/>
                    <a:pt x="21600" y="8534"/>
                    <a:pt x="21539" y="10093"/>
                  </a:cubicBezTo>
                  <a:cubicBezTo>
                    <a:pt x="21597" y="11021"/>
                    <a:pt x="21348" y="11937"/>
                    <a:pt x="20851" y="12614"/>
                  </a:cubicBezTo>
                  <a:cubicBezTo>
                    <a:pt x="20191" y="13515"/>
                    <a:pt x="19198" y="13871"/>
                    <a:pt x="18271" y="13539"/>
                  </a:cubicBezTo>
                  <a:cubicBezTo>
                    <a:pt x="18003" y="13375"/>
                    <a:pt x="17745" y="13204"/>
                    <a:pt x="17495" y="13027"/>
                  </a:cubicBezTo>
                  <a:cubicBezTo>
                    <a:pt x="17264" y="12862"/>
                    <a:pt x="17035" y="12690"/>
                    <a:pt x="16785" y="12597"/>
                  </a:cubicBezTo>
                  <a:cubicBezTo>
                    <a:pt x="16368" y="12443"/>
                    <a:pt x="15905" y="12508"/>
                    <a:pt x="15521" y="12836"/>
                  </a:cubicBezTo>
                  <a:cubicBezTo>
                    <a:pt x="15219" y="13093"/>
                    <a:pt x="15015" y="13476"/>
                    <a:pt x="14886" y="13887"/>
                  </a:cubicBezTo>
                  <a:cubicBezTo>
                    <a:pt x="14743" y="14344"/>
                    <a:pt x="14689" y="14850"/>
                    <a:pt x="14743" y="15362"/>
                  </a:cubicBezTo>
                  <a:lnTo>
                    <a:pt x="15381" y="21571"/>
                  </a:lnTo>
                  <a:lnTo>
                    <a:pt x="7502" y="21086"/>
                  </a:lnTo>
                  <a:cubicBezTo>
                    <a:pt x="7111" y="20411"/>
                    <a:pt x="6769" y="19690"/>
                    <a:pt x="6481" y="18934"/>
                  </a:cubicBezTo>
                  <a:cubicBezTo>
                    <a:pt x="6130" y="18010"/>
                    <a:pt x="5862" y="17039"/>
                    <a:pt x="5681" y="16038"/>
                  </a:cubicBezTo>
                  <a:cubicBezTo>
                    <a:pt x="5501" y="15157"/>
                    <a:pt x="5192" y="14328"/>
                    <a:pt x="4772" y="13596"/>
                  </a:cubicBezTo>
                  <a:cubicBezTo>
                    <a:pt x="4534" y="13180"/>
                    <a:pt x="4261" y="12799"/>
                    <a:pt x="3990" y="12418"/>
                  </a:cubicBezTo>
                  <a:cubicBezTo>
                    <a:pt x="3744" y="12074"/>
                    <a:pt x="3500" y="11728"/>
                    <a:pt x="3256" y="11381"/>
                  </a:cubicBezTo>
                  <a:cubicBezTo>
                    <a:pt x="2270" y="9728"/>
                    <a:pt x="1486" y="7891"/>
                    <a:pt x="930" y="5932"/>
                  </a:cubicBezTo>
                  <a:cubicBezTo>
                    <a:pt x="417" y="4125"/>
                    <a:pt x="104" y="2234"/>
                    <a:pt x="0" y="314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l" defTabSz="455612">
                <a:defRPr sz="1800">
                  <a:solidFill>
                    <a:srgbClr val="070707"/>
                  </a:solidFill>
                </a:defRPr>
              </a:pPr>
              <a:endParaRPr/>
            </a:p>
          </p:txBody>
        </p:sp>
        <p:sp>
          <p:nvSpPr>
            <p:cNvPr id="164" name="îṥḻîḋè">
              <a:extLst>
                <a:ext uri="{FF2B5EF4-FFF2-40B4-BE49-F238E27FC236}">
                  <a16:creationId xmlns:a16="http://schemas.microsoft.com/office/drawing/2014/main" id="{79D2DADE-040F-4019-98BF-831D9FAAF5AA}"/>
                </a:ext>
              </a:extLst>
            </p:cNvPr>
            <p:cNvSpPr/>
            <p:nvPr/>
          </p:nvSpPr>
          <p:spPr>
            <a:xfrm>
              <a:off x="4375225" y="3407197"/>
              <a:ext cx="1166487" cy="15547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9" h="21444" extrusionOk="0">
                  <a:moveTo>
                    <a:pt x="1113" y="5524"/>
                  </a:moveTo>
                  <a:lnTo>
                    <a:pt x="50" y="9863"/>
                  </a:lnTo>
                  <a:cubicBezTo>
                    <a:pt x="-31" y="10120"/>
                    <a:pt x="-12" y="10380"/>
                    <a:pt x="91" y="10618"/>
                  </a:cubicBezTo>
                  <a:cubicBezTo>
                    <a:pt x="181" y="10828"/>
                    <a:pt x="339" y="11028"/>
                    <a:pt x="597" y="11160"/>
                  </a:cubicBezTo>
                  <a:cubicBezTo>
                    <a:pt x="871" y="11300"/>
                    <a:pt x="1200" y="11335"/>
                    <a:pt x="1514" y="11318"/>
                  </a:cubicBezTo>
                  <a:cubicBezTo>
                    <a:pt x="1872" y="11299"/>
                    <a:pt x="2227" y="11212"/>
                    <a:pt x="2541" y="11055"/>
                  </a:cubicBezTo>
                  <a:cubicBezTo>
                    <a:pt x="3686" y="10503"/>
                    <a:pt x="5126" y="10420"/>
                    <a:pt x="6371" y="10834"/>
                  </a:cubicBezTo>
                  <a:cubicBezTo>
                    <a:pt x="7680" y="11269"/>
                    <a:pt x="8582" y="12188"/>
                    <a:pt x="8744" y="13250"/>
                  </a:cubicBezTo>
                  <a:cubicBezTo>
                    <a:pt x="8916" y="14139"/>
                    <a:pt x="8522" y="15036"/>
                    <a:pt x="7680" y="15677"/>
                  </a:cubicBezTo>
                  <a:cubicBezTo>
                    <a:pt x="6641" y="16468"/>
                    <a:pt x="5093" y="16754"/>
                    <a:pt x="3679" y="16417"/>
                  </a:cubicBezTo>
                  <a:cubicBezTo>
                    <a:pt x="3315" y="16281"/>
                    <a:pt x="2953" y="16159"/>
                    <a:pt x="2587" y="16051"/>
                  </a:cubicBezTo>
                  <a:cubicBezTo>
                    <a:pt x="2030" y="15886"/>
                    <a:pt x="1394" y="15743"/>
                    <a:pt x="844" y="15975"/>
                  </a:cubicBezTo>
                  <a:cubicBezTo>
                    <a:pt x="546" y="16101"/>
                    <a:pt x="357" y="16313"/>
                    <a:pt x="245" y="16537"/>
                  </a:cubicBezTo>
                  <a:cubicBezTo>
                    <a:pt x="126" y="16776"/>
                    <a:pt x="90" y="17041"/>
                    <a:pt x="158" y="17308"/>
                  </a:cubicBezTo>
                  <a:lnTo>
                    <a:pt x="958" y="21444"/>
                  </a:lnTo>
                  <a:lnTo>
                    <a:pt x="11789" y="21421"/>
                  </a:lnTo>
                  <a:cubicBezTo>
                    <a:pt x="12290" y="21042"/>
                    <a:pt x="12711" y="20608"/>
                    <a:pt x="13035" y="20134"/>
                  </a:cubicBezTo>
                  <a:cubicBezTo>
                    <a:pt x="13378" y="19631"/>
                    <a:pt x="13609" y="19089"/>
                    <a:pt x="13717" y="18531"/>
                  </a:cubicBezTo>
                  <a:cubicBezTo>
                    <a:pt x="13955" y="17950"/>
                    <a:pt x="14289" y="17393"/>
                    <a:pt x="14713" y="16875"/>
                  </a:cubicBezTo>
                  <a:cubicBezTo>
                    <a:pt x="15148" y="16342"/>
                    <a:pt x="15674" y="15854"/>
                    <a:pt x="16276" y="15422"/>
                  </a:cubicBezTo>
                  <a:cubicBezTo>
                    <a:pt x="17987" y="14068"/>
                    <a:pt x="19334" y="12481"/>
                    <a:pt x="20243" y="10747"/>
                  </a:cubicBezTo>
                  <a:cubicBezTo>
                    <a:pt x="21043" y="9221"/>
                    <a:pt x="21492" y="7605"/>
                    <a:pt x="21569" y="5967"/>
                  </a:cubicBezTo>
                  <a:lnTo>
                    <a:pt x="18132" y="6285"/>
                  </a:lnTo>
                  <a:cubicBezTo>
                    <a:pt x="17862" y="6304"/>
                    <a:pt x="17593" y="6301"/>
                    <a:pt x="17330" y="6276"/>
                  </a:cubicBezTo>
                  <a:cubicBezTo>
                    <a:pt x="16700" y="6215"/>
                    <a:pt x="16071" y="6026"/>
                    <a:pt x="15700" y="5619"/>
                  </a:cubicBezTo>
                  <a:cubicBezTo>
                    <a:pt x="15375" y="5263"/>
                    <a:pt x="15332" y="4804"/>
                    <a:pt x="15590" y="4419"/>
                  </a:cubicBezTo>
                  <a:cubicBezTo>
                    <a:pt x="17038" y="3297"/>
                    <a:pt x="16870" y="1489"/>
                    <a:pt x="15230" y="526"/>
                  </a:cubicBezTo>
                  <a:cubicBezTo>
                    <a:pt x="14280" y="-32"/>
                    <a:pt x="12998" y="-156"/>
                    <a:pt x="11889" y="202"/>
                  </a:cubicBezTo>
                  <a:cubicBezTo>
                    <a:pt x="11204" y="429"/>
                    <a:pt x="10647" y="828"/>
                    <a:pt x="10317" y="1330"/>
                  </a:cubicBezTo>
                  <a:cubicBezTo>
                    <a:pt x="9996" y="1818"/>
                    <a:pt x="9907" y="2356"/>
                    <a:pt x="9979" y="2877"/>
                  </a:cubicBezTo>
                  <a:cubicBezTo>
                    <a:pt x="10052" y="3399"/>
                    <a:pt x="10288" y="3911"/>
                    <a:pt x="10686" y="4368"/>
                  </a:cubicBezTo>
                  <a:cubicBezTo>
                    <a:pt x="10959" y="4864"/>
                    <a:pt x="10859" y="5430"/>
                    <a:pt x="10422" y="5855"/>
                  </a:cubicBezTo>
                  <a:cubicBezTo>
                    <a:pt x="9948" y="6318"/>
                    <a:pt x="9161" y="6537"/>
                    <a:pt x="8396" y="6420"/>
                  </a:cubicBezTo>
                  <a:lnTo>
                    <a:pt x="1113" y="5524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l" defTabSz="455612">
                <a:defRPr sz="1800">
                  <a:solidFill>
                    <a:srgbClr val="070707"/>
                  </a:solidFill>
                </a:defRPr>
              </a:pPr>
              <a:endParaRPr/>
            </a:p>
          </p:txBody>
        </p:sp>
        <p:sp>
          <p:nvSpPr>
            <p:cNvPr id="165" name="iṥ1îḍé">
              <a:extLst>
                <a:ext uri="{FF2B5EF4-FFF2-40B4-BE49-F238E27FC236}">
                  <a16:creationId xmlns:a16="http://schemas.microsoft.com/office/drawing/2014/main" id="{417FE46F-8DAF-4D70-85F6-EEFC46997C0F}"/>
                </a:ext>
              </a:extLst>
            </p:cNvPr>
            <p:cNvSpPr/>
            <p:nvPr/>
          </p:nvSpPr>
          <p:spPr>
            <a:xfrm>
              <a:off x="4228051" y="5991500"/>
              <a:ext cx="407295" cy="1167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98" extrusionOk="0">
                  <a:moveTo>
                    <a:pt x="0" y="102"/>
                  </a:moveTo>
                  <a:lnTo>
                    <a:pt x="2875" y="16209"/>
                  </a:lnTo>
                  <a:cubicBezTo>
                    <a:pt x="5436" y="19804"/>
                    <a:pt x="8177" y="21600"/>
                    <a:pt x="10940" y="21494"/>
                  </a:cubicBezTo>
                  <a:cubicBezTo>
                    <a:pt x="13546" y="21393"/>
                    <a:pt x="16123" y="19601"/>
                    <a:pt x="18539" y="16209"/>
                  </a:cubicBezTo>
                  <a:lnTo>
                    <a:pt x="21600" y="0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5612"/>
              <a:endParaRPr>
                <a:solidFill>
                  <a:srgbClr val="070707"/>
                </a:solidFill>
              </a:endParaRPr>
            </a:p>
          </p:txBody>
        </p:sp>
        <p:sp>
          <p:nvSpPr>
            <p:cNvPr id="166" name="ïṡľïḓé">
              <a:extLst>
                <a:ext uri="{FF2B5EF4-FFF2-40B4-BE49-F238E27FC236}">
                  <a16:creationId xmlns:a16="http://schemas.microsoft.com/office/drawing/2014/main" id="{C5EA8BEF-7DB3-4EE6-92ED-DC5556933BF0}"/>
                </a:ext>
              </a:extLst>
            </p:cNvPr>
            <p:cNvSpPr/>
            <p:nvPr/>
          </p:nvSpPr>
          <p:spPr>
            <a:xfrm>
              <a:off x="3855467" y="4940379"/>
              <a:ext cx="591994" cy="2492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4909" y="21584"/>
                  </a:lnTo>
                  <a:cubicBezTo>
                    <a:pt x="3985" y="20289"/>
                    <a:pt x="3089" y="18888"/>
                    <a:pt x="2222" y="17386"/>
                  </a:cubicBezTo>
                  <a:cubicBezTo>
                    <a:pt x="1456" y="16058"/>
                    <a:pt x="715" y="14653"/>
                    <a:pt x="0" y="13173"/>
                  </a:cubicBezTo>
                  <a:lnTo>
                    <a:pt x="110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l" defTabSz="455612">
                <a:defRPr sz="1800">
                  <a:solidFill>
                    <a:srgbClr val="070707"/>
                  </a:solidFill>
                </a:defRPr>
              </a:pPr>
              <a:endParaRPr/>
            </a:p>
          </p:txBody>
        </p:sp>
        <p:sp>
          <p:nvSpPr>
            <p:cNvPr id="167" name="ïsļïḋé">
              <a:extLst>
                <a:ext uri="{FF2B5EF4-FFF2-40B4-BE49-F238E27FC236}">
                  <a16:creationId xmlns:a16="http://schemas.microsoft.com/office/drawing/2014/main" id="{FB0B9B65-364E-4D33-88EE-429E8D62EAAB}"/>
                </a:ext>
              </a:extLst>
            </p:cNvPr>
            <p:cNvSpPr/>
            <p:nvPr/>
          </p:nvSpPr>
          <p:spPr>
            <a:xfrm>
              <a:off x="4438857" y="4940379"/>
              <a:ext cx="589498" cy="2492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90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16691" y="21584"/>
                  </a:lnTo>
                  <a:cubicBezTo>
                    <a:pt x="17615" y="20289"/>
                    <a:pt x="18511" y="18888"/>
                    <a:pt x="19378" y="17386"/>
                  </a:cubicBezTo>
                  <a:cubicBezTo>
                    <a:pt x="20144" y="16058"/>
                    <a:pt x="20885" y="14653"/>
                    <a:pt x="21600" y="13173"/>
                  </a:cubicBezTo>
                  <a:lnTo>
                    <a:pt x="21490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l" defTabSz="455612">
                <a:defRPr sz="1800">
                  <a:solidFill>
                    <a:srgbClr val="070707"/>
                  </a:solidFill>
                </a:defRPr>
              </a:pPr>
              <a:endParaRPr/>
            </a:p>
          </p:txBody>
        </p:sp>
        <p:sp>
          <p:nvSpPr>
            <p:cNvPr id="168" name="işḷiďé">
              <a:extLst>
                <a:ext uri="{FF2B5EF4-FFF2-40B4-BE49-F238E27FC236}">
                  <a16:creationId xmlns:a16="http://schemas.microsoft.com/office/drawing/2014/main" id="{DFAE287B-B40D-42A4-A883-D44D9964C7F0}"/>
                </a:ext>
              </a:extLst>
            </p:cNvPr>
            <p:cNvSpPr/>
            <p:nvPr/>
          </p:nvSpPr>
          <p:spPr>
            <a:xfrm>
              <a:off x="3854333" y="4937877"/>
              <a:ext cx="1172956" cy="7231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l" defTabSz="455612">
                <a:defRPr sz="2400"/>
              </a:pPr>
              <a:endParaRPr/>
            </a:p>
          </p:txBody>
        </p:sp>
        <p:sp>
          <p:nvSpPr>
            <p:cNvPr id="169" name="isḻidé">
              <a:extLst>
                <a:ext uri="{FF2B5EF4-FFF2-40B4-BE49-F238E27FC236}">
                  <a16:creationId xmlns:a16="http://schemas.microsoft.com/office/drawing/2014/main" id="{B5403A9B-D5DA-4741-8D30-F84881E25210}"/>
                </a:ext>
              </a:extLst>
            </p:cNvPr>
            <p:cNvSpPr/>
            <p:nvPr/>
          </p:nvSpPr>
          <p:spPr>
            <a:xfrm rot="21245215">
              <a:off x="4069053" y="5371263"/>
              <a:ext cx="719279" cy="7231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825500">
                <a:defRPr sz="3200"/>
              </a:pPr>
              <a:endParaRPr/>
            </a:p>
          </p:txBody>
        </p:sp>
        <p:sp>
          <p:nvSpPr>
            <p:cNvPr id="170" name="ïṡļïdê">
              <a:extLst>
                <a:ext uri="{FF2B5EF4-FFF2-40B4-BE49-F238E27FC236}">
                  <a16:creationId xmlns:a16="http://schemas.microsoft.com/office/drawing/2014/main" id="{E2B889AC-5613-4E99-8132-7C8A68A2FD30}"/>
                </a:ext>
              </a:extLst>
            </p:cNvPr>
            <p:cNvSpPr/>
            <p:nvPr/>
          </p:nvSpPr>
          <p:spPr>
            <a:xfrm rot="21245215">
              <a:off x="4069053" y="5493885"/>
              <a:ext cx="719279" cy="7231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825500">
                <a:defRPr sz="3200"/>
              </a:pPr>
              <a:endParaRPr/>
            </a:p>
          </p:txBody>
        </p:sp>
        <p:sp>
          <p:nvSpPr>
            <p:cNvPr id="171" name="iśľîḍè">
              <a:extLst>
                <a:ext uri="{FF2B5EF4-FFF2-40B4-BE49-F238E27FC236}">
                  <a16:creationId xmlns:a16="http://schemas.microsoft.com/office/drawing/2014/main" id="{BC7C53CA-6173-47F2-9140-637267FBCC88}"/>
                </a:ext>
              </a:extLst>
            </p:cNvPr>
            <p:cNvSpPr/>
            <p:nvPr/>
          </p:nvSpPr>
          <p:spPr>
            <a:xfrm rot="21245215">
              <a:off x="4069053" y="5616505"/>
              <a:ext cx="719279" cy="72311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825500">
                <a:defRPr sz="3200"/>
              </a:pPr>
              <a:endParaRPr/>
            </a:p>
          </p:txBody>
        </p:sp>
        <p:sp>
          <p:nvSpPr>
            <p:cNvPr id="172" name="ïṧľíḑè">
              <a:extLst>
                <a:ext uri="{FF2B5EF4-FFF2-40B4-BE49-F238E27FC236}">
                  <a16:creationId xmlns:a16="http://schemas.microsoft.com/office/drawing/2014/main" id="{DB71EF5D-47D8-40CD-A776-0CF3AE1E54B3}"/>
                </a:ext>
              </a:extLst>
            </p:cNvPr>
            <p:cNvSpPr/>
            <p:nvPr/>
          </p:nvSpPr>
          <p:spPr>
            <a:xfrm rot="21245215">
              <a:off x="4069053" y="5739127"/>
              <a:ext cx="719279" cy="72310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825500">
                <a:defRPr sz="3200"/>
              </a:pPr>
              <a:endParaRPr/>
            </a:p>
          </p:txBody>
        </p:sp>
      </p:grpSp>
      <p:grpSp>
        <p:nvGrpSpPr>
          <p:cNvPr id="133" name="îŝliḓe">
            <a:extLst>
              <a:ext uri="{FF2B5EF4-FFF2-40B4-BE49-F238E27FC236}">
                <a16:creationId xmlns:a16="http://schemas.microsoft.com/office/drawing/2014/main" id="{BFD926E6-36C4-4049-82BC-7B55E2FF68F7}"/>
              </a:ext>
            </a:extLst>
          </p:cNvPr>
          <p:cNvGrpSpPr/>
          <p:nvPr/>
        </p:nvGrpSpPr>
        <p:grpSpPr>
          <a:xfrm>
            <a:off x="687280" y="1130300"/>
            <a:ext cx="3791329" cy="1998194"/>
            <a:chOff x="687278" y="2398652"/>
            <a:chExt cx="3524773" cy="1998194"/>
          </a:xfrm>
        </p:grpSpPr>
        <p:sp>
          <p:nvSpPr>
            <p:cNvPr id="155" name="ïṣľíḍè">
              <a:extLst>
                <a:ext uri="{FF2B5EF4-FFF2-40B4-BE49-F238E27FC236}">
                  <a16:creationId xmlns:a16="http://schemas.microsoft.com/office/drawing/2014/main" id="{434C6171-9B90-41EC-B4A7-716BFFBF7F7B}"/>
                </a:ext>
              </a:extLst>
            </p:cNvPr>
            <p:cNvSpPr/>
            <p:nvPr/>
          </p:nvSpPr>
          <p:spPr>
            <a:xfrm>
              <a:off x="687278" y="2840457"/>
              <a:ext cx="3524773" cy="15563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000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Unified fonts make reading more fluent.</a:t>
              </a:r>
            </a:p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Adjust the spacing to adapt to Chinese typesetting, use the reference line in PPT.</a:t>
              </a:r>
            </a:p>
          </p:txBody>
        </p:sp>
        <p:sp>
          <p:nvSpPr>
            <p:cNvPr id="156" name="îşḷíḍè">
              <a:extLst>
                <a:ext uri="{FF2B5EF4-FFF2-40B4-BE49-F238E27FC236}">
                  <a16:creationId xmlns:a16="http://schemas.microsoft.com/office/drawing/2014/main" id="{93944CB8-7F8E-4026-8F3F-242B1C143E0C}"/>
                </a:ext>
              </a:extLst>
            </p:cNvPr>
            <p:cNvSpPr txBox="1"/>
            <p:nvPr/>
          </p:nvSpPr>
          <p:spPr bwMode="auto">
            <a:xfrm>
              <a:off x="687278" y="2398652"/>
              <a:ext cx="3524773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400" b="1" dirty="0"/>
                <a:t>Text here</a:t>
              </a:r>
            </a:p>
          </p:txBody>
        </p:sp>
      </p:grpSp>
      <p:cxnSp>
        <p:nvCxnSpPr>
          <p:cNvPr id="134" name="直接连接符 133">
            <a:extLst>
              <a:ext uri="{FF2B5EF4-FFF2-40B4-BE49-F238E27FC236}">
                <a16:creationId xmlns:a16="http://schemas.microsoft.com/office/drawing/2014/main" id="{FCCE6317-89CF-44B9-A114-B07FF582ABDF}"/>
              </a:ext>
            </a:extLst>
          </p:cNvPr>
          <p:cNvCxnSpPr/>
          <p:nvPr/>
        </p:nvCxnSpPr>
        <p:spPr>
          <a:xfrm flipH="1">
            <a:off x="687280" y="2979000"/>
            <a:ext cx="347372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îṡľiḋê">
            <a:extLst>
              <a:ext uri="{FF2B5EF4-FFF2-40B4-BE49-F238E27FC236}">
                <a16:creationId xmlns:a16="http://schemas.microsoft.com/office/drawing/2014/main" id="{B54FEBD5-6164-4946-9C7F-5CE057293A10}"/>
              </a:ext>
            </a:extLst>
          </p:cNvPr>
          <p:cNvGrpSpPr/>
          <p:nvPr/>
        </p:nvGrpSpPr>
        <p:grpSpPr>
          <a:xfrm>
            <a:off x="7727643" y="1130300"/>
            <a:ext cx="3791257" cy="1307583"/>
            <a:chOff x="7727643" y="1274400"/>
            <a:chExt cx="3791257" cy="1307583"/>
          </a:xfrm>
        </p:grpSpPr>
        <p:sp>
          <p:nvSpPr>
            <p:cNvPr id="150" name="îṧlïďè">
              <a:extLst>
                <a:ext uri="{FF2B5EF4-FFF2-40B4-BE49-F238E27FC236}">
                  <a16:creationId xmlns:a16="http://schemas.microsoft.com/office/drawing/2014/main" id="{A302ED24-721C-41D3-8860-AF47A508E418}"/>
                </a:ext>
              </a:extLst>
            </p:cNvPr>
            <p:cNvSpPr/>
            <p:nvPr/>
          </p:nvSpPr>
          <p:spPr bwMode="auto">
            <a:xfrm>
              <a:off x="8444827" y="1665958"/>
              <a:ext cx="3074073" cy="916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51" name="isḻïḓê">
              <a:extLst>
                <a:ext uri="{FF2B5EF4-FFF2-40B4-BE49-F238E27FC236}">
                  <a16:creationId xmlns:a16="http://schemas.microsoft.com/office/drawing/2014/main" id="{60993E61-8AC9-4677-850E-6D76446389BE}"/>
                </a:ext>
              </a:extLst>
            </p:cNvPr>
            <p:cNvSpPr txBox="1"/>
            <p:nvPr/>
          </p:nvSpPr>
          <p:spPr bwMode="auto">
            <a:xfrm>
              <a:off x="8444827" y="1274400"/>
              <a:ext cx="3074073" cy="391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/>
                <a:t>01.Text here</a:t>
              </a:r>
            </a:p>
          </p:txBody>
        </p:sp>
        <p:grpSp>
          <p:nvGrpSpPr>
            <p:cNvPr id="152" name="iśļíḍè">
              <a:extLst>
                <a:ext uri="{FF2B5EF4-FFF2-40B4-BE49-F238E27FC236}">
                  <a16:creationId xmlns:a16="http://schemas.microsoft.com/office/drawing/2014/main" id="{F27783C7-E4F2-47A0-8FD0-AFEA1547477E}"/>
                </a:ext>
              </a:extLst>
            </p:cNvPr>
            <p:cNvGrpSpPr/>
            <p:nvPr/>
          </p:nvGrpSpPr>
          <p:grpSpPr>
            <a:xfrm>
              <a:off x="7727643" y="1418547"/>
              <a:ext cx="549582" cy="550695"/>
              <a:chOff x="8360818" y="1492335"/>
              <a:chExt cx="907008" cy="908846"/>
            </a:xfrm>
          </p:grpSpPr>
          <p:sp>
            <p:nvSpPr>
              <p:cNvPr id="153" name="iṥļîḋe">
                <a:extLst>
                  <a:ext uri="{FF2B5EF4-FFF2-40B4-BE49-F238E27FC236}">
                    <a16:creationId xmlns:a16="http://schemas.microsoft.com/office/drawing/2014/main" id="{D629FC5A-AB24-41CC-A2D1-4360B7D10D29}"/>
                  </a:ext>
                </a:extLst>
              </p:cNvPr>
              <p:cNvSpPr/>
              <p:nvPr/>
            </p:nvSpPr>
            <p:spPr bwMode="auto">
              <a:xfrm>
                <a:off x="8360818" y="1492335"/>
                <a:ext cx="907008" cy="908846"/>
              </a:xfrm>
              <a:prstGeom prst="ellipse">
                <a:avLst/>
              </a:prstGeom>
              <a:solidFill>
                <a:schemeClr val="accent1"/>
              </a:solidFill>
              <a:ln w="57150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700">
                  <a:solidFill>
                    <a:schemeClr val="tx1"/>
                  </a:solidFill>
                </a:endParaRPr>
              </a:p>
            </p:txBody>
          </p:sp>
          <p:sp>
            <p:nvSpPr>
              <p:cNvPr id="154" name="iṧľîḋé">
                <a:extLst>
                  <a:ext uri="{FF2B5EF4-FFF2-40B4-BE49-F238E27FC236}">
                    <a16:creationId xmlns:a16="http://schemas.microsoft.com/office/drawing/2014/main" id="{E4477A83-1FB3-4615-A0EE-BB7A8ABBCF0E}"/>
                  </a:ext>
                </a:extLst>
              </p:cNvPr>
              <p:cNvSpPr/>
              <p:nvPr/>
            </p:nvSpPr>
            <p:spPr bwMode="auto">
              <a:xfrm>
                <a:off x="8599319" y="1712329"/>
                <a:ext cx="430002" cy="468858"/>
              </a:xfrm>
              <a:custGeom>
                <a:avLst/>
                <a:gdLst>
                  <a:gd name="T0" fmla="*/ 168 w 208"/>
                  <a:gd name="T1" fmla="*/ 0 h 224"/>
                  <a:gd name="T2" fmla="*/ 168 w 208"/>
                  <a:gd name="T3" fmla="*/ 68 h 224"/>
                  <a:gd name="T4" fmla="*/ 108 w 208"/>
                  <a:gd name="T5" fmla="*/ 68 h 224"/>
                  <a:gd name="T6" fmla="*/ 108 w 208"/>
                  <a:gd name="T7" fmla="*/ 124 h 224"/>
                  <a:gd name="T8" fmla="*/ 192 w 208"/>
                  <a:gd name="T9" fmla="*/ 124 h 224"/>
                  <a:gd name="T10" fmla="*/ 192 w 208"/>
                  <a:gd name="T11" fmla="*/ 184 h 224"/>
                  <a:gd name="T12" fmla="*/ 208 w 208"/>
                  <a:gd name="T13" fmla="*/ 184 h 224"/>
                  <a:gd name="T14" fmla="*/ 208 w 208"/>
                  <a:gd name="T15" fmla="*/ 224 h 224"/>
                  <a:gd name="T16" fmla="*/ 168 w 208"/>
                  <a:gd name="T17" fmla="*/ 224 h 224"/>
                  <a:gd name="T18" fmla="*/ 168 w 208"/>
                  <a:gd name="T19" fmla="*/ 184 h 224"/>
                  <a:gd name="T20" fmla="*/ 184 w 208"/>
                  <a:gd name="T21" fmla="*/ 184 h 224"/>
                  <a:gd name="T22" fmla="*/ 184 w 208"/>
                  <a:gd name="T23" fmla="*/ 132 h 224"/>
                  <a:gd name="T24" fmla="*/ 108 w 208"/>
                  <a:gd name="T25" fmla="*/ 132 h 224"/>
                  <a:gd name="T26" fmla="*/ 108 w 208"/>
                  <a:gd name="T27" fmla="*/ 184 h 224"/>
                  <a:gd name="T28" fmla="*/ 124 w 208"/>
                  <a:gd name="T29" fmla="*/ 184 h 224"/>
                  <a:gd name="T30" fmla="*/ 124 w 208"/>
                  <a:gd name="T31" fmla="*/ 224 h 224"/>
                  <a:gd name="T32" fmla="*/ 84 w 208"/>
                  <a:gd name="T33" fmla="*/ 224 h 224"/>
                  <a:gd name="T34" fmla="*/ 84 w 208"/>
                  <a:gd name="T35" fmla="*/ 184 h 224"/>
                  <a:gd name="T36" fmla="*/ 100 w 208"/>
                  <a:gd name="T37" fmla="*/ 184 h 224"/>
                  <a:gd name="T38" fmla="*/ 100 w 208"/>
                  <a:gd name="T39" fmla="*/ 132 h 224"/>
                  <a:gd name="T40" fmla="*/ 24 w 208"/>
                  <a:gd name="T41" fmla="*/ 132 h 224"/>
                  <a:gd name="T42" fmla="*/ 24 w 208"/>
                  <a:gd name="T43" fmla="*/ 184 h 224"/>
                  <a:gd name="T44" fmla="*/ 40 w 208"/>
                  <a:gd name="T45" fmla="*/ 184 h 224"/>
                  <a:gd name="T46" fmla="*/ 40 w 208"/>
                  <a:gd name="T47" fmla="*/ 224 h 224"/>
                  <a:gd name="T48" fmla="*/ 0 w 208"/>
                  <a:gd name="T49" fmla="*/ 224 h 224"/>
                  <a:gd name="T50" fmla="*/ 0 w 208"/>
                  <a:gd name="T51" fmla="*/ 184 h 224"/>
                  <a:gd name="T52" fmla="*/ 16 w 208"/>
                  <a:gd name="T53" fmla="*/ 184 h 224"/>
                  <a:gd name="T54" fmla="*/ 16 w 208"/>
                  <a:gd name="T55" fmla="*/ 124 h 224"/>
                  <a:gd name="T56" fmla="*/ 100 w 208"/>
                  <a:gd name="T57" fmla="*/ 124 h 224"/>
                  <a:gd name="T58" fmla="*/ 100 w 208"/>
                  <a:gd name="T59" fmla="*/ 68 h 224"/>
                  <a:gd name="T60" fmla="*/ 40 w 208"/>
                  <a:gd name="T61" fmla="*/ 68 h 224"/>
                  <a:gd name="T62" fmla="*/ 40 w 208"/>
                  <a:gd name="T63" fmla="*/ 0 h 224"/>
                  <a:gd name="T64" fmla="*/ 168 w 208"/>
                  <a:gd name="T65" fmla="*/ 0 h 224"/>
                  <a:gd name="T66" fmla="*/ 32 w 208"/>
                  <a:gd name="T67" fmla="*/ 192 h 224"/>
                  <a:gd name="T68" fmla="*/ 8 w 208"/>
                  <a:gd name="T69" fmla="*/ 192 h 224"/>
                  <a:gd name="T70" fmla="*/ 8 w 208"/>
                  <a:gd name="T71" fmla="*/ 216 h 224"/>
                  <a:gd name="T72" fmla="*/ 32 w 208"/>
                  <a:gd name="T73" fmla="*/ 216 h 224"/>
                  <a:gd name="T74" fmla="*/ 32 w 208"/>
                  <a:gd name="T75" fmla="*/ 192 h 224"/>
                  <a:gd name="T76" fmla="*/ 116 w 208"/>
                  <a:gd name="T77" fmla="*/ 192 h 224"/>
                  <a:gd name="T78" fmla="*/ 92 w 208"/>
                  <a:gd name="T79" fmla="*/ 192 h 224"/>
                  <a:gd name="T80" fmla="*/ 92 w 208"/>
                  <a:gd name="T81" fmla="*/ 216 h 224"/>
                  <a:gd name="T82" fmla="*/ 116 w 208"/>
                  <a:gd name="T83" fmla="*/ 216 h 224"/>
                  <a:gd name="T84" fmla="*/ 116 w 208"/>
                  <a:gd name="T85" fmla="*/ 192 h 224"/>
                  <a:gd name="T86" fmla="*/ 200 w 208"/>
                  <a:gd name="T87" fmla="*/ 192 h 224"/>
                  <a:gd name="T88" fmla="*/ 176 w 208"/>
                  <a:gd name="T89" fmla="*/ 192 h 224"/>
                  <a:gd name="T90" fmla="*/ 176 w 208"/>
                  <a:gd name="T91" fmla="*/ 216 h 224"/>
                  <a:gd name="T92" fmla="*/ 200 w 208"/>
                  <a:gd name="T93" fmla="*/ 216 h 224"/>
                  <a:gd name="T94" fmla="*/ 200 w 208"/>
                  <a:gd name="T95" fmla="*/ 192 h 224"/>
                  <a:gd name="T96" fmla="*/ 160 w 208"/>
                  <a:gd name="T97" fmla="*/ 8 h 224"/>
                  <a:gd name="T98" fmla="*/ 48 w 208"/>
                  <a:gd name="T99" fmla="*/ 8 h 224"/>
                  <a:gd name="T100" fmla="*/ 48 w 208"/>
                  <a:gd name="T101" fmla="*/ 60 h 224"/>
                  <a:gd name="T102" fmla="*/ 160 w 208"/>
                  <a:gd name="T103" fmla="*/ 60 h 224"/>
                  <a:gd name="T104" fmla="*/ 160 w 208"/>
                  <a:gd name="T105" fmla="*/ 8 h 224"/>
                  <a:gd name="T106" fmla="*/ 66 w 208"/>
                  <a:gd name="T107" fmla="*/ 36 h 224"/>
                  <a:gd name="T108" fmla="*/ 72 w 208"/>
                  <a:gd name="T109" fmla="*/ 42 h 224"/>
                  <a:gd name="T110" fmla="*/ 66 w 208"/>
                  <a:gd name="T111" fmla="*/ 48 h 224"/>
                  <a:gd name="T112" fmla="*/ 60 w 208"/>
                  <a:gd name="T113" fmla="*/ 42 h 224"/>
                  <a:gd name="T114" fmla="*/ 66 w 208"/>
                  <a:gd name="T115" fmla="*/ 3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8" h="224">
                    <a:moveTo>
                      <a:pt x="168" y="0"/>
                    </a:moveTo>
                    <a:cubicBezTo>
                      <a:pt x="168" y="68"/>
                      <a:pt x="168" y="68"/>
                      <a:pt x="168" y="68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08" y="124"/>
                      <a:pt x="108" y="124"/>
                      <a:pt x="108" y="124"/>
                    </a:cubicBezTo>
                    <a:cubicBezTo>
                      <a:pt x="192" y="124"/>
                      <a:pt x="192" y="124"/>
                      <a:pt x="192" y="124"/>
                    </a:cubicBezTo>
                    <a:cubicBezTo>
                      <a:pt x="192" y="184"/>
                      <a:pt x="192" y="184"/>
                      <a:pt x="192" y="184"/>
                    </a:cubicBezTo>
                    <a:cubicBezTo>
                      <a:pt x="208" y="184"/>
                      <a:pt x="208" y="184"/>
                      <a:pt x="208" y="184"/>
                    </a:cubicBezTo>
                    <a:cubicBezTo>
                      <a:pt x="208" y="224"/>
                      <a:pt x="208" y="224"/>
                      <a:pt x="208" y="224"/>
                    </a:cubicBezTo>
                    <a:cubicBezTo>
                      <a:pt x="168" y="224"/>
                      <a:pt x="168" y="224"/>
                      <a:pt x="168" y="224"/>
                    </a:cubicBezTo>
                    <a:cubicBezTo>
                      <a:pt x="168" y="184"/>
                      <a:pt x="168" y="184"/>
                      <a:pt x="168" y="184"/>
                    </a:cubicBezTo>
                    <a:cubicBezTo>
                      <a:pt x="184" y="184"/>
                      <a:pt x="184" y="184"/>
                      <a:pt x="184" y="184"/>
                    </a:cubicBezTo>
                    <a:cubicBezTo>
                      <a:pt x="184" y="132"/>
                      <a:pt x="184" y="132"/>
                      <a:pt x="184" y="132"/>
                    </a:cubicBezTo>
                    <a:cubicBezTo>
                      <a:pt x="108" y="132"/>
                      <a:pt x="108" y="132"/>
                      <a:pt x="108" y="132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24" y="184"/>
                      <a:pt x="124" y="184"/>
                      <a:pt x="124" y="184"/>
                    </a:cubicBezTo>
                    <a:cubicBezTo>
                      <a:pt x="124" y="224"/>
                      <a:pt x="124" y="224"/>
                      <a:pt x="124" y="224"/>
                    </a:cubicBezTo>
                    <a:cubicBezTo>
                      <a:pt x="84" y="224"/>
                      <a:pt x="84" y="224"/>
                      <a:pt x="84" y="224"/>
                    </a:cubicBezTo>
                    <a:cubicBezTo>
                      <a:pt x="84" y="184"/>
                      <a:pt x="84" y="184"/>
                      <a:pt x="84" y="184"/>
                    </a:cubicBezTo>
                    <a:cubicBezTo>
                      <a:pt x="100" y="184"/>
                      <a:pt x="100" y="184"/>
                      <a:pt x="100" y="184"/>
                    </a:cubicBezTo>
                    <a:cubicBezTo>
                      <a:pt x="100" y="132"/>
                      <a:pt x="100" y="132"/>
                      <a:pt x="100" y="132"/>
                    </a:cubicBezTo>
                    <a:cubicBezTo>
                      <a:pt x="24" y="132"/>
                      <a:pt x="24" y="132"/>
                      <a:pt x="24" y="132"/>
                    </a:cubicBezTo>
                    <a:cubicBezTo>
                      <a:pt x="24" y="184"/>
                      <a:pt x="24" y="184"/>
                      <a:pt x="24" y="184"/>
                    </a:cubicBezTo>
                    <a:cubicBezTo>
                      <a:pt x="40" y="184"/>
                      <a:pt x="40" y="184"/>
                      <a:pt x="40" y="184"/>
                    </a:cubicBezTo>
                    <a:cubicBezTo>
                      <a:pt x="40" y="224"/>
                      <a:pt x="40" y="224"/>
                      <a:pt x="40" y="224"/>
                    </a:cubicBezTo>
                    <a:cubicBezTo>
                      <a:pt x="0" y="224"/>
                      <a:pt x="0" y="224"/>
                      <a:pt x="0" y="22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16" y="184"/>
                      <a:pt x="16" y="184"/>
                      <a:pt x="16" y="184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00" y="124"/>
                      <a:pt x="100" y="124"/>
                      <a:pt x="100" y="124"/>
                    </a:cubicBezTo>
                    <a:cubicBezTo>
                      <a:pt x="100" y="68"/>
                      <a:pt x="100" y="68"/>
                      <a:pt x="100" y="68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40" y="0"/>
                      <a:pt x="40" y="0"/>
                      <a:pt x="40" y="0"/>
                    </a:cubicBezTo>
                    <a:lnTo>
                      <a:pt x="168" y="0"/>
                    </a:lnTo>
                    <a:close/>
                    <a:moveTo>
                      <a:pt x="32" y="192"/>
                    </a:moveTo>
                    <a:cubicBezTo>
                      <a:pt x="8" y="192"/>
                      <a:pt x="8" y="192"/>
                      <a:pt x="8" y="192"/>
                    </a:cubicBezTo>
                    <a:cubicBezTo>
                      <a:pt x="8" y="216"/>
                      <a:pt x="8" y="216"/>
                      <a:pt x="8" y="216"/>
                    </a:cubicBezTo>
                    <a:cubicBezTo>
                      <a:pt x="32" y="216"/>
                      <a:pt x="32" y="216"/>
                      <a:pt x="32" y="216"/>
                    </a:cubicBezTo>
                    <a:lnTo>
                      <a:pt x="32" y="192"/>
                    </a:lnTo>
                    <a:close/>
                    <a:moveTo>
                      <a:pt x="116" y="192"/>
                    </a:moveTo>
                    <a:cubicBezTo>
                      <a:pt x="92" y="192"/>
                      <a:pt x="92" y="192"/>
                      <a:pt x="92" y="192"/>
                    </a:cubicBezTo>
                    <a:cubicBezTo>
                      <a:pt x="92" y="216"/>
                      <a:pt x="92" y="216"/>
                      <a:pt x="92" y="216"/>
                    </a:cubicBezTo>
                    <a:cubicBezTo>
                      <a:pt x="116" y="216"/>
                      <a:pt x="116" y="216"/>
                      <a:pt x="116" y="216"/>
                    </a:cubicBezTo>
                    <a:lnTo>
                      <a:pt x="116" y="192"/>
                    </a:lnTo>
                    <a:close/>
                    <a:moveTo>
                      <a:pt x="200" y="192"/>
                    </a:moveTo>
                    <a:cubicBezTo>
                      <a:pt x="176" y="192"/>
                      <a:pt x="176" y="192"/>
                      <a:pt x="176" y="192"/>
                    </a:cubicBezTo>
                    <a:cubicBezTo>
                      <a:pt x="176" y="216"/>
                      <a:pt x="176" y="216"/>
                      <a:pt x="176" y="216"/>
                    </a:cubicBezTo>
                    <a:cubicBezTo>
                      <a:pt x="200" y="216"/>
                      <a:pt x="200" y="216"/>
                      <a:pt x="200" y="216"/>
                    </a:cubicBezTo>
                    <a:lnTo>
                      <a:pt x="200" y="192"/>
                    </a:lnTo>
                    <a:close/>
                    <a:moveTo>
                      <a:pt x="160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160" y="60"/>
                      <a:pt x="160" y="60"/>
                      <a:pt x="160" y="60"/>
                    </a:cubicBezTo>
                    <a:lnTo>
                      <a:pt x="160" y="8"/>
                    </a:lnTo>
                    <a:close/>
                    <a:moveTo>
                      <a:pt x="66" y="36"/>
                    </a:moveTo>
                    <a:cubicBezTo>
                      <a:pt x="69" y="36"/>
                      <a:pt x="72" y="39"/>
                      <a:pt x="72" y="42"/>
                    </a:cubicBezTo>
                    <a:cubicBezTo>
                      <a:pt x="72" y="45"/>
                      <a:pt x="69" y="48"/>
                      <a:pt x="66" y="48"/>
                    </a:cubicBezTo>
                    <a:cubicBezTo>
                      <a:pt x="63" y="48"/>
                      <a:pt x="60" y="45"/>
                      <a:pt x="60" y="42"/>
                    </a:cubicBezTo>
                    <a:cubicBezTo>
                      <a:pt x="60" y="39"/>
                      <a:pt x="63" y="36"/>
                      <a:pt x="66" y="3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</p:grpSp>
      <p:grpSp>
        <p:nvGrpSpPr>
          <p:cNvPr id="136" name="îṣļîḍê">
            <a:extLst>
              <a:ext uri="{FF2B5EF4-FFF2-40B4-BE49-F238E27FC236}">
                <a16:creationId xmlns:a16="http://schemas.microsoft.com/office/drawing/2014/main" id="{D2886852-CDAE-4A3A-AFF4-709E10494CE3}"/>
              </a:ext>
            </a:extLst>
          </p:cNvPr>
          <p:cNvGrpSpPr/>
          <p:nvPr/>
        </p:nvGrpSpPr>
        <p:grpSpPr>
          <a:xfrm>
            <a:off x="7727643" y="2984759"/>
            <a:ext cx="3791257" cy="1307583"/>
            <a:chOff x="7727643" y="1274400"/>
            <a:chExt cx="3791257" cy="1307583"/>
          </a:xfrm>
        </p:grpSpPr>
        <p:sp>
          <p:nvSpPr>
            <p:cNvPr id="145" name="iṩḻíḋe">
              <a:extLst>
                <a:ext uri="{FF2B5EF4-FFF2-40B4-BE49-F238E27FC236}">
                  <a16:creationId xmlns:a16="http://schemas.microsoft.com/office/drawing/2014/main" id="{D8487659-29D3-44A2-A419-374A45D927E4}"/>
                </a:ext>
              </a:extLst>
            </p:cNvPr>
            <p:cNvSpPr/>
            <p:nvPr/>
          </p:nvSpPr>
          <p:spPr bwMode="auto">
            <a:xfrm>
              <a:off x="8444827" y="1665958"/>
              <a:ext cx="3074073" cy="916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46" name="iṣḷidé">
              <a:extLst>
                <a:ext uri="{FF2B5EF4-FFF2-40B4-BE49-F238E27FC236}">
                  <a16:creationId xmlns:a16="http://schemas.microsoft.com/office/drawing/2014/main" id="{74762020-2096-44EB-A4D3-D972FF7416C8}"/>
                </a:ext>
              </a:extLst>
            </p:cNvPr>
            <p:cNvSpPr txBox="1"/>
            <p:nvPr/>
          </p:nvSpPr>
          <p:spPr bwMode="auto">
            <a:xfrm>
              <a:off x="8444827" y="1274400"/>
              <a:ext cx="3074073" cy="391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/>
                <a:t>02.Text here</a:t>
              </a:r>
            </a:p>
          </p:txBody>
        </p:sp>
        <p:grpSp>
          <p:nvGrpSpPr>
            <p:cNvPr id="147" name="íṣļíḑê">
              <a:extLst>
                <a:ext uri="{FF2B5EF4-FFF2-40B4-BE49-F238E27FC236}">
                  <a16:creationId xmlns:a16="http://schemas.microsoft.com/office/drawing/2014/main" id="{A4B2DEDF-279B-4625-B00E-978224D4BE94}"/>
                </a:ext>
              </a:extLst>
            </p:cNvPr>
            <p:cNvGrpSpPr/>
            <p:nvPr/>
          </p:nvGrpSpPr>
          <p:grpSpPr>
            <a:xfrm>
              <a:off x="7727643" y="1418547"/>
              <a:ext cx="549582" cy="550695"/>
              <a:chOff x="8360818" y="1492335"/>
              <a:chExt cx="907008" cy="908846"/>
            </a:xfrm>
          </p:grpSpPr>
          <p:sp>
            <p:nvSpPr>
              <p:cNvPr id="148" name="iSḷïḋè">
                <a:extLst>
                  <a:ext uri="{FF2B5EF4-FFF2-40B4-BE49-F238E27FC236}">
                    <a16:creationId xmlns:a16="http://schemas.microsoft.com/office/drawing/2014/main" id="{B17A71FA-4FEF-4521-9C17-A87FF7ACB5ED}"/>
                  </a:ext>
                </a:extLst>
              </p:cNvPr>
              <p:cNvSpPr/>
              <p:nvPr/>
            </p:nvSpPr>
            <p:spPr bwMode="auto">
              <a:xfrm>
                <a:off x="8360818" y="1492335"/>
                <a:ext cx="907008" cy="908846"/>
              </a:xfrm>
              <a:prstGeom prst="ellipse">
                <a:avLst/>
              </a:prstGeom>
              <a:solidFill>
                <a:schemeClr val="accent1"/>
              </a:solidFill>
              <a:ln w="57150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  <a:buNone/>
                </a:pPr>
                <a:endParaRPr lang="zh-CN" altLang="en-US" sz="1700"/>
              </a:p>
            </p:txBody>
          </p:sp>
          <p:sp>
            <p:nvSpPr>
              <p:cNvPr id="149" name="í$ḷîdê">
                <a:extLst>
                  <a:ext uri="{FF2B5EF4-FFF2-40B4-BE49-F238E27FC236}">
                    <a16:creationId xmlns:a16="http://schemas.microsoft.com/office/drawing/2014/main" id="{B69AF623-F920-4680-B79D-1F8362C7F32E}"/>
                  </a:ext>
                </a:extLst>
              </p:cNvPr>
              <p:cNvSpPr/>
              <p:nvPr/>
            </p:nvSpPr>
            <p:spPr bwMode="auto">
              <a:xfrm>
                <a:off x="8579892" y="1768644"/>
                <a:ext cx="468858" cy="356227"/>
              </a:xfrm>
              <a:custGeom>
                <a:avLst/>
                <a:gdLst>
                  <a:gd name="T0" fmla="*/ 224 w 224"/>
                  <a:gd name="T1" fmla="*/ 0 h 168"/>
                  <a:gd name="T2" fmla="*/ 224 w 224"/>
                  <a:gd name="T3" fmla="*/ 168 h 168"/>
                  <a:gd name="T4" fmla="*/ 0 w 224"/>
                  <a:gd name="T5" fmla="*/ 168 h 168"/>
                  <a:gd name="T6" fmla="*/ 0 w 224"/>
                  <a:gd name="T7" fmla="*/ 0 h 168"/>
                  <a:gd name="T8" fmla="*/ 224 w 224"/>
                  <a:gd name="T9" fmla="*/ 0 h 168"/>
                  <a:gd name="T10" fmla="*/ 157 w 224"/>
                  <a:gd name="T11" fmla="*/ 64 h 168"/>
                  <a:gd name="T12" fmla="*/ 104 w 224"/>
                  <a:gd name="T13" fmla="*/ 134 h 168"/>
                  <a:gd name="T14" fmla="*/ 59 w 224"/>
                  <a:gd name="T15" fmla="*/ 90 h 168"/>
                  <a:gd name="T16" fmla="*/ 8 w 224"/>
                  <a:gd name="T17" fmla="*/ 149 h 168"/>
                  <a:gd name="T18" fmla="*/ 8 w 224"/>
                  <a:gd name="T19" fmla="*/ 160 h 168"/>
                  <a:gd name="T20" fmla="*/ 216 w 224"/>
                  <a:gd name="T21" fmla="*/ 160 h 168"/>
                  <a:gd name="T22" fmla="*/ 216 w 224"/>
                  <a:gd name="T23" fmla="*/ 142 h 168"/>
                  <a:gd name="T24" fmla="*/ 157 w 224"/>
                  <a:gd name="T25" fmla="*/ 64 h 168"/>
                  <a:gd name="T26" fmla="*/ 216 w 224"/>
                  <a:gd name="T27" fmla="*/ 8 h 168"/>
                  <a:gd name="T28" fmla="*/ 8 w 224"/>
                  <a:gd name="T29" fmla="*/ 8 h 168"/>
                  <a:gd name="T30" fmla="*/ 8 w 224"/>
                  <a:gd name="T31" fmla="*/ 137 h 168"/>
                  <a:gd name="T32" fmla="*/ 58 w 224"/>
                  <a:gd name="T33" fmla="*/ 78 h 168"/>
                  <a:gd name="T34" fmla="*/ 103 w 224"/>
                  <a:gd name="T35" fmla="*/ 122 h 168"/>
                  <a:gd name="T36" fmla="*/ 158 w 224"/>
                  <a:gd name="T37" fmla="*/ 51 h 168"/>
                  <a:gd name="T38" fmla="*/ 216 w 224"/>
                  <a:gd name="T39" fmla="*/ 129 h 168"/>
                  <a:gd name="T40" fmla="*/ 216 w 224"/>
                  <a:gd name="T41" fmla="*/ 8 h 168"/>
                  <a:gd name="T42" fmla="*/ 40 w 224"/>
                  <a:gd name="T43" fmla="*/ 20 h 168"/>
                  <a:gd name="T44" fmla="*/ 60 w 224"/>
                  <a:gd name="T45" fmla="*/ 40 h 168"/>
                  <a:gd name="T46" fmla="*/ 40 w 224"/>
                  <a:gd name="T47" fmla="*/ 60 h 168"/>
                  <a:gd name="T48" fmla="*/ 20 w 224"/>
                  <a:gd name="T49" fmla="*/ 40 h 168"/>
                  <a:gd name="T50" fmla="*/ 40 w 224"/>
                  <a:gd name="T51" fmla="*/ 20 h 168"/>
                  <a:gd name="T52" fmla="*/ 40 w 224"/>
                  <a:gd name="T53" fmla="*/ 28 h 168"/>
                  <a:gd name="T54" fmla="*/ 28 w 224"/>
                  <a:gd name="T55" fmla="*/ 40 h 168"/>
                  <a:gd name="T56" fmla="*/ 40 w 224"/>
                  <a:gd name="T57" fmla="*/ 52 h 168"/>
                  <a:gd name="T58" fmla="*/ 52 w 224"/>
                  <a:gd name="T59" fmla="*/ 40 h 168"/>
                  <a:gd name="T60" fmla="*/ 40 w 224"/>
                  <a:gd name="T61" fmla="*/ 2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24" h="168">
                    <a:moveTo>
                      <a:pt x="224" y="0"/>
                    </a:moveTo>
                    <a:cubicBezTo>
                      <a:pt x="224" y="168"/>
                      <a:pt x="224" y="168"/>
                      <a:pt x="224" y="16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24" y="0"/>
                    </a:lnTo>
                    <a:close/>
                    <a:moveTo>
                      <a:pt x="157" y="64"/>
                    </a:moveTo>
                    <a:cubicBezTo>
                      <a:pt x="104" y="134"/>
                      <a:pt x="104" y="134"/>
                      <a:pt x="104" y="134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8" y="149"/>
                      <a:pt x="8" y="149"/>
                      <a:pt x="8" y="149"/>
                    </a:cubicBezTo>
                    <a:cubicBezTo>
                      <a:pt x="8" y="160"/>
                      <a:pt x="8" y="160"/>
                      <a:pt x="8" y="160"/>
                    </a:cubicBezTo>
                    <a:cubicBezTo>
                      <a:pt x="216" y="160"/>
                      <a:pt x="216" y="160"/>
                      <a:pt x="216" y="160"/>
                    </a:cubicBezTo>
                    <a:cubicBezTo>
                      <a:pt x="216" y="142"/>
                      <a:pt x="216" y="142"/>
                      <a:pt x="216" y="142"/>
                    </a:cubicBezTo>
                    <a:lnTo>
                      <a:pt x="157" y="64"/>
                    </a:lnTo>
                    <a:close/>
                    <a:moveTo>
                      <a:pt x="216" y="8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8" y="137"/>
                      <a:pt x="8" y="137"/>
                      <a:pt x="8" y="137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103" y="122"/>
                      <a:pt x="103" y="122"/>
                      <a:pt x="103" y="122"/>
                    </a:cubicBezTo>
                    <a:cubicBezTo>
                      <a:pt x="158" y="51"/>
                      <a:pt x="158" y="51"/>
                      <a:pt x="158" y="51"/>
                    </a:cubicBezTo>
                    <a:cubicBezTo>
                      <a:pt x="216" y="129"/>
                      <a:pt x="216" y="129"/>
                      <a:pt x="216" y="129"/>
                    </a:cubicBezTo>
                    <a:lnTo>
                      <a:pt x="216" y="8"/>
                    </a:lnTo>
                    <a:close/>
                    <a:moveTo>
                      <a:pt x="40" y="20"/>
                    </a:moveTo>
                    <a:cubicBezTo>
                      <a:pt x="51" y="20"/>
                      <a:pt x="60" y="29"/>
                      <a:pt x="60" y="40"/>
                    </a:cubicBezTo>
                    <a:cubicBezTo>
                      <a:pt x="60" y="51"/>
                      <a:pt x="51" y="60"/>
                      <a:pt x="40" y="60"/>
                    </a:cubicBezTo>
                    <a:cubicBezTo>
                      <a:pt x="29" y="60"/>
                      <a:pt x="20" y="51"/>
                      <a:pt x="20" y="40"/>
                    </a:cubicBezTo>
                    <a:cubicBezTo>
                      <a:pt x="20" y="29"/>
                      <a:pt x="29" y="20"/>
                      <a:pt x="40" y="20"/>
                    </a:cubicBezTo>
                    <a:close/>
                    <a:moveTo>
                      <a:pt x="40" y="28"/>
                    </a:moveTo>
                    <a:cubicBezTo>
                      <a:pt x="33" y="28"/>
                      <a:pt x="28" y="33"/>
                      <a:pt x="28" y="40"/>
                    </a:cubicBezTo>
                    <a:cubicBezTo>
                      <a:pt x="28" y="47"/>
                      <a:pt x="33" y="52"/>
                      <a:pt x="40" y="52"/>
                    </a:cubicBezTo>
                    <a:cubicBezTo>
                      <a:pt x="47" y="52"/>
                      <a:pt x="52" y="47"/>
                      <a:pt x="52" y="40"/>
                    </a:cubicBezTo>
                    <a:cubicBezTo>
                      <a:pt x="52" y="33"/>
                      <a:pt x="47" y="28"/>
                      <a:pt x="40" y="2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</p:grpSp>
      <p:grpSp>
        <p:nvGrpSpPr>
          <p:cNvPr id="137" name="iṧḻîdê">
            <a:extLst>
              <a:ext uri="{FF2B5EF4-FFF2-40B4-BE49-F238E27FC236}">
                <a16:creationId xmlns:a16="http://schemas.microsoft.com/office/drawing/2014/main" id="{E1DBAAD0-6E7E-4116-9B70-6EADE382EF7C}"/>
              </a:ext>
            </a:extLst>
          </p:cNvPr>
          <p:cNvGrpSpPr/>
          <p:nvPr/>
        </p:nvGrpSpPr>
        <p:grpSpPr>
          <a:xfrm>
            <a:off x="7727643" y="4839217"/>
            <a:ext cx="3791257" cy="1307583"/>
            <a:chOff x="7727643" y="1274400"/>
            <a:chExt cx="3791257" cy="1307583"/>
          </a:xfrm>
        </p:grpSpPr>
        <p:sp>
          <p:nvSpPr>
            <p:cNvPr id="140" name="îsļîḋé">
              <a:extLst>
                <a:ext uri="{FF2B5EF4-FFF2-40B4-BE49-F238E27FC236}">
                  <a16:creationId xmlns:a16="http://schemas.microsoft.com/office/drawing/2014/main" id="{4FF1C76A-717F-4FA2-8F48-2054F1C574B3}"/>
                </a:ext>
              </a:extLst>
            </p:cNvPr>
            <p:cNvSpPr/>
            <p:nvPr/>
          </p:nvSpPr>
          <p:spPr bwMode="auto">
            <a:xfrm>
              <a:off x="8444827" y="1665958"/>
              <a:ext cx="3074073" cy="916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41" name="ïSļîḑé">
              <a:extLst>
                <a:ext uri="{FF2B5EF4-FFF2-40B4-BE49-F238E27FC236}">
                  <a16:creationId xmlns:a16="http://schemas.microsoft.com/office/drawing/2014/main" id="{2AF37FE4-5932-4021-84AD-671494E5BAD2}"/>
                </a:ext>
              </a:extLst>
            </p:cNvPr>
            <p:cNvSpPr txBox="1"/>
            <p:nvPr/>
          </p:nvSpPr>
          <p:spPr bwMode="auto">
            <a:xfrm>
              <a:off x="8444827" y="1274400"/>
              <a:ext cx="3074073" cy="391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/>
                <a:t>03.Text here</a:t>
              </a:r>
            </a:p>
          </p:txBody>
        </p:sp>
        <p:grpSp>
          <p:nvGrpSpPr>
            <p:cNvPr id="142" name="iṥ1ïḋe">
              <a:extLst>
                <a:ext uri="{FF2B5EF4-FFF2-40B4-BE49-F238E27FC236}">
                  <a16:creationId xmlns:a16="http://schemas.microsoft.com/office/drawing/2014/main" id="{D25F63E2-FB53-4764-86EB-9105D2217142}"/>
                </a:ext>
              </a:extLst>
            </p:cNvPr>
            <p:cNvGrpSpPr/>
            <p:nvPr/>
          </p:nvGrpSpPr>
          <p:grpSpPr>
            <a:xfrm>
              <a:off x="7727643" y="1418547"/>
              <a:ext cx="549582" cy="550695"/>
              <a:chOff x="8360818" y="1492335"/>
              <a:chExt cx="907008" cy="908846"/>
            </a:xfrm>
          </p:grpSpPr>
          <p:sp>
            <p:nvSpPr>
              <p:cNvPr id="143" name="îṧḻïḑe">
                <a:extLst>
                  <a:ext uri="{FF2B5EF4-FFF2-40B4-BE49-F238E27FC236}">
                    <a16:creationId xmlns:a16="http://schemas.microsoft.com/office/drawing/2014/main" id="{EE8A17D5-CF34-4D02-AFB2-CFB9A6D3541C}"/>
                  </a:ext>
                </a:extLst>
              </p:cNvPr>
              <p:cNvSpPr/>
              <p:nvPr/>
            </p:nvSpPr>
            <p:spPr bwMode="auto">
              <a:xfrm>
                <a:off x="8360818" y="1492335"/>
                <a:ext cx="907008" cy="908846"/>
              </a:xfrm>
              <a:prstGeom prst="ellipse">
                <a:avLst/>
              </a:prstGeom>
              <a:solidFill>
                <a:schemeClr val="accent1"/>
              </a:solidFill>
              <a:ln w="57150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700">
                  <a:solidFill>
                    <a:schemeClr val="tx1"/>
                  </a:solidFill>
                </a:endParaRPr>
              </a:p>
            </p:txBody>
          </p:sp>
          <p:sp>
            <p:nvSpPr>
              <p:cNvPr id="144" name="i$ļiḑe">
                <a:extLst>
                  <a:ext uri="{FF2B5EF4-FFF2-40B4-BE49-F238E27FC236}">
                    <a16:creationId xmlns:a16="http://schemas.microsoft.com/office/drawing/2014/main" id="{36F3CFF0-B3B7-45EE-91AB-E1866FE46200}"/>
                  </a:ext>
                </a:extLst>
              </p:cNvPr>
              <p:cNvSpPr/>
              <p:nvPr/>
            </p:nvSpPr>
            <p:spPr bwMode="auto">
              <a:xfrm>
                <a:off x="8582482" y="1712329"/>
                <a:ext cx="463677" cy="468858"/>
              </a:xfrm>
              <a:custGeom>
                <a:avLst/>
                <a:gdLst>
                  <a:gd name="T0" fmla="*/ 160 w 224"/>
                  <a:gd name="T1" fmla="*/ 0 h 224"/>
                  <a:gd name="T2" fmla="*/ 160 w 224"/>
                  <a:gd name="T3" fmla="*/ 48 h 224"/>
                  <a:gd name="T4" fmla="*/ 224 w 224"/>
                  <a:gd name="T5" fmla="*/ 48 h 224"/>
                  <a:gd name="T6" fmla="*/ 224 w 224"/>
                  <a:gd name="T7" fmla="*/ 176 h 224"/>
                  <a:gd name="T8" fmla="*/ 160 w 224"/>
                  <a:gd name="T9" fmla="*/ 176 h 224"/>
                  <a:gd name="T10" fmla="*/ 160 w 224"/>
                  <a:gd name="T11" fmla="*/ 224 h 224"/>
                  <a:gd name="T12" fmla="*/ 64 w 224"/>
                  <a:gd name="T13" fmla="*/ 224 h 224"/>
                  <a:gd name="T14" fmla="*/ 64 w 224"/>
                  <a:gd name="T15" fmla="*/ 176 h 224"/>
                  <a:gd name="T16" fmla="*/ 0 w 224"/>
                  <a:gd name="T17" fmla="*/ 176 h 224"/>
                  <a:gd name="T18" fmla="*/ 0 w 224"/>
                  <a:gd name="T19" fmla="*/ 76 h 224"/>
                  <a:gd name="T20" fmla="*/ 26 w 224"/>
                  <a:gd name="T21" fmla="*/ 48 h 224"/>
                  <a:gd name="T22" fmla="*/ 64 w 224"/>
                  <a:gd name="T23" fmla="*/ 48 h 224"/>
                  <a:gd name="T24" fmla="*/ 64 w 224"/>
                  <a:gd name="T25" fmla="*/ 0 h 224"/>
                  <a:gd name="T26" fmla="*/ 160 w 224"/>
                  <a:gd name="T27" fmla="*/ 0 h 224"/>
                  <a:gd name="T28" fmla="*/ 152 w 224"/>
                  <a:gd name="T29" fmla="*/ 120 h 224"/>
                  <a:gd name="T30" fmla="*/ 72 w 224"/>
                  <a:gd name="T31" fmla="*/ 120 h 224"/>
                  <a:gd name="T32" fmla="*/ 72 w 224"/>
                  <a:gd name="T33" fmla="*/ 216 h 224"/>
                  <a:gd name="T34" fmla="*/ 152 w 224"/>
                  <a:gd name="T35" fmla="*/ 216 h 224"/>
                  <a:gd name="T36" fmla="*/ 152 w 224"/>
                  <a:gd name="T37" fmla="*/ 120 h 224"/>
                  <a:gd name="T38" fmla="*/ 216 w 224"/>
                  <a:gd name="T39" fmla="*/ 56 h 224"/>
                  <a:gd name="T40" fmla="*/ 30 w 224"/>
                  <a:gd name="T41" fmla="*/ 56 h 224"/>
                  <a:gd name="T42" fmla="*/ 8 w 224"/>
                  <a:gd name="T43" fmla="*/ 80 h 224"/>
                  <a:gd name="T44" fmla="*/ 8 w 224"/>
                  <a:gd name="T45" fmla="*/ 168 h 224"/>
                  <a:gd name="T46" fmla="*/ 64 w 224"/>
                  <a:gd name="T47" fmla="*/ 168 h 224"/>
                  <a:gd name="T48" fmla="*/ 64 w 224"/>
                  <a:gd name="T49" fmla="*/ 112 h 224"/>
                  <a:gd name="T50" fmla="*/ 160 w 224"/>
                  <a:gd name="T51" fmla="*/ 112 h 224"/>
                  <a:gd name="T52" fmla="*/ 160 w 224"/>
                  <a:gd name="T53" fmla="*/ 168 h 224"/>
                  <a:gd name="T54" fmla="*/ 216 w 224"/>
                  <a:gd name="T55" fmla="*/ 168 h 224"/>
                  <a:gd name="T56" fmla="*/ 216 w 224"/>
                  <a:gd name="T57" fmla="*/ 56 h 224"/>
                  <a:gd name="T58" fmla="*/ 194 w 224"/>
                  <a:gd name="T59" fmla="*/ 72 h 224"/>
                  <a:gd name="T60" fmla="*/ 200 w 224"/>
                  <a:gd name="T61" fmla="*/ 78 h 224"/>
                  <a:gd name="T62" fmla="*/ 194 w 224"/>
                  <a:gd name="T63" fmla="*/ 84 h 224"/>
                  <a:gd name="T64" fmla="*/ 188 w 224"/>
                  <a:gd name="T65" fmla="*/ 78 h 224"/>
                  <a:gd name="T66" fmla="*/ 194 w 224"/>
                  <a:gd name="T67" fmla="*/ 72 h 224"/>
                  <a:gd name="T68" fmla="*/ 152 w 224"/>
                  <a:gd name="T69" fmla="*/ 8 h 224"/>
                  <a:gd name="T70" fmla="*/ 72 w 224"/>
                  <a:gd name="T71" fmla="*/ 8 h 224"/>
                  <a:gd name="T72" fmla="*/ 72 w 224"/>
                  <a:gd name="T73" fmla="*/ 48 h 224"/>
                  <a:gd name="T74" fmla="*/ 152 w 224"/>
                  <a:gd name="T75" fmla="*/ 48 h 224"/>
                  <a:gd name="T76" fmla="*/ 152 w 224"/>
                  <a:gd name="T77" fmla="*/ 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24" h="224">
                    <a:moveTo>
                      <a:pt x="160" y="0"/>
                    </a:moveTo>
                    <a:cubicBezTo>
                      <a:pt x="160" y="48"/>
                      <a:pt x="160" y="48"/>
                      <a:pt x="160" y="48"/>
                    </a:cubicBezTo>
                    <a:cubicBezTo>
                      <a:pt x="224" y="48"/>
                      <a:pt x="224" y="48"/>
                      <a:pt x="224" y="48"/>
                    </a:cubicBezTo>
                    <a:cubicBezTo>
                      <a:pt x="224" y="176"/>
                      <a:pt x="224" y="176"/>
                      <a:pt x="224" y="176"/>
                    </a:cubicBezTo>
                    <a:cubicBezTo>
                      <a:pt x="160" y="176"/>
                      <a:pt x="160" y="176"/>
                      <a:pt x="160" y="176"/>
                    </a:cubicBezTo>
                    <a:cubicBezTo>
                      <a:pt x="160" y="224"/>
                      <a:pt x="160" y="224"/>
                      <a:pt x="160" y="224"/>
                    </a:cubicBezTo>
                    <a:cubicBezTo>
                      <a:pt x="64" y="224"/>
                      <a:pt x="64" y="224"/>
                      <a:pt x="64" y="224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64" y="48"/>
                      <a:pt x="64" y="48"/>
                      <a:pt x="64" y="48"/>
                    </a:cubicBezTo>
                    <a:cubicBezTo>
                      <a:pt x="64" y="0"/>
                      <a:pt x="64" y="0"/>
                      <a:pt x="64" y="0"/>
                    </a:cubicBezTo>
                    <a:lnTo>
                      <a:pt x="160" y="0"/>
                    </a:lnTo>
                    <a:close/>
                    <a:moveTo>
                      <a:pt x="152" y="120"/>
                    </a:moveTo>
                    <a:cubicBezTo>
                      <a:pt x="72" y="120"/>
                      <a:pt x="72" y="120"/>
                      <a:pt x="72" y="120"/>
                    </a:cubicBezTo>
                    <a:cubicBezTo>
                      <a:pt x="72" y="216"/>
                      <a:pt x="72" y="216"/>
                      <a:pt x="72" y="216"/>
                    </a:cubicBezTo>
                    <a:cubicBezTo>
                      <a:pt x="152" y="216"/>
                      <a:pt x="152" y="216"/>
                      <a:pt x="152" y="216"/>
                    </a:cubicBezTo>
                    <a:lnTo>
                      <a:pt x="152" y="120"/>
                    </a:lnTo>
                    <a:close/>
                    <a:moveTo>
                      <a:pt x="216" y="56"/>
                    </a:moveTo>
                    <a:cubicBezTo>
                      <a:pt x="30" y="56"/>
                      <a:pt x="30" y="56"/>
                      <a:pt x="30" y="56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168"/>
                      <a:pt x="8" y="168"/>
                      <a:pt x="8" y="168"/>
                    </a:cubicBezTo>
                    <a:cubicBezTo>
                      <a:pt x="64" y="168"/>
                      <a:pt x="64" y="168"/>
                      <a:pt x="64" y="168"/>
                    </a:cubicBezTo>
                    <a:cubicBezTo>
                      <a:pt x="64" y="112"/>
                      <a:pt x="64" y="112"/>
                      <a:pt x="64" y="112"/>
                    </a:cubicBezTo>
                    <a:cubicBezTo>
                      <a:pt x="160" y="112"/>
                      <a:pt x="160" y="112"/>
                      <a:pt x="160" y="112"/>
                    </a:cubicBezTo>
                    <a:cubicBezTo>
                      <a:pt x="160" y="168"/>
                      <a:pt x="160" y="168"/>
                      <a:pt x="160" y="168"/>
                    </a:cubicBezTo>
                    <a:cubicBezTo>
                      <a:pt x="216" y="168"/>
                      <a:pt x="216" y="168"/>
                      <a:pt x="216" y="168"/>
                    </a:cubicBezTo>
                    <a:lnTo>
                      <a:pt x="216" y="56"/>
                    </a:lnTo>
                    <a:close/>
                    <a:moveTo>
                      <a:pt x="194" y="72"/>
                    </a:moveTo>
                    <a:cubicBezTo>
                      <a:pt x="197" y="72"/>
                      <a:pt x="200" y="75"/>
                      <a:pt x="200" y="78"/>
                    </a:cubicBezTo>
                    <a:cubicBezTo>
                      <a:pt x="200" y="81"/>
                      <a:pt x="197" y="84"/>
                      <a:pt x="194" y="84"/>
                    </a:cubicBezTo>
                    <a:cubicBezTo>
                      <a:pt x="191" y="84"/>
                      <a:pt x="188" y="81"/>
                      <a:pt x="188" y="78"/>
                    </a:cubicBezTo>
                    <a:cubicBezTo>
                      <a:pt x="188" y="75"/>
                      <a:pt x="191" y="72"/>
                      <a:pt x="194" y="72"/>
                    </a:cubicBezTo>
                    <a:close/>
                    <a:moveTo>
                      <a:pt x="152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48"/>
                      <a:pt x="72" y="48"/>
                      <a:pt x="72" y="48"/>
                    </a:cubicBezTo>
                    <a:cubicBezTo>
                      <a:pt x="152" y="48"/>
                      <a:pt x="152" y="48"/>
                      <a:pt x="152" y="48"/>
                    </a:cubicBezTo>
                    <a:lnTo>
                      <a:pt x="152" y="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</p:grpSp>
      <p:cxnSp>
        <p:nvCxnSpPr>
          <p:cNvPr id="138" name="直接连接符 137">
            <a:extLst>
              <a:ext uri="{FF2B5EF4-FFF2-40B4-BE49-F238E27FC236}">
                <a16:creationId xmlns:a16="http://schemas.microsoft.com/office/drawing/2014/main" id="{920DC772-5391-4A67-A7B7-12D0E11B12FF}"/>
              </a:ext>
            </a:extLst>
          </p:cNvPr>
          <p:cNvCxnSpPr/>
          <p:nvPr/>
        </p:nvCxnSpPr>
        <p:spPr>
          <a:xfrm>
            <a:off x="8526000" y="2664000"/>
            <a:ext cx="299290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直接连接符 138">
            <a:extLst>
              <a:ext uri="{FF2B5EF4-FFF2-40B4-BE49-F238E27FC236}">
                <a16:creationId xmlns:a16="http://schemas.microsoft.com/office/drawing/2014/main" id="{6950D9A3-5B9A-4514-A08D-707856DB0C02}"/>
              </a:ext>
            </a:extLst>
          </p:cNvPr>
          <p:cNvCxnSpPr/>
          <p:nvPr/>
        </p:nvCxnSpPr>
        <p:spPr>
          <a:xfrm>
            <a:off x="8526000" y="4549950"/>
            <a:ext cx="299290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7167941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6C78904-2D6B-41AD-BA5A-02FC2F9F9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B6F1094-EE28-49DF-967D-ABD00E328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6BB1B59-BD0A-490D-8324-749C57481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21" name="ïṧľíḑé">
            <a:extLst>
              <a:ext uri="{FF2B5EF4-FFF2-40B4-BE49-F238E27FC236}">
                <a16:creationId xmlns:a16="http://schemas.microsoft.com/office/drawing/2014/main" id="{53EC9E73-5FFD-42D3-8184-9C76D6D9C7B0}"/>
              </a:ext>
            </a:extLst>
          </p:cNvPr>
          <p:cNvSpPr/>
          <p:nvPr/>
        </p:nvSpPr>
        <p:spPr bwMode="auto">
          <a:xfrm>
            <a:off x="4380457" y="1923011"/>
            <a:ext cx="1712808" cy="1712806"/>
          </a:xfrm>
          <a:custGeom>
            <a:avLst/>
            <a:gdLst/>
            <a:ahLst/>
            <a:cxnLst>
              <a:cxn ang="0">
                <a:pos x="421" y="0"/>
              </a:cxn>
              <a:cxn ang="0">
                <a:pos x="0" y="421"/>
              </a:cxn>
              <a:cxn ang="0">
                <a:pos x="421" y="421"/>
              </a:cxn>
              <a:cxn ang="0">
                <a:pos x="421" y="0"/>
              </a:cxn>
            </a:cxnLst>
            <a:rect l="0" t="0" r="r" b="b"/>
            <a:pathLst>
              <a:path w="421" h="421">
                <a:moveTo>
                  <a:pt x="421" y="0"/>
                </a:moveTo>
                <a:cubicBezTo>
                  <a:pt x="188" y="0"/>
                  <a:pt x="0" y="189"/>
                  <a:pt x="0" y="421"/>
                </a:cubicBezTo>
                <a:cubicBezTo>
                  <a:pt x="421" y="421"/>
                  <a:pt x="421" y="421"/>
                  <a:pt x="421" y="421"/>
                </a:cubicBezTo>
                <a:lnTo>
                  <a:pt x="421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" name="işľïďè">
            <a:extLst>
              <a:ext uri="{FF2B5EF4-FFF2-40B4-BE49-F238E27FC236}">
                <a16:creationId xmlns:a16="http://schemas.microsoft.com/office/drawing/2014/main" id="{9D72705D-8798-48F3-951B-C8A20B85EE98}"/>
              </a:ext>
            </a:extLst>
          </p:cNvPr>
          <p:cNvSpPr/>
          <p:nvPr/>
        </p:nvSpPr>
        <p:spPr bwMode="auto">
          <a:xfrm>
            <a:off x="4380457" y="3635813"/>
            <a:ext cx="1712808" cy="171827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21" y="422"/>
              </a:cxn>
              <a:cxn ang="0">
                <a:pos x="421" y="0"/>
              </a:cxn>
              <a:cxn ang="0">
                <a:pos x="0" y="0"/>
              </a:cxn>
            </a:cxnLst>
            <a:rect l="0" t="0" r="r" b="b"/>
            <a:pathLst>
              <a:path w="421" h="422">
                <a:moveTo>
                  <a:pt x="0" y="0"/>
                </a:moveTo>
                <a:cubicBezTo>
                  <a:pt x="0" y="233"/>
                  <a:pt x="188" y="422"/>
                  <a:pt x="421" y="422"/>
                </a:cubicBezTo>
                <a:cubicBezTo>
                  <a:pt x="421" y="0"/>
                  <a:pt x="421" y="0"/>
                  <a:pt x="421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3" name="iṥ1îḋè">
            <a:extLst>
              <a:ext uri="{FF2B5EF4-FFF2-40B4-BE49-F238E27FC236}">
                <a16:creationId xmlns:a16="http://schemas.microsoft.com/office/drawing/2014/main" id="{ED5B0C43-6769-481E-9665-A3295C3EEE95}"/>
              </a:ext>
            </a:extLst>
          </p:cNvPr>
          <p:cNvSpPr/>
          <p:nvPr/>
        </p:nvSpPr>
        <p:spPr bwMode="auto">
          <a:xfrm>
            <a:off x="6093265" y="1923011"/>
            <a:ext cx="1718278" cy="171280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421"/>
              </a:cxn>
              <a:cxn ang="0">
                <a:pos x="422" y="421"/>
              </a:cxn>
              <a:cxn ang="0">
                <a:pos x="0" y="0"/>
              </a:cxn>
            </a:cxnLst>
            <a:rect l="0" t="0" r="r" b="b"/>
            <a:pathLst>
              <a:path w="422" h="421"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421"/>
                  <a:pt x="0" y="421"/>
                  <a:pt x="0" y="421"/>
                </a:cubicBezTo>
                <a:cubicBezTo>
                  <a:pt x="422" y="421"/>
                  <a:pt x="422" y="421"/>
                  <a:pt x="422" y="421"/>
                </a:cubicBezTo>
                <a:cubicBezTo>
                  <a:pt x="422" y="189"/>
                  <a:pt x="233" y="0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4" name="iṧļîďè">
            <a:extLst>
              <a:ext uri="{FF2B5EF4-FFF2-40B4-BE49-F238E27FC236}">
                <a16:creationId xmlns:a16="http://schemas.microsoft.com/office/drawing/2014/main" id="{149B85A6-6FF2-4952-94E2-39F9FF61F1BC}"/>
              </a:ext>
            </a:extLst>
          </p:cNvPr>
          <p:cNvSpPr/>
          <p:nvPr/>
        </p:nvSpPr>
        <p:spPr bwMode="auto">
          <a:xfrm>
            <a:off x="6093265" y="3635813"/>
            <a:ext cx="1718278" cy="1718276"/>
          </a:xfrm>
          <a:custGeom>
            <a:avLst/>
            <a:gdLst/>
            <a:ahLst/>
            <a:cxnLst>
              <a:cxn ang="0">
                <a:pos x="0" y="422"/>
              </a:cxn>
              <a:cxn ang="0">
                <a:pos x="0" y="422"/>
              </a:cxn>
              <a:cxn ang="0">
                <a:pos x="422" y="0"/>
              </a:cxn>
              <a:cxn ang="0">
                <a:pos x="0" y="0"/>
              </a:cxn>
              <a:cxn ang="0">
                <a:pos x="0" y="422"/>
              </a:cxn>
            </a:cxnLst>
            <a:rect l="0" t="0" r="r" b="b"/>
            <a:pathLst>
              <a:path w="422" h="422">
                <a:moveTo>
                  <a:pt x="0" y="422"/>
                </a:moveTo>
                <a:cubicBezTo>
                  <a:pt x="0" y="422"/>
                  <a:pt x="0" y="422"/>
                  <a:pt x="0" y="422"/>
                </a:cubicBezTo>
                <a:cubicBezTo>
                  <a:pt x="233" y="422"/>
                  <a:pt x="422" y="233"/>
                  <a:pt x="422" y="0"/>
                </a:cubicBezTo>
                <a:cubicBezTo>
                  <a:pt x="0" y="0"/>
                  <a:pt x="0" y="0"/>
                  <a:pt x="0" y="0"/>
                </a:cubicBezTo>
                <a:lnTo>
                  <a:pt x="0" y="42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5" name="î$1íde">
            <a:extLst>
              <a:ext uri="{FF2B5EF4-FFF2-40B4-BE49-F238E27FC236}">
                <a16:creationId xmlns:a16="http://schemas.microsoft.com/office/drawing/2014/main" id="{274EE675-95A9-4D73-B24A-216D6EBC2FC9}"/>
              </a:ext>
            </a:extLst>
          </p:cNvPr>
          <p:cNvSpPr/>
          <p:nvPr/>
        </p:nvSpPr>
        <p:spPr bwMode="auto">
          <a:xfrm>
            <a:off x="5305264" y="2847814"/>
            <a:ext cx="1581475" cy="1581472"/>
          </a:xfrm>
          <a:custGeom>
            <a:avLst/>
            <a:gdLst/>
            <a:ahLst/>
            <a:cxnLst>
              <a:cxn ang="0">
                <a:pos x="384" y="155"/>
              </a:cxn>
              <a:cxn ang="0">
                <a:pos x="255" y="10"/>
              </a:cxn>
              <a:cxn ang="0">
                <a:pos x="205" y="1"/>
              </a:cxn>
              <a:cxn ang="0">
                <a:pos x="155" y="4"/>
              </a:cxn>
              <a:cxn ang="0">
                <a:pos x="10" y="134"/>
              </a:cxn>
              <a:cxn ang="0">
                <a:pos x="1" y="183"/>
              </a:cxn>
              <a:cxn ang="0">
                <a:pos x="4" y="234"/>
              </a:cxn>
              <a:cxn ang="0">
                <a:pos x="134" y="379"/>
              </a:cxn>
              <a:cxn ang="0">
                <a:pos x="183" y="388"/>
              </a:cxn>
              <a:cxn ang="0">
                <a:pos x="234" y="384"/>
              </a:cxn>
              <a:cxn ang="0">
                <a:pos x="379" y="255"/>
              </a:cxn>
              <a:cxn ang="0">
                <a:pos x="388" y="205"/>
              </a:cxn>
              <a:cxn ang="0">
                <a:pos x="384" y="155"/>
              </a:cxn>
            </a:cxnLst>
            <a:rect l="0" t="0" r="r" b="b"/>
            <a:pathLst>
              <a:path w="389" h="389">
                <a:moveTo>
                  <a:pt x="384" y="155"/>
                </a:moveTo>
                <a:cubicBezTo>
                  <a:pt x="370" y="87"/>
                  <a:pt x="321" y="32"/>
                  <a:pt x="255" y="10"/>
                </a:cubicBezTo>
                <a:cubicBezTo>
                  <a:pt x="239" y="5"/>
                  <a:pt x="222" y="2"/>
                  <a:pt x="205" y="1"/>
                </a:cubicBezTo>
                <a:cubicBezTo>
                  <a:pt x="188" y="0"/>
                  <a:pt x="171" y="1"/>
                  <a:pt x="155" y="4"/>
                </a:cubicBezTo>
                <a:cubicBezTo>
                  <a:pt x="87" y="18"/>
                  <a:pt x="31" y="68"/>
                  <a:pt x="10" y="134"/>
                </a:cubicBezTo>
                <a:cubicBezTo>
                  <a:pt x="5" y="150"/>
                  <a:pt x="1" y="166"/>
                  <a:pt x="1" y="183"/>
                </a:cubicBezTo>
                <a:cubicBezTo>
                  <a:pt x="0" y="201"/>
                  <a:pt x="1" y="218"/>
                  <a:pt x="4" y="234"/>
                </a:cubicBezTo>
                <a:cubicBezTo>
                  <a:pt x="18" y="302"/>
                  <a:pt x="68" y="357"/>
                  <a:pt x="134" y="379"/>
                </a:cubicBezTo>
                <a:cubicBezTo>
                  <a:pt x="149" y="384"/>
                  <a:pt x="166" y="387"/>
                  <a:pt x="183" y="388"/>
                </a:cubicBezTo>
                <a:cubicBezTo>
                  <a:pt x="201" y="389"/>
                  <a:pt x="217" y="388"/>
                  <a:pt x="234" y="384"/>
                </a:cubicBezTo>
                <a:cubicBezTo>
                  <a:pt x="301" y="370"/>
                  <a:pt x="357" y="321"/>
                  <a:pt x="379" y="255"/>
                </a:cubicBezTo>
                <a:cubicBezTo>
                  <a:pt x="384" y="239"/>
                  <a:pt x="387" y="223"/>
                  <a:pt x="388" y="205"/>
                </a:cubicBezTo>
                <a:cubicBezTo>
                  <a:pt x="389" y="188"/>
                  <a:pt x="388" y="171"/>
                  <a:pt x="384" y="155"/>
                </a:cubicBezTo>
                <a:close/>
              </a:path>
            </a:pathLst>
          </a:custGeom>
          <a:solidFill>
            <a:srgbClr val="FDFDFE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sz="2800" b="1" dirty="0">
                <a:solidFill>
                  <a:schemeClr val="accent1"/>
                </a:solidFill>
              </a:rPr>
              <a:t>Text</a:t>
            </a:r>
            <a:endParaRPr sz="2800" b="1" dirty="0">
              <a:solidFill>
                <a:schemeClr val="accent1"/>
              </a:solidFill>
            </a:endParaRPr>
          </a:p>
        </p:txBody>
      </p:sp>
      <p:sp>
        <p:nvSpPr>
          <p:cNvPr id="36" name="îŝḻide">
            <a:extLst>
              <a:ext uri="{FF2B5EF4-FFF2-40B4-BE49-F238E27FC236}">
                <a16:creationId xmlns:a16="http://schemas.microsoft.com/office/drawing/2014/main" id="{4A9CE905-D028-45E1-8A71-793DDAA8E8E7}"/>
              </a:ext>
            </a:extLst>
          </p:cNvPr>
          <p:cNvSpPr/>
          <p:nvPr/>
        </p:nvSpPr>
        <p:spPr>
          <a:xfrm>
            <a:off x="4893349" y="2512286"/>
            <a:ext cx="571996" cy="571996"/>
          </a:xfrm>
          <a:prstGeom prst="ellipse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8" name="íṣlïḑe">
            <a:extLst>
              <a:ext uri="{FF2B5EF4-FFF2-40B4-BE49-F238E27FC236}">
                <a16:creationId xmlns:a16="http://schemas.microsoft.com/office/drawing/2014/main" id="{C33BEB91-2DFA-4431-A3B5-B3FD1F36A2CA}"/>
              </a:ext>
            </a:extLst>
          </p:cNvPr>
          <p:cNvSpPr/>
          <p:nvPr/>
        </p:nvSpPr>
        <p:spPr bwMode="auto">
          <a:xfrm>
            <a:off x="5047151" y="2664611"/>
            <a:ext cx="264391" cy="267346"/>
          </a:xfrm>
          <a:custGeom>
            <a:avLst/>
            <a:gdLst>
              <a:gd name="T0" fmla="*/ 160 w 224"/>
              <a:gd name="T1" fmla="*/ 0 h 224"/>
              <a:gd name="T2" fmla="*/ 160 w 224"/>
              <a:gd name="T3" fmla="*/ 48 h 224"/>
              <a:gd name="T4" fmla="*/ 224 w 224"/>
              <a:gd name="T5" fmla="*/ 48 h 224"/>
              <a:gd name="T6" fmla="*/ 224 w 224"/>
              <a:gd name="T7" fmla="*/ 176 h 224"/>
              <a:gd name="T8" fmla="*/ 160 w 224"/>
              <a:gd name="T9" fmla="*/ 176 h 224"/>
              <a:gd name="T10" fmla="*/ 160 w 224"/>
              <a:gd name="T11" fmla="*/ 224 h 224"/>
              <a:gd name="T12" fmla="*/ 64 w 224"/>
              <a:gd name="T13" fmla="*/ 224 h 224"/>
              <a:gd name="T14" fmla="*/ 64 w 224"/>
              <a:gd name="T15" fmla="*/ 176 h 224"/>
              <a:gd name="T16" fmla="*/ 0 w 224"/>
              <a:gd name="T17" fmla="*/ 176 h 224"/>
              <a:gd name="T18" fmla="*/ 0 w 224"/>
              <a:gd name="T19" fmla="*/ 76 h 224"/>
              <a:gd name="T20" fmla="*/ 26 w 224"/>
              <a:gd name="T21" fmla="*/ 48 h 224"/>
              <a:gd name="T22" fmla="*/ 64 w 224"/>
              <a:gd name="T23" fmla="*/ 48 h 224"/>
              <a:gd name="T24" fmla="*/ 64 w 224"/>
              <a:gd name="T25" fmla="*/ 0 h 224"/>
              <a:gd name="T26" fmla="*/ 160 w 224"/>
              <a:gd name="T27" fmla="*/ 0 h 224"/>
              <a:gd name="T28" fmla="*/ 152 w 224"/>
              <a:gd name="T29" fmla="*/ 120 h 224"/>
              <a:gd name="T30" fmla="*/ 72 w 224"/>
              <a:gd name="T31" fmla="*/ 120 h 224"/>
              <a:gd name="T32" fmla="*/ 72 w 224"/>
              <a:gd name="T33" fmla="*/ 216 h 224"/>
              <a:gd name="T34" fmla="*/ 152 w 224"/>
              <a:gd name="T35" fmla="*/ 216 h 224"/>
              <a:gd name="T36" fmla="*/ 152 w 224"/>
              <a:gd name="T37" fmla="*/ 120 h 224"/>
              <a:gd name="T38" fmla="*/ 216 w 224"/>
              <a:gd name="T39" fmla="*/ 56 h 224"/>
              <a:gd name="T40" fmla="*/ 30 w 224"/>
              <a:gd name="T41" fmla="*/ 56 h 224"/>
              <a:gd name="T42" fmla="*/ 8 w 224"/>
              <a:gd name="T43" fmla="*/ 80 h 224"/>
              <a:gd name="T44" fmla="*/ 8 w 224"/>
              <a:gd name="T45" fmla="*/ 168 h 224"/>
              <a:gd name="T46" fmla="*/ 64 w 224"/>
              <a:gd name="T47" fmla="*/ 168 h 224"/>
              <a:gd name="T48" fmla="*/ 64 w 224"/>
              <a:gd name="T49" fmla="*/ 112 h 224"/>
              <a:gd name="T50" fmla="*/ 160 w 224"/>
              <a:gd name="T51" fmla="*/ 112 h 224"/>
              <a:gd name="T52" fmla="*/ 160 w 224"/>
              <a:gd name="T53" fmla="*/ 168 h 224"/>
              <a:gd name="T54" fmla="*/ 216 w 224"/>
              <a:gd name="T55" fmla="*/ 168 h 224"/>
              <a:gd name="T56" fmla="*/ 216 w 224"/>
              <a:gd name="T57" fmla="*/ 56 h 224"/>
              <a:gd name="T58" fmla="*/ 194 w 224"/>
              <a:gd name="T59" fmla="*/ 72 h 224"/>
              <a:gd name="T60" fmla="*/ 200 w 224"/>
              <a:gd name="T61" fmla="*/ 78 h 224"/>
              <a:gd name="T62" fmla="*/ 194 w 224"/>
              <a:gd name="T63" fmla="*/ 84 h 224"/>
              <a:gd name="T64" fmla="*/ 188 w 224"/>
              <a:gd name="T65" fmla="*/ 78 h 224"/>
              <a:gd name="T66" fmla="*/ 194 w 224"/>
              <a:gd name="T67" fmla="*/ 72 h 224"/>
              <a:gd name="T68" fmla="*/ 152 w 224"/>
              <a:gd name="T69" fmla="*/ 8 h 224"/>
              <a:gd name="T70" fmla="*/ 72 w 224"/>
              <a:gd name="T71" fmla="*/ 8 h 224"/>
              <a:gd name="T72" fmla="*/ 72 w 224"/>
              <a:gd name="T73" fmla="*/ 48 h 224"/>
              <a:gd name="T74" fmla="*/ 152 w 224"/>
              <a:gd name="T75" fmla="*/ 48 h 224"/>
              <a:gd name="T76" fmla="*/ 152 w 224"/>
              <a:gd name="T77" fmla="*/ 8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24" h="224">
                <a:moveTo>
                  <a:pt x="160" y="0"/>
                </a:moveTo>
                <a:cubicBezTo>
                  <a:pt x="160" y="48"/>
                  <a:pt x="160" y="48"/>
                  <a:pt x="160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6"/>
                  <a:pt x="224" y="176"/>
                  <a:pt x="224" y="176"/>
                </a:cubicBezTo>
                <a:cubicBezTo>
                  <a:pt x="160" y="176"/>
                  <a:pt x="160" y="176"/>
                  <a:pt x="160" y="176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64" y="224"/>
                  <a:pt x="64" y="224"/>
                  <a:pt x="64" y="224"/>
                </a:cubicBezTo>
                <a:cubicBezTo>
                  <a:pt x="64" y="176"/>
                  <a:pt x="64" y="176"/>
                  <a:pt x="64" y="176"/>
                </a:cubicBezTo>
                <a:cubicBezTo>
                  <a:pt x="0" y="176"/>
                  <a:pt x="0" y="176"/>
                  <a:pt x="0" y="176"/>
                </a:cubicBezTo>
                <a:cubicBezTo>
                  <a:pt x="0" y="76"/>
                  <a:pt x="0" y="76"/>
                  <a:pt x="0" y="76"/>
                </a:cubicBezTo>
                <a:cubicBezTo>
                  <a:pt x="26" y="48"/>
                  <a:pt x="26" y="48"/>
                  <a:pt x="26" y="48"/>
                </a:cubicBezTo>
                <a:cubicBezTo>
                  <a:pt x="64" y="48"/>
                  <a:pt x="64" y="48"/>
                  <a:pt x="64" y="48"/>
                </a:cubicBezTo>
                <a:cubicBezTo>
                  <a:pt x="64" y="0"/>
                  <a:pt x="64" y="0"/>
                  <a:pt x="64" y="0"/>
                </a:cubicBezTo>
                <a:lnTo>
                  <a:pt x="160" y="0"/>
                </a:lnTo>
                <a:close/>
                <a:moveTo>
                  <a:pt x="152" y="120"/>
                </a:moveTo>
                <a:cubicBezTo>
                  <a:pt x="72" y="120"/>
                  <a:pt x="72" y="120"/>
                  <a:pt x="72" y="120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152" y="216"/>
                  <a:pt x="152" y="216"/>
                  <a:pt x="152" y="216"/>
                </a:cubicBezTo>
                <a:lnTo>
                  <a:pt x="152" y="120"/>
                </a:lnTo>
                <a:close/>
                <a:moveTo>
                  <a:pt x="216" y="56"/>
                </a:moveTo>
                <a:cubicBezTo>
                  <a:pt x="30" y="56"/>
                  <a:pt x="30" y="56"/>
                  <a:pt x="30" y="56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168"/>
                  <a:pt x="8" y="168"/>
                  <a:pt x="8" y="168"/>
                </a:cubicBezTo>
                <a:cubicBezTo>
                  <a:pt x="64" y="168"/>
                  <a:pt x="64" y="168"/>
                  <a:pt x="64" y="168"/>
                </a:cubicBezTo>
                <a:cubicBezTo>
                  <a:pt x="64" y="112"/>
                  <a:pt x="64" y="112"/>
                  <a:pt x="64" y="112"/>
                </a:cubicBezTo>
                <a:cubicBezTo>
                  <a:pt x="160" y="112"/>
                  <a:pt x="160" y="112"/>
                  <a:pt x="160" y="112"/>
                </a:cubicBezTo>
                <a:cubicBezTo>
                  <a:pt x="160" y="168"/>
                  <a:pt x="160" y="168"/>
                  <a:pt x="160" y="168"/>
                </a:cubicBezTo>
                <a:cubicBezTo>
                  <a:pt x="216" y="168"/>
                  <a:pt x="216" y="168"/>
                  <a:pt x="216" y="168"/>
                </a:cubicBezTo>
                <a:lnTo>
                  <a:pt x="216" y="56"/>
                </a:lnTo>
                <a:close/>
                <a:moveTo>
                  <a:pt x="194" y="72"/>
                </a:moveTo>
                <a:cubicBezTo>
                  <a:pt x="197" y="72"/>
                  <a:pt x="200" y="75"/>
                  <a:pt x="200" y="78"/>
                </a:cubicBezTo>
                <a:cubicBezTo>
                  <a:pt x="200" y="81"/>
                  <a:pt x="197" y="84"/>
                  <a:pt x="194" y="84"/>
                </a:cubicBezTo>
                <a:cubicBezTo>
                  <a:pt x="191" y="84"/>
                  <a:pt x="188" y="81"/>
                  <a:pt x="188" y="78"/>
                </a:cubicBezTo>
                <a:cubicBezTo>
                  <a:pt x="188" y="75"/>
                  <a:pt x="191" y="72"/>
                  <a:pt x="194" y="72"/>
                </a:cubicBezTo>
                <a:close/>
                <a:moveTo>
                  <a:pt x="152" y="8"/>
                </a:moveTo>
                <a:cubicBezTo>
                  <a:pt x="72" y="8"/>
                  <a:pt x="72" y="8"/>
                  <a:pt x="72" y="8"/>
                </a:cubicBezTo>
                <a:cubicBezTo>
                  <a:pt x="72" y="48"/>
                  <a:pt x="72" y="48"/>
                  <a:pt x="72" y="48"/>
                </a:cubicBezTo>
                <a:cubicBezTo>
                  <a:pt x="152" y="48"/>
                  <a:pt x="152" y="48"/>
                  <a:pt x="152" y="48"/>
                </a:cubicBezTo>
                <a:lnTo>
                  <a:pt x="152" y="8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4" name="îṥlïḍé">
            <a:extLst>
              <a:ext uri="{FF2B5EF4-FFF2-40B4-BE49-F238E27FC236}">
                <a16:creationId xmlns:a16="http://schemas.microsoft.com/office/drawing/2014/main" id="{963A414F-E810-4336-B641-7835EAD4D95E}"/>
              </a:ext>
            </a:extLst>
          </p:cNvPr>
          <p:cNvSpPr/>
          <p:nvPr/>
        </p:nvSpPr>
        <p:spPr>
          <a:xfrm>
            <a:off x="6726656" y="2512286"/>
            <a:ext cx="571996" cy="571996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2" name="isḻiḓè">
            <a:extLst>
              <a:ext uri="{FF2B5EF4-FFF2-40B4-BE49-F238E27FC236}">
                <a16:creationId xmlns:a16="http://schemas.microsoft.com/office/drawing/2014/main" id="{A9A5D62C-C634-44D6-B252-17716BF9D4A3}"/>
              </a:ext>
            </a:extLst>
          </p:cNvPr>
          <p:cNvSpPr/>
          <p:nvPr/>
        </p:nvSpPr>
        <p:spPr>
          <a:xfrm>
            <a:off x="6726656" y="4192818"/>
            <a:ext cx="571996" cy="571996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5" name="iś1íḓé">
            <a:extLst>
              <a:ext uri="{FF2B5EF4-FFF2-40B4-BE49-F238E27FC236}">
                <a16:creationId xmlns:a16="http://schemas.microsoft.com/office/drawing/2014/main" id="{3D585AB9-F65C-406C-AA1F-FAB05969B6EF}"/>
              </a:ext>
            </a:extLst>
          </p:cNvPr>
          <p:cNvSpPr/>
          <p:nvPr/>
        </p:nvSpPr>
        <p:spPr bwMode="auto">
          <a:xfrm>
            <a:off x="6861501" y="2645442"/>
            <a:ext cx="302307" cy="305685"/>
          </a:xfrm>
          <a:custGeom>
            <a:avLst/>
            <a:gdLst>
              <a:gd name="T0" fmla="*/ 160 w 224"/>
              <a:gd name="T1" fmla="*/ 0 h 224"/>
              <a:gd name="T2" fmla="*/ 160 w 224"/>
              <a:gd name="T3" fmla="*/ 48 h 224"/>
              <a:gd name="T4" fmla="*/ 224 w 224"/>
              <a:gd name="T5" fmla="*/ 48 h 224"/>
              <a:gd name="T6" fmla="*/ 224 w 224"/>
              <a:gd name="T7" fmla="*/ 176 h 224"/>
              <a:gd name="T8" fmla="*/ 160 w 224"/>
              <a:gd name="T9" fmla="*/ 176 h 224"/>
              <a:gd name="T10" fmla="*/ 160 w 224"/>
              <a:gd name="T11" fmla="*/ 224 h 224"/>
              <a:gd name="T12" fmla="*/ 64 w 224"/>
              <a:gd name="T13" fmla="*/ 224 h 224"/>
              <a:gd name="T14" fmla="*/ 64 w 224"/>
              <a:gd name="T15" fmla="*/ 176 h 224"/>
              <a:gd name="T16" fmla="*/ 0 w 224"/>
              <a:gd name="T17" fmla="*/ 176 h 224"/>
              <a:gd name="T18" fmla="*/ 0 w 224"/>
              <a:gd name="T19" fmla="*/ 76 h 224"/>
              <a:gd name="T20" fmla="*/ 26 w 224"/>
              <a:gd name="T21" fmla="*/ 48 h 224"/>
              <a:gd name="T22" fmla="*/ 64 w 224"/>
              <a:gd name="T23" fmla="*/ 48 h 224"/>
              <a:gd name="T24" fmla="*/ 64 w 224"/>
              <a:gd name="T25" fmla="*/ 0 h 224"/>
              <a:gd name="T26" fmla="*/ 160 w 224"/>
              <a:gd name="T27" fmla="*/ 0 h 224"/>
              <a:gd name="T28" fmla="*/ 152 w 224"/>
              <a:gd name="T29" fmla="*/ 120 h 224"/>
              <a:gd name="T30" fmla="*/ 72 w 224"/>
              <a:gd name="T31" fmla="*/ 120 h 224"/>
              <a:gd name="T32" fmla="*/ 72 w 224"/>
              <a:gd name="T33" fmla="*/ 216 h 224"/>
              <a:gd name="T34" fmla="*/ 152 w 224"/>
              <a:gd name="T35" fmla="*/ 216 h 224"/>
              <a:gd name="T36" fmla="*/ 152 w 224"/>
              <a:gd name="T37" fmla="*/ 120 h 224"/>
              <a:gd name="T38" fmla="*/ 216 w 224"/>
              <a:gd name="T39" fmla="*/ 56 h 224"/>
              <a:gd name="T40" fmla="*/ 30 w 224"/>
              <a:gd name="T41" fmla="*/ 56 h 224"/>
              <a:gd name="T42" fmla="*/ 8 w 224"/>
              <a:gd name="T43" fmla="*/ 80 h 224"/>
              <a:gd name="T44" fmla="*/ 8 w 224"/>
              <a:gd name="T45" fmla="*/ 168 h 224"/>
              <a:gd name="T46" fmla="*/ 64 w 224"/>
              <a:gd name="T47" fmla="*/ 168 h 224"/>
              <a:gd name="T48" fmla="*/ 64 w 224"/>
              <a:gd name="T49" fmla="*/ 112 h 224"/>
              <a:gd name="T50" fmla="*/ 160 w 224"/>
              <a:gd name="T51" fmla="*/ 112 h 224"/>
              <a:gd name="T52" fmla="*/ 160 w 224"/>
              <a:gd name="T53" fmla="*/ 168 h 224"/>
              <a:gd name="T54" fmla="*/ 216 w 224"/>
              <a:gd name="T55" fmla="*/ 168 h 224"/>
              <a:gd name="T56" fmla="*/ 216 w 224"/>
              <a:gd name="T57" fmla="*/ 56 h 224"/>
              <a:gd name="T58" fmla="*/ 194 w 224"/>
              <a:gd name="T59" fmla="*/ 72 h 224"/>
              <a:gd name="T60" fmla="*/ 200 w 224"/>
              <a:gd name="T61" fmla="*/ 78 h 224"/>
              <a:gd name="T62" fmla="*/ 194 w 224"/>
              <a:gd name="T63" fmla="*/ 84 h 224"/>
              <a:gd name="T64" fmla="*/ 188 w 224"/>
              <a:gd name="T65" fmla="*/ 78 h 224"/>
              <a:gd name="T66" fmla="*/ 194 w 224"/>
              <a:gd name="T67" fmla="*/ 72 h 224"/>
              <a:gd name="T68" fmla="*/ 152 w 224"/>
              <a:gd name="T69" fmla="*/ 8 h 224"/>
              <a:gd name="T70" fmla="*/ 72 w 224"/>
              <a:gd name="T71" fmla="*/ 8 h 224"/>
              <a:gd name="T72" fmla="*/ 72 w 224"/>
              <a:gd name="T73" fmla="*/ 48 h 224"/>
              <a:gd name="T74" fmla="*/ 152 w 224"/>
              <a:gd name="T75" fmla="*/ 48 h 224"/>
              <a:gd name="T76" fmla="*/ 152 w 224"/>
              <a:gd name="T77" fmla="*/ 8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24" h="224">
                <a:moveTo>
                  <a:pt x="160" y="0"/>
                </a:moveTo>
                <a:cubicBezTo>
                  <a:pt x="160" y="48"/>
                  <a:pt x="160" y="48"/>
                  <a:pt x="160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6"/>
                  <a:pt x="224" y="176"/>
                  <a:pt x="224" y="176"/>
                </a:cubicBezTo>
                <a:cubicBezTo>
                  <a:pt x="160" y="176"/>
                  <a:pt x="160" y="176"/>
                  <a:pt x="160" y="176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64" y="224"/>
                  <a:pt x="64" y="224"/>
                  <a:pt x="64" y="224"/>
                </a:cubicBezTo>
                <a:cubicBezTo>
                  <a:pt x="64" y="176"/>
                  <a:pt x="64" y="176"/>
                  <a:pt x="64" y="176"/>
                </a:cubicBezTo>
                <a:cubicBezTo>
                  <a:pt x="0" y="176"/>
                  <a:pt x="0" y="176"/>
                  <a:pt x="0" y="176"/>
                </a:cubicBezTo>
                <a:cubicBezTo>
                  <a:pt x="0" y="76"/>
                  <a:pt x="0" y="76"/>
                  <a:pt x="0" y="76"/>
                </a:cubicBezTo>
                <a:cubicBezTo>
                  <a:pt x="26" y="48"/>
                  <a:pt x="26" y="48"/>
                  <a:pt x="26" y="48"/>
                </a:cubicBezTo>
                <a:cubicBezTo>
                  <a:pt x="64" y="48"/>
                  <a:pt x="64" y="48"/>
                  <a:pt x="64" y="48"/>
                </a:cubicBezTo>
                <a:cubicBezTo>
                  <a:pt x="64" y="0"/>
                  <a:pt x="64" y="0"/>
                  <a:pt x="64" y="0"/>
                </a:cubicBezTo>
                <a:lnTo>
                  <a:pt x="160" y="0"/>
                </a:lnTo>
                <a:close/>
                <a:moveTo>
                  <a:pt x="152" y="120"/>
                </a:moveTo>
                <a:cubicBezTo>
                  <a:pt x="72" y="120"/>
                  <a:pt x="72" y="120"/>
                  <a:pt x="72" y="120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152" y="216"/>
                  <a:pt x="152" y="216"/>
                  <a:pt x="152" y="216"/>
                </a:cubicBezTo>
                <a:lnTo>
                  <a:pt x="152" y="120"/>
                </a:lnTo>
                <a:close/>
                <a:moveTo>
                  <a:pt x="216" y="56"/>
                </a:moveTo>
                <a:cubicBezTo>
                  <a:pt x="30" y="56"/>
                  <a:pt x="30" y="56"/>
                  <a:pt x="30" y="56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168"/>
                  <a:pt x="8" y="168"/>
                  <a:pt x="8" y="168"/>
                </a:cubicBezTo>
                <a:cubicBezTo>
                  <a:pt x="64" y="168"/>
                  <a:pt x="64" y="168"/>
                  <a:pt x="64" y="168"/>
                </a:cubicBezTo>
                <a:cubicBezTo>
                  <a:pt x="64" y="112"/>
                  <a:pt x="64" y="112"/>
                  <a:pt x="64" y="112"/>
                </a:cubicBezTo>
                <a:cubicBezTo>
                  <a:pt x="160" y="112"/>
                  <a:pt x="160" y="112"/>
                  <a:pt x="160" y="112"/>
                </a:cubicBezTo>
                <a:cubicBezTo>
                  <a:pt x="160" y="168"/>
                  <a:pt x="160" y="168"/>
                  <a:pt x="160" y="168"/>
                </a:cubicBezTo>
                <a:cubicBezTo>
                  <a:pt x="216" y="168"/>
                  <a:pt x="216" y="168"/>
                  <a:pt x="216" y="168"/>
                </a:cubicBezTo>
                <a:lnTo>
                  <a:pt x="216" y="56"/>
                </a:lnTo>
                <a:close/>
                <a:moveTo>
                  <a:pt x="194" y="72"/>
                </a:moveTo>
                <a:cubicBezTo>
                  <a:pt x="197" y="72"/>
                  <a:pt x="200" y="75"/>
                  <a:pt x="200" y="78"/>
                </a:cubicBezTo>
                <a:cubicBezTo>
                  <a:pt x="200" y="81"/>
                  <a:pt x="197" y="84"/>
                  <a:pt x="194" y="84"/>
                </a:cubicBezTo>
                <a:cubicBezTo>
                  <a:pt x="191" y="84"/>
                  <a:pt x="188" y="81"/>
                  <a:pt x="188" y="78"/>
                </a:cubicBezTo>
                <a:cubicBezTo>
                  <a:pt x="188" y="75"/>
                  <a:pt x="191" y="72"/>
                  <a:pt x="194" y="72"/>
                </a:cubicBezTo>
                <a:close/>
                <a:moveTo>
                  <a:pt x="152" y="8"/>
                </a:moveTo>
                <a:cubicBezTo>
                  <a:pt x="72" y="8"/>
                  <a:pt x="72" y="8"/>
                  <a:pt x="72" y="8"/>
                </a:cubicBezTo>
                <a:cubicBezTo>
                  <a:pt x="72" y="48"/>
                  <a:pt x="72" y="48"/>
                  <a:pt x="72" y="48"/>
                </a:cubicBezTo>
                <a:cubicBezTo>
                  <a:pt x="152" y="48"/>
                  <a:pt x="152" y="48"/>
                  <a:pt x="152" y="48"/>
                </a:cubicBezTo>
                <a:lnTo>
                  <a:pt x="152" y="8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0" name="íşľïdé">
            <a:extLst>
              <a:ext uri="{FF2B5EF4-FFF2-40B4-BE49-F238E27FC236}">
                <a16:creationId xmlns:a16="http://schemas.microsoft.com/office/drawing/2014/main" id="{2BE21156-183D-4CEC-B4A2-8F6CB5FCAC5B}"/>
              </a:ext>
            </a:extLst>
          </p:cNvPr>
          <p:cNvSpPr/>
          <p:nvPr/>
        </p:nvSpPr>
        <p:spPr>
          <a:xfrm>
            <a:off x="4893349" y="4192818"/>
            <a:ext cx="571996" cy="571996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AE86868A-D306-4CD9-816A-8B827DCB5712}"/>
              </a:ext>
            </a:extLst>
          </p:cNvPr>
          <p:cNvCxnSpPr>
            <a:cxnSpLocks/>
          </p:cNvCxnSpPr>
          <p:nvPr/>
        </p:nvCxnSpPr>
        <p:spPr>
          <a:xfrm>
            <a:off x="670718" y="3399564"/>
            <a:ext cx="281528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iś1íďè">
            <a:extLst>
              <a:ext uri="{FF2B5EF4-FFF2-40B4-BE49-F238E27FC236}">
                <a16:creationId xmlns:a16="http://schemas.microsoft.com/office/drawing/2014/main" id="{C94DBD6B-2C91-465F-BE7F-EC407404A00F}"/>
              </a:ext>
            </a:extLst>
          </p:cNvPr>
          <p:cNvSpPr/>
          <p:nvPr/>
        </p:nvSpPr>
        <p:spPr bwMode="auto">
          <a:xfrm>
            <a:off x="5068326" y="4328853"/>
            <a:ext cx="222043" cy="299925"/>
          </a:xfrm>
          <a:custGeom>
            <a:avLst/>
            <a:gdLst>
              <a:gd name="T0" fmla="*/ 197 w 268"/>
              <a:gd name="T1" fmla="*/ 0 h 362"/>
              <a:gd name="T2" fmla="*/ 197 w 268"/>
              <a:gd name="T3" fmla="*/ 25 h 362"/>
              <a:gd name="T4" fmla="*/ 268 w 268"/>
              <a:gd name="T5" fmla="*/ 25 h 362"/>
              <a:gd name="T6" fmla="*/ 268 w 268"/>
              <a:gd name="T7" fmla="*/ 362 h 362"/>
              <a:gd name="T8" fmla="*/ 0 w 268"/>
              <a:gd name="T9" fmla="*/ 362 h 362"/>
              <a:gd name="T10" fmla="*/ 0 w 268"/>
              <a:gd name="T11" fmla="*/ 25 h 362"/>
              <a:gd name="T12" fmla="*/ 70 w 268"/>
              <a:gd name="T13" fmla="*/ 25 h 362"/>
              <a:gd name="T14" fmla="*/ 70 w 268"/>
              <a:gd name="T15" fmla="*/ 0 h 362"/>
              <a:gd name="T16" fmla="*/ 197 w 268"/>
              <a:gd name="T17" fmla="*/ 0 h 362"/>
              <a:gd name="T18" fmla="*/ 70 w 268"/>
              <a:gd name="T19" fmla="*/ 38 h 362"/>
              <a:gd name="T20" fmla="*/ 12 w 268"/>
              <a:gd name="T21" fmla="*/ 38 h 362"/>
              <a:gd name="T22" fmla="*/ 12 w 268"/>
              <a:gd name="T23" fmla="*/ 349 h 362"/>
              <a:gd name="T24" fmla="*/ 255 w 268"/>
              <a:gd name="T25" fmla="*/ 349 h 362"/>
              <a:gd name="T26" fmla="*/ 255 w 268"/>
              <a:gd name="T27" fmla="*/ 38 h 362"/>
              <a:gd name="T28" fmla="*/ 197 w 268"/>
              <a:gd name="T29" fmla="*/ 38 h 362"/>
              <a:gd name="T30" fmla="*/ 197 w 268"/>
              <a:gd name="T31" fmla="*/ 64 h 362"/>
              <a:gd name="T32" fmla="*/ 70 w 268"/>
              <a:gd name="T33" fmla="*/ 64 h 362"/>
              <a:gd name="T34" fmla="*/ 70 w 268"/>
              <a:gd name="T35" fmla="*/ 38 h 362"/>
              <a:gd name="T36" fmla="*/ 134 w 268"/>
              <a:gd name="T37" fmla="*/ 233 h 362"/>
              <a:gd name="T38" fmla="*/ 134 w 268"/>
              <a:gd name="T39" fmla="*/ 246 h 362"/>
              <a:gd name="T40" fmla="*/ 57 w 268"/>
              <a:gd name="T41" fmla="*/ 246 h 362"/>
              <a:gd name="T42" fmla="*/ 57 w 268"/>
              <a:gd name="T43" fmla="*/ 233 h 362"/>
              <a:gd name="T44" fmla="*/ 134 w 268"/>
              <a:gd name="T45" fmla="*/ 233 h 362"/>
              <a:gd name="T46" fmla="*/ 210 w 268"/>
              <a:gd name="T47" fmla="*/ 181 h 362"/>
              <a:gd name="T48" fmla="*/ 210 w 268"/>
              <a:gd name="T49" fmla="*/ 194 h 362"/>
              <a:gd name="T50" fmla="*/ 57 w 268"/>
              <a:gd name="T51" fmla="*/ 194 h 362"/>
              <a:gd name="T52" fmla="*/ 57 w 268"/>
              <a:gd name="T53" fmla="*/ 181 h 362"/>
              <a:gd name="T54" fmla="*/ 210 w 268"/>
              <a:gd name="T55" fmla="*/ 181 h 362"/>
              <a:gd name="T56" fmla="*/ 210 w 268"/>
              <a:gd name="T57" fmla="*/ 129 h 362"/>
              <a:gd name="T58" fmla="*/ 210 w 268"/>
              <a:gd name="T59" fmla="*/ 142 h 362"/>
              <a:gd name="T60" fmla="*/ 57 w 268"/>
              <a:gd name="T61" fmla="*/ 142 h 362"/>
              <a:gd name="T62" fmla="*/ 57 w 268"/>
              <a:gd name="T63" fmla="*/ 129 h 362"/>
              <a:gd name="T64" fmla="*/ 210 w 268"/>
              <a:gd name="T65" fmla="*/ 129 h 362"/>
              <a:gd name="T66" fmla="*/ 185 w 268"/>
              <a:gd name="T67" fmla="*/ 12 h 362"/>
              <a:gd name="T68" fmla="*/ 83 w 268"/>
              <a:gd name="T69" fmla="*/ 12 h 362"/>
              <a:gd name="T70" fmla="*/ 83 w 268"/>
              <a:gd name="T71" fmla="*/ 51 h 362"/>
              <a:gd name="T72" fmla="*/ 185 w 268"/>
              <a:gd name="T73" fmla="*/ 51 h 362"/>
              <a:gd name="T74" fmla="*/ 185 w 268"/>
              <a:gd name="T75" fmla="*/ 12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68" h="362">
                <a:moveTo>
                  <a:pt x="197" y="0"/>
                </a:moveTo>
                <a:lnTo>
                  <a:pt x="197" y="25"/>
                </a:lnTo>
                <a:lnTo>
                  <a:pt x="268" y="25"/>
                </a:lnTo>
                <a:lnTo>
                  <a:pt x="268" y="362"/>
                </a:lnTo>
                <a:lnTo>
                  <a:pt x="0" y="362"/>
                </a:lnTo>
                <a:lnTo>
                  <a:pt x="0" y="25"/>
                </a:lnTo>
                <a:lnTo>
                  <a:pt x="70" y="25"/>
                </a:lnTo>
                <a:lnTo>
                  <a:pt x="70" y="0"/>
                </a:lnTo>
                <a:lnTo>
                  <a:pt x="197" y="0"/>
                </a:lnTo>
                <a:close/>
                <a:moveTo>
                  <a:pt x="70" y="38"/>
                </a:moveTo>
                <a:lnTo>
                  <a:pt x="12" y="38"/>
                </a:lnTo>
                <a:lnTo>
                  <a:pt x="12" y="349"/>
                </a:lnTo>
                <a:lnTo>
                  <a:pt x="255" y="349"/>
                </a:lnTo>
                <a:lnTo>
                  <a:pt x="255" y="38"/>
                </a:lnTo>
                <a:lnTo>
                  <a:pt x="197" y="38"/>
                </a:lnTo>
                <a:lnTo>
                  <a:pt x="197" y="64"/>
                </a:lnTo>
                <a:lnTo>
                  <a:pt x="70" y="64"/>
                </a:lnTo>
                <a:lnTo>
                  <a:pt x="70" y="38"/>
                </a:lnTo>
                <a:close/>
                <a:moveTo>
                  <a:pt x="134" y="233"/>
                </a:moveTo>
                <a:lnTo>
                  <a:pt x="134" y="246"/>
                </a:lnTo>
                <a:lnTo>
                  <a:pt x="57" y="246"/>
                </a:lnTo>
                <a:lnTo>
                  <a:pt x="57" y="233"/>
                </a:lnTo>
                <a:lnTo>
                  <a:pt x="134" y="233"/>
                </a:lnTo>
                <a:close/>
                <a:moveTo>
                  <a:pt x="210" y="181"/>
                </a:moveTo>
                <a:lnTo>
                  <a:pt x="210" y="194"/>
                </a:lnTo>
                <a:lnTo>
                  <a:pt x="57" y="194"/>
                </a:lnTo>
                <a:lnTo>
                  <a:pt x="57" y="181"/>
                </a:lnTo>
                <a:lnTo>
                  <a:pt x="210" y="181"/>
                </a:lnTo>
                <a:close/>
                <a:moveTo>
                  <a:pt x="210" y="129"/>
                </a:moveTo>
                <a:lnTo>
                  <a:pt x="210" y="142"/>
                </a:lnTo>
                <a:lnTo>
                  <a:pt x="57" y="142"/>
                </a:lnTo>
                <a:lnTo>
                  <a:pt x="57" y="129"/>
                </a:lnTo>
                <a:lnTo>
                  <a:pt x="210" y="129"/>
                </a:lnTo>
                <a:close/>
                <a:moveTo>
                  <a:pt x="185" y="12"/>
                </a:moveTo>
                <a:lnTo>
                  <a:pt x="83" y="12"/>
                </a:lnTo>
                <a:lnTo>
                  <a:pt x="83" y="51"/>
                </a:lnTo>
                <a:lnTo>
                  <a:pt x="185" y="51"/>
                </a:lnTo>
                <a:lnTo>
                  <a:pt x="185" y="1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9" name="išḷíḋê">
            <a:extLst>
              <a:ext uri="{FF2B5EF4-FFF2-40B4-BE49-F238E27FC236}">
                <a16:creationId xmlns:a16="http://schemas.microsoft.com/office/drawing/2014/main" id="{0D9E8A89-E296-4C1D-994F-83434A1949DA}"/>
              </a:ext>
            </a:extLst>
          </p:cNvPr>
          <p:cNvSpPr/>
          <p:nvPr/>
        </p:nvSpPr>
        <p:spPr bwMode="auto">
          <a:xfrm>
            <a:off x="670718" y="2068675"/>
            <a:ext cx="2906074" cy="864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sp>
        <p:nvSpPr>
          <p:cNvPr id="20" name="iś1íḋê">
            <a:extLst>
              <a:ext uri="{FF2B5EF4-FFF2-40B4-BE49-F238E27FC236}">
                <a16:creationId xmlns:a16="http://schemas.microsoft.com/office/drawing/2014/main" id="{7D4FFF94-4B14-4976-8914-E0134944CEEE}"/>
              </a:ext>
            </a:extLst>
          </p:cNvPr>
          <p:cNvSpPr txBox="1"/>
          <p:nvPr/>
        </p:nvSpPr>
        <p:spPr bwMode="auto">
          <a:xfrm>
            <a:off x="670718" y="1626871"/>
            <a:ext cx="2906075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  <p:sp>
        <p:nvSpPr>
          <p:cNvPr id="17" name="iṩḷïḋê">
            <a:extLst>
              <a:ext uri="{FF2B5EF4-FFF2-40B4-BE49-F238E27FC236}">
                <a16:creationId xmlns:a16="http://schemas.microsoft.com/office/drawing/2014/main" id="{FA230EC3-DA4E-4AE7-8DF6-670688A4C6E7}"/>
              </a:ext>
            </a:extLst>
          </p:cNvPr>
          <p:cNvSpPr/>
          <p:nvPr/>
        </p:nvSpPr>
        <p:spPr bwMode="auto">
          <a:xfrm>
            <a:off x="670718" y="4366394"/>
            <a:ext cx="2906074" cy="864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sp>
        <p:nvSpPr>
          <p:cNvPr id="18" name="íṥľiḍè">
            <a:extLst>
              <a:ext uri="{FF2B5EF4-FFF2-40B4-BE49-F238E27FC236}">
                <a16:creationId xmlns:a16="http://schemas.microsoft.com/office/drawing/2014/main" id="{ACD5F842-FD42-4D48-9E04-9F251626759D}"/>
              </a:ext>
            </a:extLst>
          </p:cNvPr>
          <p:cNvSpPr txBox="1"/>
          <p:nvPr/>
        </p:nvSpPr>
        <p:spPr bwMode="auto">
          <a:xfrm>
            <a:off x="670718" y="3924590"/>
            <a:ext cx="2906075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  <p:sp>
        <p:nvSpPr>
          <p:cNvPr id="49" name="îšḻide">
            <a:extLst>
              <a:ext uri="{FF2B5EF4-FFF2-40B4-BE49-F238E27FC236}">
                <a16:creationId xmlns:a16="http://schemas.microsoft.com/office/drawing/2014/main" id="{6427789C-E733-4A8C-B3C6-2B3332982597}"/>
              </a:ext>
            </a:extLst>
          </p:cNvPr>
          <p:cNvSpPr/>
          <p:nvPr/>
        </p:nvSpPr>
        <p:spPr bwMode="auto">
          <a:xfrm>
            <a:off x="6857555" y="4349349"/>
            <a:ext cx="310198" cy="258932"/>
          </a:xfrm>
          <a:custGeom>
            <a:avLst/>
            <a:gdLst>
              <a:gd name="T0" fmla="*/ 224 w 224"/>
              <a:gd name="T1" fmla="*/ 0 h 184"/>
              <a:gd name="T2" fmla="*/ 224 w 224"/>
              <a:gd name="T3" fmla="*/ 156 h 184"/>
              <a:gd name="T4" fmla="*/ 86 w 224"/>
              <a:gd name="T5" fmla="*/ 156 h 184"/>
              <a:gd name="T6" fmla="*/ 48 w 224"/>
              <a:gd name="T7" fmla="*/ 184 h 184"/>
              <a:gd name="T8" fmla="*/ 48 w 224"/>
              <a:gd name="T9" fmla="*/ 156 h 184"/>
              <a:gd name="T10" fmla="*/ 0 w 224"/>
              <a:gd name="T11" fmla="*/ 156 h 184"/>
              <a:gd name="T12" fmla="*/ 0 w 224"/>
              <a:gd name="T13" fmla="*/ 0 h 184"/>
              <a:gd name="T14" fmla="*/ 224 w 224"/>
              <a:gd name="T15" fmla="*/ 0 h 184"/>
              <a:gd name="T16" fmla="*/ 216 w 224"/>
              <a:gd name="T17" fmla="*/ 8 h 184"/>
              <a:gd name="T18" fmla="*/ 8 w 224"/>
              <a:gd name="T19" fmla="*/ 8 h 184"/>
              <a:gd name="T20" fmla="*/ 8 w 224"/>
              <a:gd name="T21" fmla="*/ 148 h 184"/>
              <a:gd name="T22" fmla="*/ 56 w 224"/>
              <a:gd name="T23" fmla="*/ 148 h 184"/>
              <a:gd name="T24" fmla="*/ 56 w 224"/>
              <a:gd name="T25" fmla="*/ 168 h 184"/>
              <a:gd name="T26" fmla="*/ 83 w 224"/>
              <a:gd name="T27" fmla="*/ 148 h 184"/>
              <a:gd name="T28" fmla="*/ 216 w 224"/>
              <a:gd name="T29" fmla="*/ 148 h 184"/>
              <a:gd name="T30" fmla="*/ 216 w 224"/>
              <a:gd name="T31" fmla="*/ 8 h 184"/>
              <a:gd name="T32" fmla="*/ 56 w 224"/>
              <a:gd name="T33" fmla="*/ 60 h 184"/>
              <a:gd name="T34" fmla="*/ 74 w 224"/>
              <a:gd name="T35" fmla="*/ 78 h 184"/>
              <a:gd name="T36" fmla="*/ 56 w 224"/>
              <a:gd name="T37" fmla="*/ 96 h 184"/>
              <a:gd name="T38" fmla="*/ 38 w 224"/>
              <a:gd name="T39" fmla="*/ 78 h 184"/>
              <a:gd name="T40" fmla="*/ 56 w 224"/>
              <a:gd name="T41" fmla="*/ 60 h 184"/>
              <a:gd name="T42" fmla="*/ 112 w 224"/>
              <a:gd name="T43" fmla="*/ 60 h 184"/>
              <a:gd name="T44" fmla="*/ 130 w 224"/>
              <a:gd name="T45" fmla="*/ 78 h 184"/>
              <a:gd name="T46" fmla="*/ 112 w 224"/>
              <a:gd name="T47" fmla="*/ 96 h 184"/>
              <a:gd name="T48" fmla="*/ 94 w 224"/>
              <a:gd name="T49" fmla="*/ 78 h 184"/>
              <a:gd name="T50" fmla="*/ 112 w 224"/>
              <a:gd name="T51" fmla="*/ 60 h 184"/>
              <a:gd name="T52" fmla="*/ 168 w 224"/>
              <a:gd name="T53" fmla="*/ 60 h 184"/>
              <a:gd name="T54" fmla="*/ 186 w 224"/>
              <a:gd name="T55" fmla="*/ 78 h 184"/>
              <a:gd name="T56" fmla="*/ 168 w 224"/>
              <a:gd name="T57" fmla="*/ 96 h 184"/>
              <a:gd name="T58" fmla="*/ 150 w 224"/>
              <a:gd name="T59" fmla="*/ 78 h 184"/>
              <a:gd name="T60" fmla="*/ 168 w 224"/>
              <a:gd name="T61" fmla="*/ 60 h 184"/>
              <a:gd name="T62" fmla="*/ 56 w 224"/>
              <a:gd name="T63" fmla="*/ 68 h 184"/>
              <a:gd name="T64" fmla="*/ 46 w 224"/>
              <a:gd name="T65" fmla="*/ 78 h 184"/>
              <a:gd name="T66" fmla="*/ 56 w 224"/>
              <a:gd name="T67" fmla="*/ 88 h 184"/>
              <a:gd name="T68" fmla="*/ 66 w 224"/>
              <a:gd name="T69" fmla="*/ 78 h 184"/>
              <a:gd name="T70" fmla="*/ 56 w 224"/>
              <a:gd name="T71" fmla="*/ 68 h 184"/>
              <a:gd name="T72" fmla="*/ 112 w 224"/>
              <a:gd name="T73" fmla="*/ 68 h 184"/>
              <a:gd name="T74" fmla="*/ 102 w 224"/>
              <a:gd name="T75" fmla="*/ 78 h 184"/>
              <a:gd name="T76" fmla="*/ 112 w 224"/>
              <a:gd name="T77" fmla="*/ 88 h 184"/>
              <a:gd name="T78" fmla="*/ 122 w 224"/>
              <a:gd name="T79" fmla="*/ 78 h 184"/>
              <a:gd name="T80" fmla="*/ 112 w 224"/>
              <a:gd name="T81" fmla="*/ 68 h 184"/>
              <a:gd name="T82" fmla="*/ 168 w 224"/>
              <a:gd name="T83" fmla="*/ 68 h 184"/>
              <a:gd name="T84" fmla="*/ 158 w 224"/>
              <a:gd name="T85" fmla="*/ 78 h 184"/>
              <a:gd name="T86" fmla="*/ 168 w 224"/>
              <a:gd name="T87" fmla="*/ 88 h 184"/>
              <a:gd name="T88" fmla="*/ 178 w 224"/>
              <a:gd name="T89" fmla="*/ 78 h 184"/>
              <a:gd name="T90" fmla="*/ 168 w 224"/>
              <a:gd name="T91" fmla="*/ 68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4" h="184">
                <a:moveTo>
                  <a:pt x="224" y="0"/>
                </a:moveTo>
                <a:cubicBezTo>
                  <a:pt x="224" y="156"/>
                  <a:pt x="224" y="156"/>
                  <a:pt x="224" y="156"/>
                </a:cubicBezTo>
                <a:cubicBezTo>
                  <a:pt x="86" y="156"/>
                  <a:pt x="86" y="156"/>
                  <a:pt x="86" y="156"/>
                </a:cubicBezTo>
                <a:cubicBezTo>
                  <a:pt x="48" y="184"/>
                  <a:pt x="48" y="184"/>
                  <a:pt x="48" y="184"/>
                </a:cubicBezTo>
                <a:cubicBezTo>
                  <a:pt x="48" y="156"/>
                  <a:pt x="48" y="156"/>
                  <a:pt x="48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216" y="8"/>
                </a:moveTo>
                <a:cubicBezTo>
                  <a:pt x="8" y="8"/>
                  <a:pt x="8" y="8"/>
                  <a:pt x="8" y="8"/>
                </a:cubicBezTo>
                <a:cubicBezTo>
                  <a:pt x="8" y="148"/>
                  <a:pt x="8" y="148"/>
                  <a:pt x="8" y="148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68"/>
                  <a:pt x="56" y="168"/>
                  <a:pt x="56" y="168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216" y="148"/>
                  <a:pt x="216" y="148"/>
                  <a:pt x="216" y="148"/>
                </a:cubicBezTo>
                <a:lnTo>
                  <a:pt x="216" y="8"/>
                </a:lnTo>
                <a:close/>
                <a:moveTo>
                  <a:pt x="56" y="60"/>
                </a:moveTo>
                <a:cubicBezTo>
                  <a:pt x="66" y="60"/>
                  <a:pt x="74" y="68"/>
                  <a:pt x="74" y="78"/>
                </a:cubicBezTo>
                <a:cubicBezTo>
                  <a:pt x="74" y="88"/>
                  <a:pt x="66" y="96"/>
                  <a:pt x="56" y="96"/>
                </a:cubicBezTo>
                <a:cubicBezTo>
                  <a:pt x="46" y="96"/>
                  <a:pt x="38" y="88"/>
                  <a:pt x="38" y="78"/>
                </a:cubicBezTo>
                <a:cubicBezTo>
                  <a:pt x="38" y="68"/>
                  <a:pt x="46" y="60"/>
                  <a:pt x="56" y="60"/>
                </a:cubicBezTo>
                <a:close/>
                <a:moveTo>
                  <a:pt x="112" y="60"/>
                </a:moveTo>
                <a:cubicBezTo>
                  <a:pt x="122" y="60"/>
                  <a:pt x="130" y="68"/>
                  <a:pt x="130" y="78"/>
                </a:cubicBezTo>
                <a:cubicBezTo>
                  <a:pt x="130" y="88"/>
                  <a:pt x="122" y="96"/>
                  <a:pt x="112" y="96"/>
                </a:cubicBezTo>
                <a:cubicBezTo>
                  <a:pt x="102" y="96"/>
                  <a:pt x="94" y="88"/>
                  <a:pt x="94" y="78"/>
                </a:cubicBezTo>
                <a:cubicBezTo>
                  <a:pt x="94" y="68"/>
                  <a:pt x="102" y="60"/>
                  <a:pt x="112" y="60"/>
                </a:cubicBezTo>
                <a:close/>
                <a:moveTo>
                  <a:pt x="168" y="60"/>
                </a:moveTo>
                <a:cubicBezTo>
                  <a:pt x="178" y="60"/>
                  <a:pt x="186" y="68"/>
                  <a:pt x="186" y="78"/>
                </a:cubicBezTo>
                <a:cubicBezTo>
                  <a:pt x="186" y="88"/>
                  <a:pt x="178" y="96"/>
                  <a:pt x="168" y="96"/>
                </a:cubicBezTo>
                <a:cubicBezTo>
                  <a:pt x="158" y="96"/>
                  <a:pt x="150" y="88"/>
                  <a:pt x="150" y="78"/>
                </a:cubicBezTo>
                <a:cubicBezTo>
                  <a:pt x="150" y="68"/>
                  <a:pt x="158" y="60"/>
                  <a:pt x="168" y="60"/>
                </a:cubicBezTo>
                <a:close/>
                <a:moveTo>
                  <a:pt x="56" y="68"/>
                </a:moveTo>
                <a:cubicBezTo>
                  <a:pt x="50" y="68"/>
                  <a:pt x="46" y="72"/>
                  <a:pt x="46" y="78"/>
                </a:cubicBezTo>
                <a:cubicBezTo>
                  <a:pt x="46" y="84"/>
                  <a:pt x="50" y="88"/>
                  <a:pt x="56" y="88"/>
                </a:cubicBezTo>
                <a:cubicBezTo>
                  <a:pt x="62" y="88"/>
                  <a:pt x="66" y="84"/>
                  <a:pt x="66" y="78"/>
                </a:cubicBezTo>
                <a:cubicBezTo>
                  <a:pt x="66" y="72"/>
                  <a:pt x="62" y="68"/>
                  <a:pt x="56" y="68"/>
                </a:cubicBezTo>
                <a:close/>
                <a:moveTo>
                  <a:pt x="112" y="68"/>
                </a:moveTo>
                <a:cubicBezTo>
                  <a:pt x="106" y="68"/>
                  <a:pt x="102" y="72"/>
                  <a:pt x="102" y="78"/>
                </a:cubicBezTo>
                <a:cubicBezTo>
                  <a:pt x="102" y="84"/>
                  <a:pt x="106" y="88"/>
                  <a:pt x="112" y="88"/>
                </a:cubicBezTo>
                <a:cubicBezTo>
                  <a:pt x="118" y="88"/>
                  <a:pt x="122" y="84"/>
                  <a:pt x="122" y="78"/>
                </a:cubicBezTo>
                <a:cubicBezTo>
                  <a:pt x="122" y="72"/>
                  <a:pt x="118" y="68"/>
                  <a:pt x="112" y="68"/>
                </a:cubicBezTo>
                <a:close/>
                <a:moveTo>
                  <a:pt x="168" y="68"/>
                </a:moveTo>
                <a:cubicBezTo>
                  <a:pt x="162" y="68"/>
                  <a:pt x="158" y="72"/>
                  <a:pt x="158" y="78"/>
                </a:cubicBezTo>
                <a:cubicBezTo>
                  <a:pt x="158" y="84"/>
                  <a:pt x="162" y="88"/>
                  <a:pt x="168" y="88"/>
                </a:cubicBezTo>
                <a:cubicBezTo>
                  <a:pt x="174" y="88"/>
                  <a:pt x="178" y="84"/>
                  <a:pt x="178" y="78"/>
                </a:cubicBezTo>
                <a:cubicBezTo>
                  <a:pt x="178" y="72"/>
                  <a:pt x="174" y="68"/>
                  <a:pt x="168" y="6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15" name="íSlíḋè">
            <a:extLst>
              <a:ext uri="{FF2B5EF4-FFF2-40B4-BE49-F238E27FC236}">
                <a16:creationId xmlns:a16="http://schemas.microsoft.com/office/drawing/2014/main" id="{6C81BD72-0F89-4FCF-B39A-8C0E75DE450D}"/>
              </a:ext>
            </a:extLst>
          </p:cNvPr>
          <p:cNvSpPr/>
          <p:nvPr/>
        </p:nvSpPr>
        <p:spPr bwMode="auto">
          <a:xfrm>
            <a:off x="8615207" y="2068675"/>
            <a:ext cx="2906074" cy="864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Copy paste fonts. Choose the only option to retain text.</a:t>
            </a:r>
          </a:p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sp>
        <p:nvSpPr>
          <p:cNvPr id="16" name="îṣlîďê">
            <a:extLst>
              <a:ext uri="{FF2B5EF4-FFF2-40B4-BE49-F238E27FC236}">
                <a16:creationId xmlns:a16="http://schemas.microsoft.com/office/drawing/2014/main" id="{DFAA57E1-93A9-4193-9CCC-B6790E203AF7}"/>
              </a:ext>
            </a:extLst>
          </p:cNvPr>
          <p:cNvSpPr txBox="1"/>
          <p:nvPr/>
        </p:nvSpPr>
        <p:spPr bwMode="auto">
          <a:xfrm>
            <a:off x="8615207" y="1626871"/>
            <a:ext cx="2906075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  <p:sp>
        <p:nvSpPr>
          <p:cNvPr id="13" name="îśḷidê">
            <a:extLst>
              <a:ext uri="{FF2B5EF4-FFF2-40B4-BE49-F238E27FC236}">
                <a16:creationId xmlns:a16="http://schemas.microsoft.com/office/drawing/2014/main" id="{1EF700AD-E2BB-4D0F-95AA-B8B7FBE1A052}"/>
              </a:ext>
            </a:extLst>
          </p:cNvPr>
          <p:cNvSpPr/>
          <p:nvPr/>
        </p:nvSpPr>
        <p:spPr bwMode="auto">
          <a:xfrm>
            <a:off x="8615207" y="4366394"/>
            <a:ext cx="2906074" cy="864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Copy paste fonts. Choose the only option to retain text.</a:t>
            </a:r>
          </a:p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sp>
        <p:nvSpPr>
          <p:cNvPr id="14" name="isḷíďé">
            <a:extLst>
              <a:ext uri="{FF2B5EF4-FFF2-40B4-BE49-F238E27FC236}">
                <a16:creationId xmlns:a16="http://schemas.microsoft.com/office/drawing/2014/main" id="{D37496CF-F79B-4A2F-91B7-094E2E312B2F}"/>
              </a:ext>
            </a:extLst>
          </p:cNvPr>
          <p:cNvSpPr txBox="1"/>
          <p:nvPr/>
        </p:nvSpPr>
        <p:spPr bwMode="auto">
          <a:xfrm>
            <a:off x="8615207" y="3924590"/>
            <a:ext cx="2906075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AE86868A-D306-4CD9-816A-8B827DCB5712}"/>
              </a:ext>
            </a:extLst>
          </p:cNvPr>
          <p:cNvCxnSpPr>
            <a:cxnSpLocks/>
          </p:cNvCxnSpPr>
          <p:nvPr/>
        </p:nvCxnSpPr>
        <p:spPr>
          <a:xfrm>
            <a:off x="8703618" y="3399564"/>
            <a:ext cx="281528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2882728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178E78CD-6C0D-40A2-882E-62CA0CDD83DA}"/>
              </a:ext>
            </a:extLst>
          </p:cNvPr>
          <p:cNvSpPr/>
          <p:nvPr/>
        </p:nvSpPr>
        <p:spPr>
          <a:xfrm>
            <a:off x="5546256" y="1905000"/>
            <a:ext cx="6372568" cy="4953001"/>
          </a:xfrm>
          <a:custGeom>
            <a:avLst/>
            <a:gdLst>
              <a:gd name="connsiteX0" fmla="*/ 2573615 w 5857912"/>
              <a:gd name="connsiteY0" fmla="*/ 1153139 h 4552991"/>
              <a:gd name="connsiteX1" fmla="*/ 2573615 w 5857912"/>
              <a:gd name="connsiteY1" fmla="*/ 1153349 h 4552991"/>
              <a:gd name="connsiteX2" fmla="*/ 2346181 w 5857912"/>
              <a:gd name="connsiteY2" fmla="*/ 1260429 h 4552991"/>
              <a:gd name="connsiteX3" fmla="*/ 2131601 w 5857912"/>
              <a:gd name="connsiteY3" fmla="*/ 1367718 h 4552991"/>
              <a:gd name="connsiteX4" fmla="*/ 1930323 w 5857912"/>
              <a:gd name="connsiteY4" fmla="*/ 1488307 h 4552991"/>
              <a:gd name="connsiteX5" fmla="*/ 1756088 w 5857912"/>
              <a:gd name="connsiteY5" fmla="*/ 1608897 h 4552991"/>
              <a:gd name="connsiteX6" fmla="*/ 1581853 w 5857912"/>
              <a:gd name="connsiteY6" fmla="*/ 1742788 h 4552991"/>
              <a:gd name="connsiteX7" fmla="*/ 1434221 w 5857912"/>
              <a:gd name="connsiteY7" fmla="*/ 1863377 h 4552991"/>
              <a:gd name="connsiteX8" fmla="*/ 1300331 w 5857912"/>
              <a:gd name="connsiteY8" fmla="*/ 1997268 h 4552991"/>
              <a:gd name="connsiteX9" fmla="*/ 1179741 w 5857912"/>
              <a:gd name="connsiteY9" fmla="*/ 2131158 h 4552991"/>
              <a:gd name="connsiteX10" fmla="*/ 1072450 w 5857912"/>
              <a:gd name="connsiteY10" fmla="*/ 2265049 h 4552991"/>
              <a:gd name="connsiteX11" fmla="*/ 992205 w 5857912"/>
              <a:gd name="connsiteY11" fmla="*/ 2385638 h 4552991"/>
              <a:gd name="connsiteX12" fmla="*/ 925261 w 5857912"/>
              <a:gd name="connsiteY12" fmla="*/ 2519527 h 4552991"/>
              <a:gd name="connsiteX13" fmla="*/ 884916 w 5857912"/>
              <a:gd name="connsiteY13" fmla="*/ 2640117 h 4552991"/>
              <a:gd name="connsiteX14" fmla="*/ 858314 w 5857912"/>
              <a:gd name="connsiteY14" fmla="*/ 2760706 h 4552991"/>
              <a:gd name="connsiteX15" fmla="*/ 858314 w 5857912"/>
              <a:gd name="connsiteY15" fmla="*/ 2881296 h 4552991"/>
              <a:gd name="connsiteX16" fmla="*/ 871615 w 5857912"/>
              <a:gd name="connsiteY16" fmla="*/ 2988585 h 4552991"/>
              <a:gd name="connsiteX17" fmla="*/ 898217 w 5857912"/>
              <a:gd name="connsiteY17" fmla="*/ 3095876 h 4552991"/>
              <a:gd name="connsiteX18" fmla="*/ 938561 w 5857912"/>
              <a:gd name="connsiteY18" fmla="*/ 3162820 h 4552991"/>
              <a:gd name="connsiteX19" fmla="*/ 978904 w 5857912"/>
              <a:gd name="connsiteY19" fmla="*/ 3216466 h 4552991"/>
              <a:gd name="connsiteX20" fmla="*/ 1032550 w 5857912"/>
              <a:gd name="connsiteY20" fmla="*/ 3256809 h 4552991"/>
              <a:gd name="connsiteX21" fmla="*/ 1099494 w 5857912"/>
              <a:gd name="connsiteY21" fmla="*/ 3297154 h 4552991"/>
              <a:gd name="connsiteX22" fmla="*/ 1179741 w 5857912"/>
              <a:gd name="connsiteY22" fmla="*/ 3337498 h 4552991"/>
              <a:gd name="connsiteX23" fmla="*/ 1259986 w 5857912"/>
              <a:gd name="connsiteY23" fmla="*/ 3364542 h 4552991"/>
              <a:gd name="connsiteX24" fmla="*/ 1353974 w 5857912"/>
              <a:gd name="connsiteY24" fmla="*/ 3377843 h 4552991"/>
              <a:gd name="connsiteX25" fmla="*/ 1461263 w 5857912"/>
              <a:gd name="connsiteY25" fmla="*/ 3391144 h 4552991"/>
              <a:gd name="connsiteX26" fmla="*/ 1702443 w 5857912"/>
              <a:gd name="connsiteY26" fmla="*/ 3391144 h 4552991"/>
              <a:gd name="connsiteX27" fmla="*/ 1956923 w 5857912"/>
              <a:gd name="connsiteY27" fmla="*/ 3364542 h 4552991"/>
              <a:gd name="connsiteX28" fmla="*/ 2251748 w 5857912"/>
              <a:gd name="connsiteY28" fmla="*/ 3310897 h 4552991"/>
              <a:gd name="connsiteX29" fmla="*/ 2573615 w 5857912"/>
              <a:gd name="connsiteY29" fmla="*/ 3230652 h 4552991"/>
              <a:gd name="connsiteX30" fmla="*/ 2573615 w 5857912"/>
              <a:gd name="connsiteY30" fmla="*/ 1153349 h 4552991"/>
              <a:gd name="connsiteX31" fmla="*/ 2574060 w 5857912"/>
              <a:gd name="connsiteY31" fmla="*/ 1153139 h 4552991"/>
              <a:gd name="connsiteX32" fmla="*/ 2895926 w 5857912"/>
              <a:gd name="connsiteY32" fmla="*/ 254923 h 4552991"/>
              <a:gd name="connsiteX33" fmla="*/ 2883070 w 5857912"/>
              <a:gd name="connsiteY33" fmla="*/ 3594196 h 4552991"/>
              <a:gd name="connsiteX34" fmla="*/ 2888025 w 5857912"/>
              <a:gd name="connsiteY34" fmla="*/ 4552991 h 4552991"/>
              <a:gd name="connsiteX35" fmla="*/ 2574502 w 5857912"/>
              <a:gd name="connsiteY35" fmla="*/ 4552991 h 4552991"/>
              <a:gd name="connsiteX36" fmla="*/ 2574502 w 5857912"/>
              <a:gd name="connsiteY36" fmla="*/ 3728084 h 4552991"/>
              <a:gd name="connsiteX37" fmla="*/ 2373225 w 5857912"/>
              <a:gd name="connsiteY37" fmla="*/ 3795030 h 4552991"/>
              <a:gd name="connsiteX38" fmla="*/ 2158645 w 5857912"/>
              <a:gd name="connsiteY38" fmla="*/ 3848674 h 4552991"/>
              <a:gd name="connsiteX39" fmla="*/ 1957368 w 5857912"/>
              <a:gd name="connsiteY39" fmla="*/ 3889019 h 4552991"/>
              <a:gd name="connsiteX40" fmla="*/ 1756088 w 5857912"/>
              <a:gd name="connsiteY40" fmla="*/ 3916063 h 4552991"/>
              <a:gd name="connsiteX41" fmla="*/ 1554809 w 5857912"/>
              <a:gd name="connsiteY41" fmla="*/ 3916063 h 4552991"/>
              <a:gd name="connsiteX42" fmla="*/ 1367275 w 5857912"/>
              <a:gd name="connsiteY42" fmla="*/ 3916063 h 4552991"/>
              <a:gd name="connsiteX43" fmla="*/ 1179741 w 5857912"/>
              <a:gd name="connsiteY43" fmla="*/ 3902762 h 4552991"/>
              <a:gd name="connsiteX44" fmla="*/ 1005506 w 5857912"/>
              <a:gd name="connsiteY44" fmla="*/ 3862419 h 4552991"/>
              <a:gd name="connsiteX45" fmla="*/ 844571 w 5857912"/>
              <a:gd name="connsiteY45" fmla="*/ 3822074 h 4552991"/>
              <a:gd name="connsiteX46" fmla="*/ 696937 w 5857912"/>
              <a:gd name="connsiteY46" fmla="*/ 3768429 h 4552991"/>
              <a:gd name="connsiteX47" fmla="*/ 549303 w 5857912"/>
              <a:gd name="connsiteY47" fmla="*/ 3714785 h 4552991"/>
              <a:gd name="connsiteX48" fmla="*/ 428714 w 5857912"/>
              <a:gd name="connsiteY48" fmla="*/ 3647839 h 4552991"/>
              <a:gd name="connsiteX49" fmla="*/ 321425 w 5857912"/>
              <a:gd name="connsiteY49" fmla="*/ 3567594 h 4552991"/>
              <a:gd name="connsiteX50" fmla="*/ 227436 w 5857912"/>
              <a:gd name="connsiteY50" fmla="*/ 3473606 h 4552991"/>
              <a:gd name="connsiteX51" fmla="*/ 147191 w 5857912"/>
              <a:gd name="connsiteY51" fmla="*/ 3379616 h 4552991"/>
              <a:gd name="connsiteX52" fmla="*/ 93546 w 5857912"/>
              <a:gd name="connsiteY52" fmla="*/ 3285627 h 4552991"/>
              <a:gd name="connsiteX53" fmla="*/ 53201 w 5857912"/>
              <a:gd name="connsiteY53" fmla="*/ 3178338 h 4552991"/>
              <a:gd name="connsiteX54" fmla="*/ 26602 w 5857912"/>
              <a:gd name="connsiteY54" fmla="*/ 3071047 h 4552991"/>
              <a:gd name="connsiteX55" fmla="*/ 13301 w 5857912"/>
              <a:gd name="connsiteY55" fmla="*/ 2963758 h 4552991"/>
              <a:gd name="connsiteX56" fmla="*/ 0 w 5857912"/>
              <a:gd name="connsiteY56" fmla="*/ 2856469 h 4552991"/>
              <a:gd name="connsiteX57" fmla="*/ 13301 w 5857912"/>
              <a:gd name="connsiteY57" fmla="*/ 2749180 h 4552991"/>
              <a:gd name="connsiteX58" fmla="*/ 26602 w 5857912"/>
              <a:gd name="connsiteY58" fmla="*/ 2641891 h 4552991"/>
              <a:gd name="connsiteX59" fmla="*/ 39900 w 5857912"/>
              <a:gd name="connsiteY59" fmla="*/ 2534602 h 4552991"/>
              <a:gd name="connsiteX60" fmla="*/ 80245 w 5857912"/>
              <a:gd name="connsiteY60" fmla="*/ 2427311 h 4552991"/>
              <a:gd name="connsiteX61" fmla="*/ 120590 w 5857912"/>
              <a:gd name="connsiteY61" fmla="*/ 2320022 h 4552991"/>
              <a:gd name="connsiteX62" fmla="*/ 174236 w 5857912"/>
              <a:gd name="connsiteY62" fmla="*/ 2212733 h 4552991"/>
              <a:gd name="connsiteX63" fmla="*/ 294825 w 5857912"/>
              <a:gd name="connsiteY63" fmla="*/ 1998155 h 4552991"/>
              <a:gd name="connsiteX64" fmla="*/ 455758 w 5857912"/>
              <a:gd name="connsiteY64" fmla="*/ 1783575 h 4552991"/>
              <a:gd name="connsiteX65" fmla="*/ 657037 w 5857912"/>
              <a:gd name="connsiteY65" fmla="*/ 1582298 h 4552991"/>
              <a:gd name="connsiteX66" fmla="*/ 871615 w 5857912"/>
              <a:gd name="connsiteY66" fmla="*/ 1381018 h 4552991"/>
              <a:gd name="connsiteX67" fmla="*/ 1099494 w 5857912"/>
              <a:gd name="connsiteY67" fmla="*/ 1193484 h 4552991"/>
              <a:gd name="connsiteX68" fmla="*/ 1367717 w 5857912"/>
              <a:gd name="connsiteY68" fmla="*/ 1005948 h 4552991"/>
              <a:gd name="connsiteX69" fmla="*/ 1649242 w 5857912"/>
              <a:gd name="connsiteY69" fmla="*/ 831715 h 4552991"/>
              <a:gd name="connsiteX70" fmla="*/ 1944067 w 5857912"/>
              <a:gd name="connsiteY70" fmla="*/ 670780 h 4552991"/>
              <a:gd name="connsiteX71" fmla="*/ 2252190 w 5857912"/>
              <a:gd name="connsiteY71" fmla="*/ 523147 h 4552991"/>
              <a:gd name="connsiteX72" fmla="*/ 2574060 w 5857912"/>
              <a:gd name="connsiteY72" fmla="*/ 375513 h 4552991"/>
              <a:gd name="connsiteX73" fmla="*/ 3378286 w 5857912"/>
              <a:gd name="connsiteY73" fmla="*/ 107289 h 4552991"/>
              <a:gd name="connsiteX74" fmla="*/ 3378286 w 5857912"/>
              <a:gd name="connsiteY74" fmla="*/ 1126096 h 4552991"/>
              <a:gd name="connsiteX75" fmla="*/ 3378286 w 5857912"/>
              <a:gd name="connsiteY75" fmla="*/ 4552991 h 4552991"/>
              <a:gd name="connsiteX76" fmla="*/ 3070162 w 5857912"/>
              <a:gd name="connsiteY76" fmla="*/ 4552991 h 4552991"/>
              <a:gd name="connsiteX77" fmla="*/ 3070162 w 5857912"/>
              <a:gd name="connsiteY77" fmla="*/ 4155470 h 4552991"/>
              <a:gd name="connsiteX78" fmla="*/ 3070162 w 5857912"/>
              <a:gd name="connsiteY78" fmla="*/ 174235 h 4552991"/>
              <a:gd name="connsiteX79" fmla="*/ 4169213 w 5857912"/>
              <a:gd name="connsiteY79" fmla="*/ 0 h 4552991"/>
              <a:gd name="connsiteX80" fmla="*/ 4356747 w 5857912"/>
              <a:gd name="connsiteY80" fmla="*/ 0 h 4552991"/>
              <a:gd name="connsiteX81" fmla="*/ 4544283 w 5857912"/>
              <a:gd name="connsiteY81" fmla="*/ 0 h 4552991"/>
              <a:gd name="connsiteX82" fmla="*/ 4705216 w 5857912"/>
              <a:gd name="connsiteY82" fmla="*/ 13301 h 4552991"/>
              <a:gd name="connsiteX83" fmla="*/ 4852849 w 5857912"/>
              <a:gd name="connsiteY83" fmla="*/ 26602 h 4552991"/>
              <a:gd name="connsiteX84" fmla="*/ 5000483 w 5857912"/>
              <a:gd name="connsiteY84" fmla="*/ 66945 h 4552991"/>
              <a:gd name="connsiteX85" fmla="*/ 5134374 w 5857912"/>
              <a:gd name="connsiteY85" fmla="*/ 107289 h 4552991"/>
              <a:gd name="connsiteX86" fmla="*/ 5254963 w 5857912"/>
              <a:gd name="connsiteY86" fmla="*/ 160935 h 4552991"/>
              <a:gd name="connsiteX87" fmla="*/ 5362252 w 5857912"/>
              <a:gd name="connsiteY87" fmla="*/ 214578 h 4552991"/>
              <a:gd name="connsiteX88" fmla="*/ 5456242 w 5857912"/>
              <a:gd name="connsiteY88" fmla="*/ 281525 h 4552991"/>
              <a:gd name="connsiteX89" fmla="*/ 5550231 w 5857912"/>
              <a:gd name="connsiteY89" fmla="*/ 361769 h 4552991"/>
              <a:gd name="connsiteX90" fmla="*/ 5617177 w 5857912"/>
              <a:gd name="connsiteY90" fmla="*/ 442014 h 4552991"/>
              <a:gd name="connsiteX91" fmla="*/ 5670820 w 5857912"/>
              <a:gd name="connsiteY91" fmla="*/ 536005 h 4552991"/>
              <a:gd name="connsiteX92" fmla="*/ 5724466 w 5857912"/>
              <a:gd name="connsiteY92" fmla="*/ 629993 h 4552991"/>
              <a:gd name="connsiteX93" fmla="*/ 5027527 w 5857912"/>
              <a:gd name="connsiteY93" fmla="*/ 924818 h 4552991"/>
              <a:gd name="connsiteX94" fmla="*/ 4933539 w 5857912"/>
              <a:gd name="connsiteY94" fmla="*/ 857872 h 4552991"/>
              <a:gd name="connsiteX95" fmla="*/ 4826250 w 5857912"/>
              <a:gd name="connsiteY95" fmla="*/ 817527 h 4552991"/>
              <a:gd name="connsiteX96" fmla="*/ 4692360 w 5857912"/>
              <a:gd name="connsiteY96" fmla="*/ 790928 h 4552991"/>
              <a:gd name="connsiteX97" fmla="*/ 4544726 w 5857912"/>
              <a:gd name="connsiteY97" fmla="*/ 777627 h 4552991"/>
              <a:gd name="connsiteX98" fmla="*/ 4383791 w 5857912"/>
              <a:gd name="connsiteY98" fmla="*/ 777627 h 4552991"/>
              <a:gd name="connsiteX99" fmla="*/ 4222858 w 5857912"/>
              <a:gd name="connsiteY99" fmla="*/ 777627 h 4552991"/>
              <a:gd name="connsiteX100" fmla="*/ 4035322 w 5857912"/>
              <a:gd name="connsiteY100" fmla="*/ 804226 h 4552991"/>
              <a:gd name="connsiteX101" fmla="*/ 3861089 w 5857912"/>
              <a:gd name="connsiteY101" fmla="*/ 831270 h 4552991"/>
              <a:gd name="connsiteX102" fmla="*/ 3861089 w 5857912"/>
              <a:gd name="connsiteY102" fmla="*/ 2856027 h 4552991"/>
              <a:gd name="connsiteX103" fmla="*/ 4115567 w 5857912"/>
              <a:gd name="connsiteY103" fmla="*/ 2708393 h 4552991"/>
              <a:gd name="connsiteX104" fmla="*/ 4330148 w 5857912"/>
              <a:gd name="connsiteY104" fmla="*/ 2560759 h 4552991"/>
              <a:gd name="connsiteX105" fmla="*/ 4504380 w 5857912"/>
              <a:gd name="connsiteY105" fmla="*/ 2413125 h 4552991"/>
              <a:gd name="connsiteX106" fmla="*/ 4665315 w 5857912"/>
              <a:gd name="connsiteY106" fmla="*/ 2279235 h 4552991"/>
              <a:gd name="connsiteX107" fmla="*/ 4812949 w 5857912"/>
              <a:gd name="connsiteY107" fmla="*/ 2145344 h 4552991"/>
              <a:gd name="connsiteX108" fmla="*/ 4933539 w 5857912"/>
              <a:gd name="connsiteY108" fmla="*/ 1997710 h 4552991"/>
              <a:gd name="connsiteX109" fmla="*/ 5054128 w 5857912"/>
              <a:gd name="connsiteY109" fmla="*/ 1850077 h 4552991"/>
              <a:gd name="connsiteX110" fmla="*/ 5161418 w 5857912"/>
              <a:gd name="connsiteY110" fmla="*/ 1675843 h 4552991"/>
              <a:gd name="connsiteX111" fmla="*/ 4316846 w 5857912"/>
              <a:gd name="connsiteY111" fmla="*/ 2038055 h 4552991"/>
              <a:gd name="connsiteX112" fmla="*/ 4316846 w 5857912"/>
              <a:gd name="connsiteY112" fmla="*/ 1528652 h 4552991"/>
              <a:gd name="connsiteX113" fmla="*/ 4611670 w 5857912"/>
              <a:gd name="connsiteY113" fmla="*/ 1421363 h 4552991"/>
              <a:gd name="connsiteX114" fmla="*/ 4611670 w 5857912"/>
              <a:gd name="connsiteY114" fmla="*/ 1434664 h 4552991"/>
              <a:gd name="connsiteX115" fmla="*/ 5831312 w 5857912"/>
              <a:gd name="connsiteY115" fmla="*/ 895999 h 4552991"/>
              <a:gd name="connsiteX116" fmla="*/ 5857912 w 5857912"/>
              <a:gd name="connsiteY116" fmla="*/ 1070235 h 4552991"/>
              <a:gd name="connsiteX117" fmla="*/ 5857912 w 5857912"/>
              <a:gd name="connsiteY117" fmla="*/ 1231167 h 4552991"/>
              <a:gd name="connsiteX118" fmla="*/ 5844614 w 5857912"/>
              <a:gd name="connsiteY118" fmla="*/ 1392102 h 4552991"/>
              <a:gd name="connsiteX119" fmla="*/ 5818012 w 5857912"/>
              <a:gd name="connsiteY119" fmla="*/ 1553036 h 4552991"/>
              <a:gd name="connsiteX120" fmla="*/ 5764366 w 5857912"/>
              <a:gd name="connsiteY120" fmla="*/ 1713971 h 4552991"/>
              <a:gd name="connsiteX121" fmla="*/ 5684122 w 5857912"/>
              <a:gd name="connsiteY121" fmla="*/ 1874905 h 4552991"/>
              <a:gd name="connsiteX122" fmla="*/ 5590133 w 5857912"/>
              <a:gd name="connsiteY122" fmla="*/ 2035838 h 4552991"/>
              <a:gd name="connsiteX123" fmla="*/ 5469544 w 5857912"/>
              <a:gd name="connsiteY123" fmla="*/ 2183472 h 4552991"/>
              <a:gd name="connsiteX124" fmla="*/ 5335653 w 5857912"/>
              <a:gd name="connsiteY124" fmla="*/ 2344406 h 4552991"/>
              <a:gd name="connsiteX125" fmla="*/ 5188019 w 5857912"/>
              <a:gd name="connsiteY125" fmla="*/ 2492040 h 4552991"/>
              <a:gd name="connsiteX126" fmla="*/ 5013784 w 5857912"/>
              <a:gd name="connsiteY126" fmla="*/ 2639674 h 4552991"/>
              <a:gd name="connsiteX127" fmla="*/ 4812506 w 5857912"/>
              <a:gd name="connsiteY127" fmla="*/ 2800609 h 4552991"/>
              <a:gd name="connsiteX128" fmla="*/ 4611227 w 5857912"/>
              <a:gd name="connsiteY128" fmla="*/ 2948242 h 4552991"/>
              <a:gd name="connsiteX129" fmla="*/ 4370048 w 5857912"/>
              <a:gd name="connsiteY129" fmla="*/ 3095876 h 4552991"/>
              <a:gd name="connsiteX130" fmla="*/ 4128868 w 5857912"/>
              <a:gd name="connsiteY130" fmla="*/ 3256809 h 4552991"/>
              <a:gd name="connsiteX131" fmla="*/ 3860644 w 5857912"/>
              <a:gd name="connsiteY131" fmla="*/ 3404443 h 4552991"/>
              <a:gd name="connsiteX132" fmla="*/ 3860644 w 5857912"/>
              <a:gd name="connsiteY132" fmla="*/ 4552991 h 4552991"/>
              <a:gd name="connsiteX133" fmla="*/ 3552521 w 5857912"/>
              <a:gd name="connsiteY133" fmla="*/ 4552991 h 4552991"/>
              <a:gd name="connsiteX134" fmla="*/ 3552521 w 5857912"/>
              <a:gd name="connsiteY134" fmla="*/ 1125653 h 4552991"/>
              <a:gd name="connsiteX135" fmla="*/ 3552521 w 5857912"/>
              <a:gd name="connsiteY135" fmla="*/ 80245 h 4552991"/>
              <a:gd name="connsiteX136" fmla="*/ 3767099 w 5857912"/>
              <a:gd name="connsiteY136" fmla="*/ 53646 h 4552991"/>
              <a:gd name="connsiteX137" fmla="*/ 3981679 w 5857912"/>
              <a:gd name="connsiteY137" fmla="*/ 13301 h 455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5857912" h="4552991">
                <a:moveTo>
                  <a:pt x="2573615" y="1153139"/>
                </a:moveTo>
                <a:lnTo>
                  <a:pt x="2573615" y="1153349"/>
                </a:lnTo>
                <a:lnTo>
                  <a:pt x="2346181" y="1260429"/>
                </a:lnTo>
                <a:lnTo>
                  <a:pt x="2131601" y="1367718"/>
                </a:lnTo>
                <a:lnTo>
                  <a:pt x="1930323" y="1488307"/>
                </a:lnTo>
                <a:lnTo>
                  <a:pt x="1756088" y="1608897"/>
                </a:lnTo>
                <a:lnTo>
                  <a:pt x="1581853" y="1742788"/>
                </a:lnTo>
                <a:lnTo>
                  <a:pt x="1434221" y="1863377"/>
                </a:lnTo>
                <a:lnTo>
                  <a:pt x="1300331" y="1997268"/>
                </a:lnTo>
                <a:lnTo>
                  <a:pt x="1179741" y="2131158"/>
                </a:lnTo>
                <a:lnTo>
                  <a:pt x="1072450" y="2265049"/>
                </a:lnTo>
                <a:lnTo>
                  <a:pt x="992205" y="2385638"/>
                </a:lnTo>
                <a:lnTo>
                  <a:pt x="925261" y="2519527"/>
                </a:lnTo>
                <a:lnTo>
                  <a:pt x="884916" y="2640117"/>
                </a:lnTo>
                <a:lnTo>
                  <a:pt x="858314" y="2760706"/>
                </a:lnTo>
                <a:lnTo>
                  <a:pt x="858314" y="2881296"/>
                </a:lnTo>
                <a:lnTo>
                  <a:pt x="871615" y="2988585"/>
                </a:lnTo>
                <a:lnTo>
                  <a:pt x="898217" y="3095876"/>
                </a:lnTo>
                <a:lnTo>
                  <a:pt x="938561" y="3162820"/>
                </a:lnTo>
                <a:lnTo>
                  <a:pt x="978904" y="3216466"/>
                </a:lnTo>
                <a:lnTo>
                  <a:pt x="1032550" y="3256809"/>
                </a:lnTo>
                <a:lnTo>
                  <a:pt x="1099494" y="3297154"/>
                </a:lnTo>
                <a:lnTo>
                  <a:pt x="1179741" y="3337498"/>
                </a:lnTo>
                <a:lnTo>
                  <a:pt x="1259986" y="3364542"/>
                </a:lnTo>
                <a:lnTo>
                  <a:pt x="1353974" y="3377843"/>
                </a:lnTo>
                <a:lnTo>
                  <a:pt x="1461263" y="3391144"/>
                </a:lnTo>
                <a:lnTo>
                  <a:pt x="1702443" y="3391144"/>
                </a:lnTo>
                <a:lnTo>
                  <a:pt x="1956923" y="3364542"/>
                </a:lnTo>
                <a:lnTo>
                  <a:pt x="2251748" y="3310897"/>
                </a:lnTo>
                <a:lnTo>
                  <a:pt x="2573615" y="3230652"/>
                </a:lnTo>
                <a:lnTo>
                  <a:pt x="2573615" y="1153349"/>
                </a:lnTo>
                <a:lnTo>
                  <a:pt x="2574060" y="1153139"/>
                </a:lnTo>
                <a:close/>
                <a:moveTo>
                  <a:pt x="2895926" y="254923"/>
                </a:moveTo>
                <a:lnTo>
                  <a:pt x="2883070" y="3594196"/>
                </a:lnTo>
                <a:lnTo>
                  <a:pt x="2888025" y="4552991"/>
                </a:lnTo>
                <a:lnTo>
                  <a:pt x="2574502" y="4552991"/>
                </a:lnTo>
                <a:lnTo>
                  <a:pt x="2574502" y="3728084"/>
                </a:lnTo>
                <a:lnTo>
                  <a:pt x="2373225" y="3795030"/>
                </a:lnTo>
                <a:lnTo>
                  <a:pt x="2158645" y="3848674"/>
                </a:lnTo>
                <a:lnTo>
                  <a:pt x="1957368" y="3889019"/>
                </a:lnTo>
                <a:lnTo>
                  <a:pt x="1756088" y="3916063"/>
                </a:lnTo>
                <a:lnTo>
                  <a:pt x="1554809" y="3916063"/>
                </a:lnTo>
                <a:lnTo>
                  <a:pt x="1367275" y="3916063"/>
                </a:lnTo>
                <a:lnTo>
                  <a:pt x="1179741" y="3902762"/>
                </a:lnTo>
                <a:lnTo>
                  <a:pt x="1005506" y="3862419"/>
                </a:lnTo>
                <a:lnTo>
                  <a:pt x="844571" y="3822074"/>
                </a:lnTo>
                <a:lnTo>
                  <a:pt x="696937" y="3768429"/>
                </a:lnTo>
                <a:lnTo>
                  <a:pt x="549303" y="3714785"/>
                </a:lnTo>
                <a:lnTo>
                  <a:pt x="428714" y="3647839"/>
                </a:lnTo>
                <a:lnTo>
                  <a:pt x="321425" y="3567594"/>
                </a:lnTo>
                <a:lnTo>
                  <a:pt x="227436" y="3473606"/>
                </a:lnTo>
                <a:lnTo>
                  <a:pt x="147191" y="3379616"/>
                </a:lnTo>
                <a:lnTo>
                  <a:pt x="93546" y="3285627"/>
                </a:lnTo>
                <a:lnTo>
                  <a:pt x="53201" y="3178338"/>
                </a:lnTo>
                <a:lnTo>
                  <a:pt x="26602" y="3071047"/>
                </a:lnTo>
                <a:lnTo>
                  <a:pt x="13301" y="2963758"/>
                </a:lnTo>
                <a:lnTo>
                  <a:pt x="0" y="2856469"/>
                </a:lnTo>
                <a:lnTo>
                  <a:pt x="13301" y="2749180"/>
                </a:lnTo>
                <a:lnTo>
                  <a:pt x="26602" y="2641891"/>
                </a:lnTo>
                <a:lnTo>
                  <a:pt x="39900" y="2534602"/>
                </a:lnTo>
                <a:lnTo>
                  <a:pt x="80245" y="2427311"/>
                </a:lnTo>
                <a:lnTo>
                  <a:pt x="120590" y="2320022"/>
                </a:lnTo>
                <a:lnTo>
                  <a:pt x="174236" y="2212733"/>
                </a:lnTo>
                <a:lnTo>
                  <a:pt x="294825" y="1998155"/>
                </a:lnTo>
                <a:lnTo>
                  <a:pt x="455758" y="1783575"/>
                </a:lnTo>
                <a:lnTo>
                  <a:pt x="657037" y="1582298"/>
                </a:lnTo>
                <a:lnTo>
                  <a:pt x="871615" y="1381018"/>
                </a:lnTo>
                <a:lnTo>
                  <a:pt x="1099494" y="1193484"/>
                </a:lnTo>
                <a:lnTo>
                  <a:pt x="1367717" y="1005948"/>
                </a:lnTo>
                <a:lnTo>
                  <a:pt x="1649242" y="831715"/>
                </a:lnTo>
                <a:lnTo>
                  <a:pt x="1944067" y="670780"/>
                </a:lnTo>
                <a:lnTo>
                  <a:pt x="2252190" y="523147"/>
                </a:lnTo>
                <a:lnTo>
                  <a:pt x="2574060" y="375513"/>
                </a:lnTo>
                <a:close/>
                <a:moveTo>
                  <a:pt x="3378286" y="107289"/>
                </a:moveTo>
                <a:lnTo>
                  <a:pt x="3378286" y="1126096"/>
                </a:lnTo>
                <a:lnTo>
                  <a:pt x="3378286" y="4552991"/>
                </a:lnTo>
                <a:lnTo>
                  <a:pt x="3070162" y="4552991"/>
                </a:lnTo>
                <a:lnTo>
                  <a:pt x="3070162" y="4155470"/>
                </a:lnTo>
                <a:lnTo>
                  <a:pt x="3070162" y="174235"/>
                </a:lnTo>
                <a:close/>
                <a:moveTo>
                  <a:pt x="4169213" y="0"/>
                </a:moveTo>
                <a:lnTo>
                  <a:pt x="4356747" y="0"/>
                </a:lnTo>
                <a:lnTo>
                  <a:pt x="4544283" y="0"/>
                </a:lnTo>
                <a:lnTo>
                  <a:pt x="4705216" y="13301"/>
                </a:lnTo>
                <a:lnTo>
                  <a:pt x="4852849" y="26602"/>
                </a:lnTo>
                <a:lnTo>
                  <a:pt x="5000483" y="66945"/>
                </a:lnTo>
                <a:lnTo>
                  <a:pt x="5134374" y="107289"/>
                </a:lnTo>
                <a:lnTo>
                  <a:pt x="5254963" y="160935"/>
                </a:lnTo>
                <a:lnTo>
                  <a:pt x="5362252" y="214578"/>
                </a:lnTo>
                <a:lnTo>
                  <a:pt x="5456242" y="281525"/>
                </a:lnTo>
                <a:lnTo>
                  <a:pt x="5550231" y="361769"/>
                </a:lnTo>
                <a:lnTo>
                  <a:pt x="5617177" y="442014"/>
                </a:lnTo>
                <a:lnTo>
                  <a:pt x="5670820" y="536005"/>
                </a:lnTo>
                <a:lnTo>
                  <a:pt x="5724466" y="629993"/>
                </a:lnTo>
                <a:lnTo>
                  <a:pt x="5027527" y="924818"/>
                </a:lnTo>
                <a:lnTo>
                  <a:pt x="4933539" y="857872"/>
                </a:lnTo>
                <a:lnTo>
                  <a:pt x="4826250" y="817527"/>
                </a:lnTo>
                <a:lnTo>
                  <a:pt x="4692360" y="790928"/>
                </a:lnTo>
                <a:lnTo>
                  <a:pt x="4544726" y="777627"/>
                </a:lnTo>
                <a:lnTo>
                  <a:pt x="4383791" y="777627"/>
                </a:lnTo>
                <a:lnTo>
                  <a:pt x="4222858" y="777627"/>
                </a:lnTo>
                <a:lnTo>
                  <a:pt x="4035322" y="804226"/>
                </a:lnTo>
                <a:lnTo>
                  <a:pt x="3861089" y="831270"/>
                </a:lnTo>
                <a:lnTo>
                  <a:pt x="3861089" y="2856027"/>
                </a:lnTo>
                <a:lnTo>
                  <a:pt x="4115567" y="2708393"/>
                </a:lnTo>
                <a:lnTo>
                  <a:pt x="4330148" y="2560759"/>
                </a:lnTo>
                <a:lnTo>
                  <a:pt x="4504380" y="2413125"/>
                </a:lnTo>
                <a:lnTo>
                  <a:pt x="4665315" y="2279235"/>
                </a:lnTo>
                <a:lnTo>
                  <a:pt x="4812949" y="2145344"/>
                </a:lnTo>
                <a:lnTo>
                  <a:pt x="4933539" y="1997710"/>
                </a:lnTo>
                <a:lnTo>
                  <a:pt x="5054128" y="1850077"/>
                </a:lnTo>
                <a:lnTo>
                  <a:pt x="5161418" y="1675843"/>
                </a:lnTo>
                <a:lnTo>
                  <a:pt x="4316846" y="2038055"/>
                </a:lnTo>
                <a:lnTo>
                  <a:pt x="4316846" y="1528652"/>
                </a:lnTo>
                <a:lnTo>
                  <a:pt x="4611670" y="1421363"/>
                </a:lnTo>
                <a:lnTo>
                  <a:pt x="4611670" y="1434664"/>
                </a:lnTo>
                <a:lnTo>
                  <a:pt x="5831312" y="895999"/>
                </a:lnTo>
                <a:lnTo>
                  <a:pt x="5857912" y="1070235"/>
                </a:lnTo>
                <a:lnTo>
                  <a:pt x="5857912" y="1231167"/>
                </a:lnTo>
                <a:lnTo>
                  <a:pt x="5844614" y="1392102"/>
                </a:lnTo>
                <a:lnTo>
                  <a:pt x="5818012" y="1553036"/>
                </a:lnTo>
                <a:lnTo>
                  <a:pt x="5764366" y="1713971"/>
                </a:lnTo>
                <a:lnTo>
                  <a:pt x="5684122" y="1874905"/>
                </a:lnTo>
                <a:lnTo>
                  <a:pt x="5590133" y="2035838"/>
                </a:lnTo>
                <a:lnTo>
                  <a:pt x="5469544" y="2183472"/>
                </a:lnTo>
                <a:lnTo>
                  <a:pt x="5335653" y="2344406"/>
                </a:lnTo>
                <a:lnTo>
                  <a:pt x="5188019" y="2492040"/>
                </a:lnTo>
                <a:lnTo>
                  <a:pt x="5013784" y="2639674"/>
                </a:lnTo>
                <a:lnTo>
                  <a:pt x="4812506" y="2800609"/>
                </a:lnTo>
                <a:lnTo>
                  <a:pt x="4611227" y="2948242"/>
                </a:lnTo>
                <a:lnTo>
                  <a:pt x="4370048" y="3095876"/>
                </a:lnTo>
                <a:lnTo>
                  <a:pt x="4128868" y="3256809"/>
                </a:lnTo>
                <a:lnTo>
                  <a:pt x="3860644" y="3404443"/>
                </a:lnTo>
                <a:lnTo>
                  <a:pt x="3860644" y="4552991"/>
                </a:lnTo>
                <a:lnTo>
                  <a:pt x="3552521" y="4552991"/>
                </a:lnTo>
                <a:lnTo>
                  <a:pt x="3552521" y="1125653"/>
                </a:lnTo>
                <a:lnTo>
                  <a:pt x="3552521" y="80245"/>
                </a:lnTo>
                <a:lnTo>
                  <a:pt x="3767099" y="53646"/>
                </a:lnTo>
                <a:lnTo>
                  <a:pt x="3981679" y="13301"/>
                </a:lnTo>
                <a:close/>
              </a:path>
            </a:pathLst>
          </a:custGeom>
          <a:solidFill>
            <a:schemeClr val="bg2"/>
          </a:solidFill>
          <a:ln w="2223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2" name="iṡľïḑè">
            <a:extLst>
              <a:ext uri="{FF2B5EF4-FFF2-40B4-BE49-F238E27FC236}">
                <a16:creationId xmlns:a16="http://schemas.microsoft.com/office/drawing/2014/main" id="{D3ECB39A-663F-4215-AD34-12A3E0AB7BDF}"/>
              </a:ext>
            </a:extLst>
          </p:cNvPr>
          <p:cNvSpPr txBox="1">
            <a:spLocks/>
          </p:cNvSpPr>
          <p:nvPr/>
        </p:nvSpPr>
        <p:spPr bwMode="auto">
          <a:xfrm>
            <a:off x="4492547" y="1409700"/>
            <a:ext cx="6372569" cy="4652857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lvl="0" indent="-342900" defTabSz="914354">
              <a:lnSpc>
                <a:spcPct val="120000"/>
              </a:lnSpc>
              <a:spcBef>
                <a:spcPts val="1000"/>
              </a:spcBef>
              <a:buSzPct val="80000"/>
              <a:buFont typeface="+mj-ea"/>
              <a:buAutoNum type="ea1JpnChsDbPeriod"/>
            </a:pPr>
            <a:r>
              <a:rPr lang="zh-CN" altLang="en-US" dirty="0">
                <a:solidFill>
                  <a:schemeClr val="accent1"/>
                </a:solidFill>
                <a:latin typeface="+mn-lt"/>
                <a:ea typeface="+mn-ea"/>
                <a:sym typeface="+mn-lt"/>
              </a:rPr>
              <a:t>一级目录层级样式</a:t>
            </a:r>
          </a:p>
          <a:p>
            <a:pPr marL="800077" lvl="1" indent="-342900" defTabSz="914354">
              <a:lnSpc>
                <a:spcPct val="120000"/>
              </a:lnSpc>
              <a:spcBef>
                <a:spcPts val="500"/>
              </a:spcBef>
              <a:buFont typeface="+mj-ea"/>
              <a:buAutoNum type="circleNumDbPlain"/>
            </a:pPr>
            <a:r>
              <a:rPr lang="zh-CN" altLang="en-US" sz="14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二级目录层级样式</a:t>
            </a:r>
          </a:p>
          <a:p>
            <a:pPr marL="1257253" lvl="2" indent="-342900" defTabSz="914354">
              <a:lnSpc>
                <a:spcPct val="120000"/>
              </a:lnSpc>
              <a:spcBef>
                <a:spcPts val="500"/>
              </a:spcBef>
              <a:buFont typeface="+mj-lt"/>
              <a:buAutoNum type="alphaLcParenR"/>
            </a:pPr>
            <a:r>
              <a:rPr lang="zh-CN" altLang="en-US" sz="12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三级目录层级样式</a:t>
            </a:r>
          </a:p>
          <a:p>
            <a:pPr marL="1257253" lvl="2" indent="-342900" defTabSz="914354">
              <a:lnSpc>
                <a:spcPct val="120000"/>
              </a:lnSpc>
              <a:spcBef>
                <a:spcPts val="500"/>
              </a:spcBef>
              <a:buFont typeface="+mj-lt"/>
              <a:buAutoNum type="alphaLcParenR"/>
            </a:pPr>
            <a:r>
              <a:rPr lang="en-US" altLang="zh-CN" sz="12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…</a:t>
            </a:r>
            <a:endParaRPr lang="zh-CN" altLang="en-US" sz="1200" b="0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342900" lvl="0" indent="-342900" defTabSz="914354">
              <a:lnSpc>
                <a:spcPct val="120000"/>
              </a:lnSpc>
              <a:spcBef>
                <a:spcPts val="1000"/>
              </a:spcBef>
              <a:buSzPct val="80000"/>
              <a:buFont typeface="+mj-ea"/>
              <a:buAutoNum type="ea1JpnChsDbPeriod"/>
            </a:pPr>
            <a:r>
              <a:rPr lang="zh-CN" altLang="en-US" dirty="0">
                <a:solidFill>
                  <a:schemeClr val="accent1"/>
                </a:solidFill>
                <a:latin typeface="+mn-lt"/>
                <a:ea typeface="+mn-ea"/>
                <a:sym typeface="+mn-lt"/>
              </a:rPr>
              <a:t>一级目录层级样式</a:t>
            </a:r>
            <a:endParaRPr lang="en-US" altLang="zh-CN" dirty="0">
              <a:solidFill>
                <a:schemeClr val="accent1"/>
              </a:solidFill>
              <a:latin typeface="+mn-lt"/>
              <a:ea typeface="+mn-ea"/>
              <a:sym typeface="+mn-lt"/>
            </a:endParaRPr>
          </a:p>
          <a:p>
            <a:pPr marL="800077" lvl="1" indent="-342900" defTabSz="914354">
              <a:lnSpc>
                <a:spcPct val="120000"/>
              </a:lnSpc>
              <a:spcBef>
                <a:spcPts val="500"/>
              </a:spcBef>
              <a:buFont typeface="+mj-ea"/>
              <a:buAutoNum type="circleNumDbPlain"/>
            </a:pPr>
            <a:r>
              <a:rPr lang="zh-CN" altLang="en-US" sz="14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二级目录层级样式</a:t>
            </a:r>
          </a:p>
          <a:p>
            <a:pPr marL="800077" lvl="1" indent="-342900" defTabSz="914354">
              <a:lnSpc>
                <a:spcPct val="120000"/>
              </a:lnSpc>
              <a:spcBef>
                <a:spcPts val="500"/>
              </a:spcBef>
              <a:buFont typeface="+mj-ea"/>
              <a:buAutoNum type="circleNumDbPlain"/>
            </a:pPr>
            <a:r>
              <a:rPr lang="en-US" altLang="zh-CN" sz="14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…</a:t>
            </a:r>
            <a:endParaRPr lang="zh-CN" altLang="en-US" sz="1400" b="0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342900" lvl="0" indent="-342900" defTabSz="914354">
              <a:lnSpc>
                <a:spcPct val="120000"/>
              </a:lnSpc>
              <a:spcBef>
                <a:spcPts val="1000"/>
              </a:spcBef>
              <a:buSzPct val="80000"/>
              <a:buFont typeface="+mj-ea"/>
              <a:buAutoNum type="ea1JpnChsDbPeriod"/>
            </a:pPr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sym typeface="+mn-lt"/>
              </a:rPr>
              <a:t>…</a:t>
            </a:r>
          </a:p>
        </p:txBody>
      </p:sp>
      <p:sp>
        <p:nvSpPr>
          <p:cNvPr id="13" name="ïṣľiḑê">
            <a:extLst>
              <a:ext uri="{FF2B5EF4-FFF2-40B4-BE49-F238E27FC236}">
                <a16:creationId xmlns:a16="http://schemas.microsoft.com/office/drawing/2014/main" id="{49EF053C-F122-4775-9C85-CEAB0DFEEFA1}"/>
              </a:ext>
            </a:extLst>
          </p:cNvPr>
          <p:cNvSpPr/>
          <p:nvPr/>
        </p:nvSpPr>
        <p:spPr>
          <a:xfrm>
            <a:off x="673100" y="1740879"/>
            <a:ext cx="3940936" cy="672121"/>
          </a:xfrm>
          <a:prstGeom prst="rect">
            <a:avLst/>
          </a:prstGeom>
        </p:spPr>
        <p:txBody>
          <a:bodyPr wrap="square" lIns="91440" tIns="45720" rIns="91440" bIns="45720">
            <a:normAutofit/>
          </a:bodyPr>
          <a:lstStyle/>
          <a:p>
            <a:r>
              <a:rPr lang="zh-CN" altLang="en-US" sz="3600" b="1" kern="0" dirty="0">
                <a:ln w="6350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目录</a:t>
            </a:r>
            <a:r>
              <a:rPr lang="en-US" altLang="zh-CN" sz="3600" b="1" kern="0" dirty="0">
                <a:ln w="6350"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/</a:t>
            </a:r>
            <a:r>
              <a:rPr lang="zh-CN" altLang="en-US" sz="3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Contents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906CFA0D-6CA3-4FE8-AE6C-1BD3937C6491}"/>
              </a:ext>
            </a:extLst>
          </p:cNvPr>
          <p:cNvCxnSpPr/>
          <p:nvPr/>
        </p:nvCxnSpPr>
        <p:spPr>
          <a:xfrm>
            <a:off x="4038600" y="1473200"/>
            <a:ext cx="0" cy="3962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形 13">
            <a:extLst>
              <a:ext uri="{FF2B5EF4-FFF2-40B4-BE49-F238E27FC236}">
                <a16:creationId xmlns:a16="http://schemas.microsoft.com/office/drawing/2014/main" id="{C53AA92B-D0BA-4AFA-B501-42D4CA7BEE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86487" y="5026310"/>
            <a:ext cx="1823198" cy="40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A8256E8-6BC2-4CCC-8A32-FD8B34373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E439CD6-6D4C-4F0C-BE2C-38B72F049C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DF30A5D-B281-401F-9F99-D324D4341F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grpSp>
        <p:nvGrpSpPr>
          <p:cNvPr id="5" name="2fa3383a-50dc-4876-b1da-c9e6ef69e0f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D2A69AD-C0A4-4BCC-879C-E05F2CC3F7AE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718964" y="1435768"/>
            <a:ext cx="10736964" cy="4326793"/>
            <a:chOff x="718964" y="1435768"/>
            <a:chExt cx="10736964" cy="4326793"/>
          </a:xfrm>
        </p:grpSpPr>
        <p:sp>
          <p:nvSpPr>
            <p:cNvPr id="6" name="ïŝlíḍé">
              <a:extLst>
                <a:ext uri="{FF2B5EF4-FFF2-40B4-BE49-F238E27FC236}">
                  <a16:creationId xmlns:a16="http://schemas.microsoft.com/office/drawing/2014/main" id="{213DF729-6D56-4758-9AF1-7ED8A6AA8A07}"/>
                </a:ext>
              </a:extLst>
            </p:cNvPr>
            <p:cNvSpPr/>
            <p:nvPr/>
          </p:nvSpPr>
          <p:spPr>
            <a:xfrm>
              <a:off x="718964" y="1927672"/>
              <a:ext cx="3452220" cy="14748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sz="4400" b="1" dirty="0"/>
                <a:t>30%</a:t>
              </a:r>
              <a:endParaRPr sz="4400" b="1" dirty="0"/>
            </a:p>
          </p:txBody>
        </p:sp>
        <p:sp>
          <p:nvSpPr>
            <p:cNvPr id="7" name="íṩļïdê">
              <a:extLst>
                <a:ext uri="{FF2B5EF4-FFF2-40B4-BE49-F238E27FC236}">
                  <a16:creationId xmlns:a16="http://schemas.microsoft.com/office/drawing/2014/main" id="{E9DF8E50-C704-4DEA-BA3C-B155FD1A0529}"/>
                </a:ext>
              </a:extLst>
            </p:cNvPr>
            <p:cNvSpPr/>
            <p:nvPr/>
          </p:nvSpPr>
          <p:spPr>
            <a:xfrm>
              <a:off x="718964" y="1556792"/>
              <a:ext cx="3452220" cy="393135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2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8" name="íṡľíḍè">
              <a:extLst>
                <a:ext uri="{FF2B5EF4-FFF2-40B4-BE49-F238E27FC236}">
                  <a16:creationId xmlns:a16="http://schemas.microsoft.com/office/drawing/2014/main" id="{E6244CB8-9FFA-4072-B15D-055B0EEC49E0}"/>
                </a:ext>
              </a:extLst>
            </p:cNvPr>
            <p:cNvSpPr/>
            <p:nvPr/>
          </p:nvSpPr>
          <p:spPr>
            <a:xfrm>
              <a:off x="718964" y="5215179"/>
              <a:ext cx="3452220" cy="4691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sz="2000" b="1" dirty="0"/>
                <a:t>Keyword</a:t>
              </a:r>
              <a:endParaRPr lang="zh-CN" altLang="en-US" sz="2000" b="1" dirty="0"/>
            </a:p>
          </p:txBody>
        </p:sp>
        <p:sp>
          <p:nvSpPr>
            <p:cNvPr id="9" name="îṧľíḍe">
              <a:extLst>
                <a:ext uri="{FF2B5EF4-FFF2-40B4-BE49-F238E27FC236}">
                  <a16:creationId xmlns:a16="http://schemas.microsoft.com/office/drawing/2014/main" id="{CEC5C454-6825-451E-B146-618C34A44D64}"/>
                </a:ext>
              </a:extLst>
            </p:cNvPr>
            <p:cNvSpPr/>
            <p:nvPr/>
          </p:nvSpPr>
          <p:spPr>
            <a:xfrm>
              <a:off x="4361048" y="1927671"/>
              <a:ext cx="3452220" cy="1474869"/>
            </a:xfrm>
            <a:prstGeom prst="rect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sz="4800" b="1" dirty="0"/>
                <a:t>50%</a:t>
              </a:r>
              <a:endParaRPr sz="4800" b="1" dirty="0"/>
            </a:p>
          </p:txBody>
        </p:sp>
        <p:sp>
          <p:nvSpPr>
            <p:cNvPr id="10" name="îSlïdè">
              <a:extLst>
                <a:ext uri="{FF2B5EF4-FFF2-40B4-BE49-F238E27FC236}">
                  <a16:creationId xmlns:a16="http://schemas.microsoft.com/office/drawing/2014/main" id="{7606E312-EB0F-46A6-934C-47C51F8F95C1}"/>
                </a:ext>
              </a:extLst>
            </p:cNvPr>
            <p:cNvSpPr/>
            <p:nvPr/>
          </p:nvSpPr>
          <p:spPr>
            <a:xfrm>
              <a:off x="4361048" y="1435768"/>
              <a:ext cx="3452220" cy="514161"/>
            </a:xfrm>
            <a:prstGeom prst="rect">
              <a:avLst/>
            </a:prstGeom>
            <a:solidFill>
              <a:schemeClr val="accent1">
                <a:alpha val="2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1" name="íṣḻíďê">
              <a:extLst>
                <a:ext uri="{FF2B5EF4-FFF2-40B4-BE49-F238E27FC236}">
                  <a16:creationId xmlns:a16="http://schemas.microsoft.com/office/drawing/2014/main" id="{9FAB23BD-5BA4-45D7-9103-5038865BCC35}"/>
                </a:ext>
              </a:extLst>
            </p:cNvPr>
            <p:cNvSpPr/>
            <p:nvPr/>
          </p:nvSpPr>
          <p:spPr>
            <a:xfrm>
              <a:off x="4361047" y="5194866"/>
              <a:ext cx="3452221" cy="567695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sz="2000" b="1" dirty="0"/>
                <a:t>Keyword</a:t>
              </a:r>
              <a:endParaRPr lang="zh-CN" altLang="en-US" sz="2000" b="1" dirty="0"/>
            </a:p>
          </p:txBody>
        </p:sp>
        <p:sp>
          <p:nvSpPr>
            <p:cNvPr id="12" name="íś1iḓé">
              <a:extLst>
                <a:ext uri="{FF2B5EF4-FFF2-40B4-BE49-F238E27FC236}">
                  <a16:creationId xmlns:a16="http://schemas.microsoft.com/office/drawing/2014/main" id="{288E28E5-6707-477B-9238-E1E9B380204B}"/>
                </a:ext>
              </a:extLst>
            </p:cNvPr>
            <p:cNvSpPr/>
            <p:nvPr/>
          </p:nvSpPr>
          <p:spPr>
            <a:xfrm>
              <a:off x="8003708" y="1927672"/>
              <a:ext cx="3452220" cy="14748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sz="4400" b="1" dirty="0"/>
                <a:t>30%</a:t>
              </a:r>
              <a:endParaRPr sz="4400" b="1" dirty="0"/>
            </a:p>
          </p:txBody>
        </p:sp>
        <p:sp>
          <p:nvSpPr>
            <p:cNvPr id="13" name="ï$ľíḍè">
              <a:extLst>
                <a:ext uri="{FF2B5EF4-FFF2-40B4-BE49-F238E27FC236}">
                  <a16:creationId xmlns:a16="http://schemas.microsoft.com/office/drawing/2014/main" id="{1BFEDE1B-AFA7-405B-A1C6-703CB0C59291}"/>
                </a:ext>
              </a:extLst>
            </p:cNvPr>
            <p:cNvSpPr/>
            <p:nvPr/>
          </p:nvSpPr>
          <p:spPr>
            <a:xfrm>
              <a:off x="8003708" y="1556793"/>
              <a:ext cx="3452220" cy="393135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2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4" name="íṧ1íďé">
              <a:extLst>
                <a:ext uri="{FF2B5EF4-FFF2-40B4-BE49-F238E27FC236}">
                  <a16:creationId xmlns:a16="http://schemas.microsoft.com/office/drawing/2014/main" id="{D7741EE1-0537-458F-9134-071AAE4B9508}"/>
                </a:ext>
              </a:extLst>
            </p:cNvPr>
            <p:cNvSpPr/>
            <p:nvPr/>
          </p:nvSpPr>
          <p:spPr>
            <a:xfrm>
              <a:off x="8003708" y="5215179"/>
              <a:ext cx="3452220" cy="4691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sz="2000" b="1" dirty="0"/>
                <a:t>Keyword</a:t>
              </a:r>
              <a:endParaRPr lang="zh-CN" altLang="en-US" sz="2000" b="1" dirty="0"/>
            </a:p>
          </p:txBody>
        </p:sp>
        <p:grpSp>
          <p:nvGrpSpPr>
            <p:cNvPr id="15" name="î$ļîďe">
              <a:extLst>
                <a:ext uri="{FF2B5EF4-FFF2-40B4-BE49-F238E27FC236}">
                  <a16:creationId xmlns:a16="http://schemas.microsoft.com/office/drawing/2014/main" id="{280CBB26-C5CD-4086-BF79-4E584CAA7876}"/>
                </a:ext>
              </a:extLst>
            </p:cNvPr>
            <p:cNvGrpSpPr/>
            <p:nvPr/>
          </p:nvGrpSpPr>
          <p:grpSpPr>
            <a:xfrm>
              <a:off x="1124888" y="3586638"/>
              <a:ext cx="2640372" cy="1444441"/>
              <a:chOff x="1124888" y="3599654"/>
              <a:chExt cx="2640372" cy="1444441"/>
            </a:xfrm>
          </p:grpSpPr>
          <p:sp>
            <p:nvSpPr>
              <p:cNvPr id="22" name="iṡľiḓè">
                <a:extLst>
                  <a:ext uri="{FF2B5EF4-FFF2-40B4-BE49-F238E27FC236}">
                    <a16:creationId xmlns:a16="http://schemas.microsoft.com/office/drawing/2014/main" id="{CA624439-3FC7-46A1-A824-2CBA1829B640}"/>
                  </a:ext>
                </a:extLst>
              </p:cNvPr>
              <p:cNvSpPr txBox="1"/>
              <p:nvPr/>
            </p:nvSpPr>
            <p:spPr>
              <a:xfrm>
                <a:off x="1124889" y="3993043"/>
                <a:ext cx="2640371" cy="105105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3" name="íṣľiḍè">
                <a:extLst>
                  <a:ext uri="{FF2B5EF4-FFF2-40B4-BE49-F238E27FC236}">
                    <a16:creationId xmlns:a16="http://schemas.microsoft.com/office/drawing/2014/main" id="{200F8E15-8A1A-48BF-9FB2-804E4981842A}"/>
                  </a:ext>
                </a:extLst>
              </p:cNvPr>
              <p:cNvSpPr txBox="1"/>
              <p:nvPr/>
            </p:nvSpPr>
            <p:spPr>
              <a:xfrm>
                <a:off x="1124888" y="3599654"/>
                <a:ext cx="2640372" cy="39338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ctr"/>
                <a:r>
                  <a:rPr lang="en-US" altLang="zh-CN" b="1" dirty="0"/>
                  <a:t>Text Here</a:t>
                </a:r>
                <a:endParaRPr lang="zh-CN" altLang="en-US" b="1" dirty="0"/>
              </a:p>
            </p:txBody>
          </p:sp>
        </p:grpSp>
        <p:grpSp>
          <p:nvGrpSpPr>
            <p:cNvPr id="16" name="iṣḻiḍe">
              <a:extLst>
                <a:ext uri="{FF2B5EF4-FFF2-40B4-BE49-F238E27FC236}">
                  <a16:creationId xmlns:a16="http://schemas.microsoft.com/office/drawing/2014/main" id="{CE6FCD7D-BDE8-485C-BAD5-4904AA0B89BE}"/>
                </a:ext>
              </a:extLst>
            </p:cNvPr>
            <p:cNvGrpSpPr/>
            <p:nvPr/>
          </p:nvGrpSpPr>
          <p:grpSpPr>
            <a:xfrm>
              <a:off x="4766971" y="3586638"/>
              <a:ext cx="2640372" cy="1444441"/>
              <a:chOff x="1124888" y="3599654"/>
              <a:chExt cx="2640372" cy="1444441"/>
            </a:xfrm>
          </p:grpSpPr>
          <p:sp>
            <p:nvSpPr>
              <p:cNvPr id="20" name="ïsľíďe">
                <a:extLst>
                  <a:ext uri="{FF2B5EF4-FFF2-40B4-BE49-F238E27FC236}">
                    <a16:creationId xmlns:a16="http://schemas.microsoft.com/office/drawing/2014/main" id="{CA624439-3FC7-46A1-A824-2CBA1829B640}"/>
                  </a:ext>
                </a:extLst>
              </p:cNvPr>
              <p:cNvSpPr txBox="1"/>
              <p:nvPr/>
            </p:nvSpPr>
            <p:spPr>
              <a:xfrm>
                <a:off x="1124889" y="3993043"/>
                <a:ext cx="2640371" cy="105105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1" name="iṥ1ïḍe">
                <a:extLst>
                  <a:ext uri="{FF2B5EF4-FFF2-40B4-BE49-F238E27FC236}">
                    <a16:creationId xmlns:a16="http://schemas.microsoft.com/office/drawing/2014/main" id="{200F8E15-8A1A-48BF-9FB2-804E4981842A}"/>
                  </a:ext>
                </a:extLst>
              </p:cNvPr>
              <p:cNvSpPr txBox="1"/>
              <p:nvPr/>
            </p:nvSpPr>
            <p:spPr>
              <a:xfrm>
                <a:off x="1124888" y="3599654"/>
                <a:ext cx="2640372" cy="39338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ctr"/>
                <a:r>
                  <a:rPr lang="en-US" altLang="zh-CN" b="1" dirty="0"/>
                  <a:t>Text Here</a:t>
                </a:r>
                <a:endParaRPr lang="zh-CN" altLang="en-US" b="1" dirty="0"/>
              </a:p>
            </p:txBody>
          </p:sp>
        </p:grpSp>
        <p:grpSp>
          <p:nvGrpSpPr>
            <p:cNvPr id="17" name="ïşḷïdè">
              <a:extLst>
                <a:ext uri="{FF2B5EF4-FFF2-40B4-BE49-F238E27FC236}">
                  <a16:creationId xmlns:a16="http://schemas.microsoft.com/office/drawing/2014/main" id="{6D1056E4-A9B3-43DE-9B4A-41FC4D4B490E}"/>
                </a:ext>
              </a:extLst>
            </p:cNvPr>
            <p:cNvGrpSpPr/>
            <p:nvPr/>
          </p:nvGrpSpPr>
          <p:grpSpPr>
            <a:xfrm>
              <a:off x="8409632" y="3586638"/>
              <a:ext cx="2640372" cy="1444441"/>
              <a:chOff x="1124888" y="3599654"/>
              <a:chExt cx="2640372" cy="1444441"/>
            </a:xfrm>
          </p:grpSpPr>
          <p:sp>
            <p:nvSpPr>
              <p:cNvPr id="18" name="îṡļïḍè">
                <a:extLst>
                  <a:ext uri="{FF2B5EF4-FFF2-40B4-BE49-F238E27FC236}">
                    <a16:creationId xmlns:a16="http://schemas.microsoft.com/office/drawing/2014/main" id="{CA624439-3FC7-46A1-A824-2CBA1829B640}"/>
                  </a:ext>
                </a:extLst>
              </p:cNvPr>
              <p:cNvSpPr txBox="1"/>
              <p:nvPr/>
            </p:nvSpPr>
            <p:spPr>
              <a:xfrm>
                <a:off x="1124889" y="3993043"/>
                <a:ext cx="2640371" cy="105105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9" name="ísḷidé">
                <a:extLst>
                  <a:ext uri="{FF2B5EF4-FFF2-40B4-BE49-F238E27FC236}">
                    <a16:creationId xmlns:a16="http://schemas.microsoft.com/office/drawing/2014/main" id="{200F8E15-8A1A-48BF-9FB2-804E4981842A}"/>
                  </a:ext>
                </a:extLst>
              </p:cNvPr>
              <p:cNvSpPr txBox="1"/>
              <p:nvPr/>
            </p:nvSpPr>
            <p:spPr>
              <a:xfrm>
                <a:off x="1124888" y="3599654"/>
                <a:ext cx="2640372" cy="39338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ctr"/>
                <a:r>
                  <a:rPr lang="en-US" altLang="zh-CN" b="1" dirty="0"/>
                  <a:t>Text Here</a:t>
                </a:r>
                <a:endParaRPr lang="zh-CN" altLang="en-US" b="1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03369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4FE03F-BAC9-4027-834E-999E2B9EF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23C6297-6AF9-42E7-8883-D5CF6FA3C1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0975194-AAAE-4DA9-A8F0-094CB7D7E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51" name="iṩļîdé">
            <a:extLst>
              <a:ext uri="{FF2B5EF4-FFF2-40B4-BE49-F238E27FC236}">
                <a16:creationId xmlns:a16="http://schemas.microsoft.com/office/drawing/2014/main" id="{AD9E48E3-2081-459A-A30A-06671AAE39B0}"/>
              </a:ext>
            </a:extLst>
          </p:cNvPr>
          <p:cNvSpPr/>
          <p:nvPr/>
        </p:nvSpPr>
        <p:spPr bwMode="auto">
          <a:xfrm>
            <a:off x="-12913" y="6355334"/>
            <a:ext cx="4796997" cy="502666"/>
          </a:xfrm>
          <a:custGeom>
            <a:avLst/>
            <a:gdLst>
              <a:gd name="T0" fmla="*/ 0 w 2214"/>
              <a:gd name="T1" fmla="*/ 0 h 232"/>
              <a:gd name="T2" fmla="*/ 0 w 2214"/>
              <a:gd name="T3" fmla="*/ 232 h 232"/>
              <a:gd name="T4" fmla="*/ 2214 w 2214"/>
              <a:gd name="T5" fmla="*/ 232 h 232"/>
              <a:gd name="T6" fmla="*/ 0 w 2214"/>
              <a:gd name="T7" fmla="*/ 0 h 2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14" h="232">
                <a:moveTo>
                  <a:pt x="0" y="0"/>
                </a:moveTo>
                <a:lnTo>
                  <a:pt x="0" y="232"/>
                </a:lnTo>
                <a:lnTo>
                  <a:pt x="2214" y="23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52" name="ïṣlíḋè">
            <a:extLst>
              <a:ext uri="{FF2B5EF4-FFF2-40B4-BE49-F238E27FC236}">
                <a16:creationId xmlns:a16="http://schemas.microsoft.com/office/drawing/2014/main" id="{4D06023E-B813-469D-A079-57DE18B28337}"/>
              </a:ext>
            </a:extLst>
          </p:cNvPr>
          <p:cNvSpPr/>
          <p:nvPr/>
        </p:nvSpPr>
        <p:spPr bwMode="auto">
          <a:xfrm>
            <a:off x="-12913" y="6032500"/>
            <a:ext cx="12217826" cy="825500"/>
          </a:xfrm>
          <a:custGeom>
            <a:avLst/>
            <a:gdLst>
              <a:gd name="T0" fmla="*/ 5639 w 5639"/>
              <a:gd name="T1" fmla="*/ 0 h 381"/>
              <a:gd name="T2" fmla="*/ 0 w 5639"/>
              <a:gd name="T3" fmla="*/ 381 h 381"/>
              <a:gd name="T4" fmla="*/ 5639 w 5639"/>
              <a:gd name="T5" fmla="*/ 381 h 381"/>
              <a:gd name="T6" fmla="*/ 5639 w 5639"/>
              <a:gd name="T7" fmla="*/ 0 h 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39" h="381">
                <a:moveTo>
                  <a:pt x="5639" y="0"/>
                </a:moveTo>
                <a:lnTo>
                  <a:pt x="0" y="381"/>
                </a:lnTo>
                <a:lnTo>
                  <a:pt x="5639" y="381"/>
                </a:lnTo>
                <a:lnTo>
                  <a:pt x="5639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53" name="îşḻïḓe">
            <a:extLst>
              <a:ext uri="{FF2B5EF4-FFF2-40B4-BE49-F238E27FC236}">
                <a16:creationId xmlns:a16="http://schemas.microsoft.com/office/drawing/2014/main" id="{77E05C54-92F5-45C8-9A00-9D343095390B}"/>
              </a:ext>
            </a:extLst>
          </p:cNvPr>
          <p:cNvSpPr/>
          <p:nvPr/>
        </p:nvSpPr>
        <p:spPr bwMode="auto">
          <a:xfrm>
            <a:off x="-12913" y="6260000"/>
            <a:ext cx="12217826" cy="598000"/>
          </a:xfrm>
          <a:custGeom>
            <a:avLst/>
            <a:gdLst>
              <a:gd name="T0" fmla="*/ 5639 w 5639"/>
              <a:gd name="T1" fmla="*/ 0 h 276"/>
              <a:gd name="T2" fmla="*/ 0 w 5639"/>
              <a:gd name="T3" fmla="*/ 276 h 276"/>
              <a:gd name="T4" fmla="*/ 5639 w 5639"/>
              <a:gd name="T5" fmla="*/ 276 h 276"/>
              <a:gd name="T6" fmla="*/ 5639 w 5639"/>
              <a:gd name="T7" fmla="*/ 0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639" h="276">
                <a:moveTo>
                  <a:pt x="5639" y="0"/>
                </a:moveTo>
                <a:lnTo>
                  <a:pt x="0" y="276"/>
                </a:lnTo>
                <a:lnTo>
                  <a:pt x="5639" y="276"/>
                </a:lnTo>
                <a:lnTo>
                  <a:pt x="5639" y="0"/>
                </a:lnTo>
                <a:close/>
              </a:path>
            </a:pathLst>
          </a:custGeom>
          <a:gradFill>
            <a:gsLst>
              <a:gs pos="5100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grpSp>
        <p:nvGrpSpPr>
          <p:cNvPr id="45" name="ïṥ1ïḑê">
            <a:extLst>
              <a:ext uri="{FF2B5EF4-FFF2-40B4-BE49-F238E27FC236}">
                <a16:creationId xmlns:a16="http://schemas.microsoft.com/office/drawing/2014/main" id="{98FB2E09-5415-41D9-8701-A03B5EE70B7E}"/>
              </a:ext>
            </a:extLst>
          </p:cNvPr>
          <p:cNvGrpSpPr/>
          <p:nvPr/>
        </p:nvGrpSpPr>
        <p:grpSpPr>
          <a:xfrm>
            <a:off x="1937961" y="1405093"/>
            <a:ext cx="3477034" cy="1176861"/>
            <a:chOff x="8041866" y="1130300"/>
            <a:chExt cx="3477034" cy="1176861"/>
          </a:xfrm>
        </p:grpSpPr>
        <p:sp>
          <p:nvSpPr>
            <p:cNvPr id="49" name="îsḻiḋe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8041866" y="1130300"/>
              <a:ext cx="3477034" cy="42499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01.Text here</a:t>
              </a:r>
              <a:endParaRPr lang="id-ID" b="1" dirty="0"/>
            </a:p>
          </p:txBody>
        </p:sp>
        <p:sp>
          <p:nvSpPr>
            <p:cNvPr id="50" name="iṧļíḍè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041866" y="1555294"/>
              <a:ext cx="3477034" cy="7518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sp>
        <p:nvSpPr>
          <p:cNvPr id="47" name="íṡlîḑê">
            <a:extLst>
              <a:ext uri="{FF2B5EF4-FFF2-40B4-BE49-F238E27FC236}">
                <a16:creationId xmlns:a16="http://schemas.microsoft.com/office/drawing/2014/main" id="{4BE02969-B199-4F88-9B4F-9C9DB5644E29}"/>
              </a:ext>
            </a:extLst>
          </p:cNvPr>
          <p:cNvSpPr/>
          <p:nvPr/>
        </p:nvSpPr>
        <p:spPr>
          <a:xfrm>
            <a:off x="1033460" y="1597523"/>
            <a:ext cx="792000" cy="792000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id-ID"/>
          </a:p>
        </p:txBody>
      </p:sp>
      <p:sp>
        <p:nvSpPr>
          <p:cNvPr id="57" name="i$lïďê">
            <a:extLst>
              <a:ext uri="{FF2B5EF4-FFF2-40B4-BE49-F238E27FC236}">
                <a16:creationId xmlns:a16="http://schemas.microsoft.com/office/drawing/2014/main" id="{DC1D4EE1-9F0B-4495-BB51-8F9FBCC11BF3}"/>
              </a:ext>
            </a:extLst>
          </p:cNvPr>
          <p:cNvSpPr/>
          <p:nvPr/>
        </p:nvSpPr>
        <p:spPr>
          <a:xfrm>
            <a:off x="1257070" y="1805556"/>
            <a:ext cx="344779" cy="375934"/>
          </a:xfrm>
          <a:custGeom>
            <a:avLst/>
            <a:gdLst>
              <a:gd name="T0" fmla="*/ 168 w 208"/>
              <a:gd name="T1" fmla="*/ 0 h 224"/>
              <a:gd name="T2" fmla="*/ 168 w 208"/>
              <a:gd name="T3" fmla="*/ 68 h 224"/>
              <a:gd name="T4" fmla="*/ 108 w 208"/>
              <a:gd name="T5" fmla="*/ 68 h 224"/>
              <a:gd name="T6" fmla="*/ 108 w 208"/>
              <a:gd name="T7" fmla="*/ 124 h 224"/>
              <a:gd name="T8" fmla="*/ 192 w 208"/>
              <a:gd name="T9" fmla="*/ 124 h 224"/>
              <a:gd name="T10" fmla="*/ 192 w 208"/>
              <a:gd name="T11" fmla="*/ 184 h 224"/>
              <a:gd name="T12" fmla="*/ 208 w 208"/>
              <a:gd name="T13" fmla="*/ 184 h 224"/>
              <a:gd name="T14" fmla="*/ 208 w 208"/>
              <a:gd name="T15" fmla="*/ 224 h 224"/>
              <a:gd name="T16" fmla="*/ 168 w 208"/>
              <a:gd name="T17" fmla="*/ 224 h 224"/>
              <a:gd name="T18" fmla="*/ 168 w 208"/>
              <a:gd name="T19" fmla="*/ 184 h 224"/>
              <a:gd name="T20" fmla="*/ 184 w 208"/>
              <a:gd name="T21" fmla="*/ 184 h 224"/>
              <a:gd name="T22" fmla="*/ 184 w 208"/>
              <a:gd name="T23" fmla="*/ 132 h 224"/>
              <a:gd name="T24" fmla="*/ 108 w 208"/>
              <a:gd name="T25" fmla="*/ 132 h 224"/>
              <a:gd name="T26" fmla="*/ 108 w 208"/>
              <a:gd name="T27" fmla="*/ 184 h 224"/>
              <a:gd name="T28" fmla="*/ 124 w 208"/>
              <a:gd name="T29" fmla="*/ 184 h 224"/>
              <a:gd name="T30" fmla="*/ 124 w 208"/>
              <a:gd name="T31" fmla="*/ 224 h 224"/>
              <a:gd name="T32" fmla="*/ 84 w 208"/>
              <a:gd name="T33" fmla="*/ 224 h 224"/>
              <a:gd name="T34" fmla="*/ 84 w 208"/>
              <a:gd name="T35" fmla="*/ 184 h 224"/>
              <a:gd name="T36" fmla="*/ 100 w 208"/>
              <a:gd name="T37" fmla="*/ 184 h 224"/>
              <a:gd name="T38" fmla="*/ 100 w 208"/>
              <a:gd name="T39" fmla="*/ 132 h 224"/>
              <a:gd name="T40" fmla="*/ 24 w 208"/>
              <a:gd name="T41" fmla="*/ 132 h 224"/>
              <a:gd name="T42" fmla="*/ 24 w 208"/>
              <a:gd name="T43" fmla="*/ 184 h 224"/>
              <a:gd name="T44" fmla="*/ 40 w 208"/>
              <a:gd name="T45" fmla="*/ 184 h 224"/>
              <a:gd name="T46" fmla="*/ 40 w 208"/>
              <a:gd name="T47" fmla="*/ 224 h 224"/>
              <a:gd name="T48" fmla="*/ 0 w 208"/>
              <a:gd name="T49" fmla="*/ 224 h 224"/>
              <a:gd name="T50" fmla="*/ 0 w 208"/>
              <a:gd name="T51" fmla="*/ 184 h 224"/>
              <a:gd name="T52" fmla="*/ 16 w 208"/>
              <a:gd name="T53" fmla="*/ 184 h 224"/>
              <a:gd name="T54" fmla="*/ 16 w 208"/>
              <a:gd name="T55" fmla="*/ 124 h 224"/>
              <a:gd name="T56" fmla="*/ 100 w 208"/>
              <a:gd name="T57" fmla="*/ 124 h 224"/>
              <a:gd name="T58" fmla="*/ 100 w 208"/>
              <a:gd name="T59" fmla="*/ 68 h 224"/>
              <a:gd name="T60" fmla="*/ 40 w 208"/>
              <a:gd name="T61" fmla="*/ 68 h 224"/>
              <a:gd name="T62" fmla="*/ 40 w 208"/>
              <a:gd name="T63" fmla="*/ 0 h 224"/>
              <a:gd name="T64" fmla="*/ 168 w 208"/>
              <a:gd name="T65" fmla="*/ 0 h 224"/>
              <a:gd name="T66" fmla="*/ 32 w 208"/>
              <a:gd name="T67" fmla="*/ 192 h 224"/>
              <a:gd name="T68" fmla="*/ 8 w 208"/>
              <a:gd name="T69" fmla="*/ 192 h 224"/>
              <a:gd name="T70" fmla="*/ 8 w 208"/>
              <a:gd name="T71" fmla="*/ 216 h 224"/>
              <a:gd name="T72" fmla="*/ 32 w 208"/>
              <a:gd name="T73" fmla="*/ 216 h 224"/>
              <a:gd name="T74" fmla="*/ 32 w 208"/>
              <a:gd name="T75" fmla="*/ 192 h 224"/>
              <a:gd name="T76" fmla="*/ 116 w 208"/>
              <a:gd name="T77" fmla="*/ 192 h 224"/>
              <a:gd name="T78" fmla="*/ 92 w 208"/>
              <a:gd name="T79" fmla="*/ 192 h 224"/>
              <a:gd name="T80" fmla="*/ 92 w 208"/>
              <a:gd name="T81" fmla="*/ 216 h 224"/>
              <a:gd name="T82" fmla="*/ 116 w 208"/>
              <a:gd name="T83" fmla="*/ 216 h 224"/>
              <a:gd name="T84" fmla="*/ 116 w 208"/>
              <a:gd name="T85" fmla="*/ 192 h 224"/>
              <a:gd name="T86" fmla="*/ 200 w 208"/>
              <a:gd name="T87" fmla="*/ 192 h 224"/>
              <a:gd name="T88" fmla="*/ 176 w 208"/>
              <a:gd name="T89" fmla="*/ 192 h 224"/>
              <a:gd name="T90" fmla="*/ 176 w 208"/>
              <a:gd name="T91" fmla="*/ 216 h 224"/>
              <a:gd name="T92" fmla="*/ 200 w 208"/>
              <a:gd name="T93" fmla="*/ 216 h 224"/>
              <a:gd name="T94" fmla="*/ 200 w 208"/>
              <a:gd name="T95" fmla="*/ 192 h 224"/>
              <a:gd name="T96" fmla="*/ 160 w 208"/>
              <a:gd name="T97" fmla="*/ 8 h 224"/>
              <a:gd name="T98" fmla="*/ 48 w 208"/>
              <a:gd name="T99" fmla="*/ 8 h 224"/>
              <a:gd name="T100" fmla="*/ 48 w 208"/>
              <a:gd name="T101" fmla="*/ 60 h 224"/>
              <a:gd name="T102" fmla="*/ 160 w 208"/>
              <a:gd name="T103" fmla="*/ 60 h 224"/>
              <a:gd name="T104" fmla="*/ 160 w 208"/>
              <a:gd name="T105" fmla="*/ 8 h 224"/>
              <a:gd name="T106" fmla="*/ 66 w 208"/>
              <a:gd name="T107" fmla="*/ 36 h 224"/>
              <a:gd name="T108" fmla="*/ 72 w 208"/>
              <a:gd name="T109" fmla="*/ 42 h 224"/>
              <a:gd name="T110" fmla="*/ 66 w 208"/>
              <a:gd name="T111" fmla="*/ 48 h 224"/>
              <a:gd name="T112" fmla="*/ 60 w 208"/>
              <a:gd name="T113" fmla="*/ 42 h 224"/>
              <a:gd name="T114" fmla="*/ 66 w 208"/>
              <a:gd name="T115" fmla="*/ 3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8" h="224">
                <a:moveTo>
                  <a:pt x="168" y="0"/>
                </a:moveTo>
                <a:cubicBezTo>
                  <a:pt x="168" y="68"/>
                  <a:pt x="168" y="68"/>
                  <a:pt x="168" y="68"/>
                </a:cubicBezTo>
                <a:cubicBezTo>
                  <a:pt x="108" y="68"/>
                  <a:pt x="108" y="68"/>
                  <a:pt x="108" y="68"/>
                </a:cubicBezTo>
                <a:cubicBezTo>
                  <a:pt x="108" y="124"/>
                  <a:pt x="108" y="124"/>
                  <a:pt x="108" y="124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2" y="184"/>
                  <a:pt x="192" y="184"/>
                  <a:pt x="192" y="184"/>
                </a:cubicBezTo>
                <a:cubicBezTo>
                  <a:pt x="208" y="184"/>
                  <a:pt x="208" y="184"/>
                  <a:pt x="208" y="184"/>
                </a:cubicBezTo>
                <a:cubicBezTo>
                  <a:pt x="208" y="224"/>
                  <a:pt x="208" y="224"/>
                  <a:pt x="208" y="224"/>
                </a:cubicBezTo>
                <a:cubicBezTo>
                  <a:pt x="168" y="224"/>
                  <a:pt x="168" y="224"/>
                  <a:pt x="168" y="224"/>
                </a:cubicBezTo>
                <a:cubicBezTo>
                  <a:pt x="168" y="184"/>
                  <a:pt x="168" y="184"/>
                  <a:pt x="168" y="184"/>
                </a:cubicBezTo>
                <a:cubicBezTo>
                  <a:pt x="184" y="184"/>
                  <a:pt x="184" y="184"/>
                  <a:pt x="184" y="184"/>
                </a:cubicBezTo>
                <a:cubicBezTo>
                  <a:pt x="184" y="132"/>
                  <a:pt x="184" y="132"/>
                  <a:pt x="184" y="132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08" y="184"/>
                  <a:pt x="108" y="184"/>
                  <a:pt x="108" y="184"/>
                </a:cubicBezTo>
                <a:cubicBezTo>
                  <a:pt x="124" y="184"/>
                  <a:pt x="124" y="184"/>
                  <a:pt x="124" y="184"/>
                </a:cubicBezTo>
                <a:cubicBezTo>
                  <a:pt x="124" y="224"/>
                  <a:pt x="124" y="224"/>
                  <a:pt x="124" y="224"/>
                </a:cubicBezTo>
                <a:cubicBezTo>
                  <a:pt x="84" y="224"/>
                  <a:pt x="84" y="224"/>
                  <a:pt x="84" y="224"/>
                </a:cubicBezTo>
                <a:cubicBezTo>
                  <a:pt x="84" y="184"/>
                  <a:pt x="84" y="184"/>
                  <a:pt x="84" y="184"/>
                </a:cubicBezTo>
                <a:cubicBezTo>
                  <a:pt x="100" y="184"/>
                  <a:pt x="100" y="184"/>
                  <a:pt x="100" y="184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24" y="132"/>
                  <a:pt x="24" y="132"/>
                  <a:pt x="24" y="132"/>
                </a:cubicBezTo>
                <a:cubicBezTo>
                  <a:pt x="24" y="184"/>
                  <a:pt x="24" y="184"/>
                  <a:pt x="24" y="184"/>
                </a:cubicBezTo>
                <a:cubicBezTo>
                  <a:pt x="40" y="184"/>
                  <a:pt x="40" y="184"/>
                  <a:pt x="40" y="184"/>
                </a:cubicBezTo>
                <a:cubicBezTo>
                  <a:pt x="40" y="224"/>
                  <a:pt x="40" y="224"/>
                  <a:pt x="40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184"/>
                  <a:pt x="0" y="184"/>
                  <a:pt x="0" y="184"/>
                </a:cubicBezTo>
                <a:cubicBezTo>
                  <a:pt x="16" y="184"/>
                  <a:pt x="16" y="184"/>
                  <a:pt x="16" y="184"/>
                </a:cubicBezTo>
                <a:cubicBezTo>
                  <a:pt x="16" y="124"/>
                  <a:pt x="16" y="124"/>
                  <a:pt x="16" y="124"/>
                </a:cubicBezTo>
                <a:cubicBezTo>
                  <a:pt x="100" y="124"/>
                  <a:pt x="100" y="124"/>
                  <a:pt x="100" y="124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0"/>
                  <a:pt x="40" y="0"/>
                  <a:pt x="40" y="0"/>
                </a:cubicBezTo>
                <a:lnTo>
                  <a:pt x="168" y="0"/>
                </a:lnTo>
                <a:close/>
                <a:moveTo>
                  <a:pt x="32" y="192"/>
                </a:moveTo>
                <a:cubicBezTo>
                  <a:pt x="8" y="192"/>
                  <a:pt x="8" y="192"/>
                  <a:pt x="8" y="192"/>
                </a:cubicBezTo>
                <a:cubicBezTo>
                  <a:pt x="8" y="216"/>
                  <a:pt x="8" y="216"/>
                  <a:pt x="8" y="216"/>
                </a:cubicBezTo>
                <a:cubicBezTo>
                  <a:pt x="32" y="216"/>
                  <a:pt x="32" y="216"/>
                  <a:pt x="32" y="216"/>
                </a:cubicBezTo>
                <a:lnTo>
                  <a:pt x="32" y="192"/>
                </a:lnTo>
                <a:close/>
                <a:moveTo>
                  <a:pt x="116" y="192"/>
                </a:moveTo>
                <a:cubicBezTo>
                  <a:pt x="92" y="192"/>
                  <a:pt x="92" y="192"/>
                  <a:pt x="92" y="192"/>
                </a:cubicBezTo>
                <a:cubicBezTo>
                  <a:pt x="92" y="216"/>
                  <a:pt x="92" y="216"/>
                  <a:pt x="92" y="216"/>
                </a:cubicBezTo>
                <a:cubicBezTo>
                  <a:pt x="116" y="216"/>
                  <a:pt x="116" y="216"/>
                  <a:pt x="116" y="216"/>
                </a:cubicBezTo>
                <a:lnTo>
                  <a:pt x="116" y="192"/>
                </a:lnTo>
                <a:close/>
                <a:moveTo>
                  <a:pt x="200" y="192"/>
                </a:moveTo>
                <a:cubicBezTo>
                  <a:pt x="176" y="192"/>
                  <a:pt x="176" y="192"/>
                  <a:pt x="176" y="192"/>
                </a:cubicBezTo>
                <a:cubicBezTo>
                  <a:pt x="176" y="216"/>
                  <a:pt x="176" y="216"/>
                  <a:pt x="176" y="216"/>
                </a:cubicBezTo>
                <a:cubicBezTo>
                  <a:pt x="200" y="216"/>
                  <a:pt x="200" y="216"/>
                  <a:pt x="200" y="216"/>
                </a:cubicBezTo>
                <a:lnTo>
                  <a:pt x="200" y="192"/>
                </a:lnTo>
                <a:close/>
                <a:moveTo>
                  <a:pt x="160" y="8"/>
                </a:moveTo>
                <a:cubicBezTo>
                  <a:pt x="48" y="8"/>
                  <a:pt x="48" y="8"/>
                  <a:pt x="48" y="8"/>
                </a:cubicBezTo>
                <a:cubicBezTo>
                  <a:pt x="48" y="60"/>
                  <a:pt x="48" y="60"/>
                  <a:pt x="48" y="60"/>
                </a:cubicBezTo>
                <a:cubicBezTo>
                  <a:pt x="160" y="60"/>
                  <a:pt x="160" y="60"/>
                  <a:pt x="160" y="60"/>
                </a:cubicBezTo>
                <a:lnTo>
                  <a:pt x="160" y="8"/>
                </a:lnTo>
                <a:close/>
                <a:moveTo>
                  <a:pt x="66" y="36"/>
                </a:moveTo>
                <a:cubicBezTo>
                  <a:pt x="69" y="36"/>
                  <a:pt x="72" y="39"/>
                  <a:pt x="72" y="42"/>
                </a:cubicBezTo>
                <a:cubicBezTo>
                  <a:pt x="72" y="45"/>
                  <a:pt x="69" y="48"/>
                  <a:pt x="66" y="48"/>
                </a:cubicBezTo>
                <a:cubicBezTo>
                  <a:pt x="63" y="48"/>
                  <a:pt x="60" y="45"/>
                  <a:pt x="60" y="42"/>
                </a:cubicBezTo>
                <a:cubicBezTo>
                  <a:pt x="60" y="39"/>
                  <a:pt x="63" y="36"/>
                  <a:pt x="66" y="36"/>
                </a:cubicBez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39" name="iSlîde">
            <a:extLst>
              <a:ext uri="{FF2B5EF4-FFF2-40B4-BE49-F238E27FC236}">
                <a16:creationId xmlns:a16="http://schemas.microsoft.com/office/drawing/2014/main" id="{D741F75E-8B7C-4554-88A4-BE8AFF4A11B0}"/>
              </a:ext>
            </a:extLst>
          </p:cNvPr>
          <p:cNvGrpSpPr/>
          <p:nvPr/>
        </p:nvGrpSpPr>
        <p:grpSpPr>
          <a:xfrm>
            <a:off x="1937961" y="3043769"/>
            <a:ext cx="3477034" cy="1176861"/>
            <a:chOff x="8041866" y="1130300"/>
            <a:chExt cx="3477034" cy="1176861"/>
          </a:xfrm>
        </p:grpSpPr>
        <p:sp>
          <p:nvSpPr>
            <p:cNvPr id="43" name="iSľïḑé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8041866" y="1130300"/>
              <a:ext cx="3477034" cy="42499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02.Text here</a:t>
              </a:r>
              <a:endParaRPr lang="id-ID" b="1" dirty="0"/>
            </a:p>
          </p:txBody>
        </p:sp>
        <p:sp>
          <p:nvSpPr>
            <p:cNvPr id="44" name="íṡḻîḍê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041866" y="1555294"/>
              <a:ext cx="3477034" cy="7518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grpSp>
        <p:nvGrpSpPr>
          <p:cNvPr id="58" name="íṩ1iďê">
            <a:extLst>
              <a:ext uri="{FF2B5EF4-FFF2-40B4-BE49-F238E27FC236}">
                <a16:creationId xmlns:a16="http://schemas.microsoft.com/office/drawing/2014/main" id="{5CB71A98-1DC9-41F8-876B-E42F43837CC7}"/>
              </a:ext>
            </a:extLst>
          </p:cNvPr>
          <p:cNvGrpSpPr/>
          <p:nvPr/>
        </p:nvGrpSpPr>
        <p:grpSpPr>
          <a:xfrm>
            <a:off x="1033460" y="3236199"/>
            <a:ext cx="792000" cy="792000"/>
            <a:chOff x="1263801" y="1722555"/>
            <a:chExt cx="792000" cy="792000"/>
          </a:xfrm>
        </p:grpSpPr>
        <p:sp>
          <p:nvSpPr>
            <p:cNvPr id="59" name="íS1îḑè">
              <a:extLst>
                <a:ext uri="{FF2B5EF4-FFF2-40B4-BE49-F238E27FC236}">
                  <a16:creationId xmlns:a16="http://schemas.microsoft.com/office/drawing/2014/main" id="{1523F171-474E-406D-BBC7-ECD87179FEF6}"/>
                </a:ext>
              </a:extLst>
            </p:cNvPr>
            <p:cNvSpPr/>
            <p:nvPr/>
          </p:nvSpPr>
          <p:spPr>
            <a:xfrm>
              <a:off x="1263801" y="1722555"/>
              <a:ext cx="792000" cy="792000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/>
            </a:p>
          </p:txBody>
        </p:sp>
        <p:sp>
          <p:nvSpPr>
            <p:cNvPr id="60" name="iṡliďê">
              <a:extLst>
                <a:ext uri="{FF2B5EF4-FFF2-40B4-BE49-F238E27FC236}">
                  <a16:creationId xmlns:a16="http://schemas.microsoft.com/office/drawing/2014/main" id="{328AA0F0-54E6-4A2A-B46F-38BA55E2FFC5}"/>
                </a:ext>
              </a:extLst>
            </p:cNvPr>
            <p:cNvSpPr/>
            <p:nvPr/>
          </p:nvSpPr>
          <p:spPr>
            <a:xfrm>
              <a:off x="1487410" y="1930588"/>
              <a:ext cx="344779" cy="375934"/>
            </a:xfrm>
            <a:custGeom>
              <a:avLst/>
              <a:gdLst>
                <a:gd name="T0" fmla="*/ 156 w 208"/>
                <a:gd name="T1" fmla="*/ 0 h 224"/>
                <a:gd name="T2" fmla="*/ 156 w 208"/>
                <a:gd name="T3" fmla="*/ 8 h 224"/>
                <a:gd name="T4" fmla="*/ 144 w 208"/>
                <a:gd name="T5" fmla="*/ 8 h 224"/>
                <a:gd name="T6" fmla="*/ 144 w 208"/>
                <a:gd name="T7" fmla="*/ 59 h 224"/>
                <a:gd name="T8" fmla="*/ 208 w 208"/>
                <a:gd name="T9" fmla="*/ 204 h 224"/>
                <a:gd name="T10" fmla="*/ 201 w 208"/>
                <a:gd name="T11" fmla="*/ 224 h 224"/>
                <a:gd name="T12" fmla="*/ 7 w 208"/>
                <a:gd name="T13" fmla="*/ 224 h 224"/>
                <a:gd name="T14" fmla="*/ 0 w 208"/>
                <a:gd name="T15" fmla="*/ 204 h 224"/>
                <a:gd name="T16" fmla="*/ 64 w 208"/>
                <a:gd name="T17" fmla="*/ 59 h 224"/>
                <a:gd name="T18" fmla="*/ 64 w 208"/>
                <a:gd name="T19" fmla="*/ 8 h 224"/>
                <a:gd name="T20" fmla="*/ 52 w 208"/>
                <a:gd name="T21" fmla="*/ 8 h 224"/>
                <a:gd name="T22" fmla="*/ 52 w 208"/>
                <a:gd name="T23" fmla="*/ 0 h 224"/>
                <a:gd name="T24" fmla="*/ 156 w 208"/>
                <a:gd name="T25" fmla="*/ 0 h 224"/>
                <a:gd name="T26" fmla="*/ 108 w 208"/>
                <a:gd name="T27" fmla="*/ 174 h 224"/>
                <a:gd name="T28" fmla="*/ 106 w 208"/>
                <a:gd name="T29" fmla="*/ 175 h 224"/>
                <a:gd name="T30" fmla="*/ 22 w 208"/>
                <a:gd name="T31" fmla="*/ 174 h 224"/>
                <a:gd name="T32" fmla="*/ 8 w 208"/>
                <a:gd name="T33" fmla="*/ 204 h 224"/>
                <a:gd name="T34" fmla="*/ 13 w 208"/>
                <a:gd name="T35" fmla="*/ 216 h 224"/>
                <a:gd name="T36" fmla="*/ 195 w 208"/>
                <a:gd name="T37" fmla="*/ 216 h 224"/>
                <a:gd name="T38" fmla="*/ 200 w 208"/>
                <a:gd name="T39" fmla="*/ 204 h 224"/>
                <a:gd name="T40" fmla="*/ 185 w 208"/>
                <a:gd name="T41" fmla="*/ 171 h 224"/>
                <a:gd name="T42" fmla="*/ 108 w 208"/>
                <a:gd name="T43" fmla="*/ 174 h 224"/>
                <a:gd name="T44" fmla="*/ 136 w 208"/>
                <a:gd name="T45" fmla="*/ 8 h 224"/>
                <a:gd name="T46" fmla="*/ 72 w 208"/>
                <a:gd name="T47" fmla="*/ 8 h 224"/>
                <a:gd name="T48" fmla="*/ 72 w 208"/>
                <a:gd name="T49" fmla="*/ 61 h 224"/>
                <a:gd name="T50" fmla="*/ 25 w 208"/>
                <a:gd name="T51" fmla="*/ 166 h 224"/>
                <a:gd name="T52" fmla="*/ 101 w 208"/>
                <a:gd name="T53" fmla="*/ 170 h 224"/>
                <a:gd name="T54" fmla="*/ 102 w 208"/>
                <a:gd name="T55" fmla="*/ 169 h 224"/>
                <a:gd name="T56" fmla="*/ 180 w 208"/>
                <a:gd name="T57" fmla="*/ 160 h 224"/>
                <a:gd name="T58" fmla="*/ 136 w 208"/>
                <a:gd name="T59" fmla="*/ 61 h 224"/>
                <a:gd name="T60" fmla="*/ 136 w 208"/>
                <a:gd name="T61" fmla="*/ 8 h 224"/>
                <a:gd name="T62" fmla="*/ 130 w 208"/>
                <a:gd name="T63" fmla="*/ 104 h 224"/>
                <a:gd name="T64" fmla="*/ 148 w 208"/>
                <a:gd name="T65" fmla="*/ 122 h 224"/>
                <a:gd name="T66" fmla="*/ 130 w 208"/>
                <a:gd name="T67" fmla="*/ 140 h 224"/>
                <a:gd name="T68" fmla="*/ 112 w 208"/>
                <a:gd name="T69" fmla="*/ 122 h 224"/>
                <a:gd name="T70" fmla="*/ 130 w 208"/>
                <a:gd name="T71" fmla="*/ 104 h 224"/>
                <a:gd name="T72" fmla="*/ 130 w 208"/>
                <a:gd name="T73" fmla="*/ 112 h 224"/>
                <a:gd name="T74" fmla="*/ 120 w 208"/>
                <a:gd name="T75" fmla="*/ 122 h 224"/>
                <a:gd name="T76" fmla="*/ 130 w 208"/>
                <a:gd name="T77" fmla="*/ 132 h 224"/>
                <a:gd name="T78" fmla="*/ 140 w 208"/>
                <a:gd name="T79" fmla="*/ 122 h 224"/>
                <a:gd name="T80" fmla="*/ 130 w 208"/>
                <a:gd name="T81" fmla="*/ 11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8" h="224">
                  <a:moveTo>
                    <a:pt x="156" y="0"/>
                  </a:moveTo>
                  <a:cubicBezTo>
                    <a:pt x="156" y="8"/>
                    <a:pt x="156" y="8"/>
                    <a:pt x="156" y="8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59"/>
                    <a:pt x="144" y="59"/>
                    <a:pt x="144" y="59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1" y="224"/>
                    <a:pt x="201" y="224"/>
                    <a:pt x="201" y="224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156" y="0"/>
                  </a:lnTo>
                  <a:close/>
                  <a:moveTo>
                    <a:pt x="108" y="174"/>
                  </a:moveTo>
                  <a:cubicBezTo>
                    <a:pt x="106" y="175"/>
                    <a:pt x="106" y="175"/>
                    <a:pt x="106" y="175"/>
                  </a:cubicBezTo>
                  <a:cubicBezTo>
                    <a:pt x="83" y="192"/>
                    <a:pt x="50" y="191"/>
                    <a:pt x="22" y="174"/>
                  </a:cubicBezTo>
                  <a:cubicBezTo>
                    <a:pt x="8" y="204"/>
                    <a:pt x="8" y="204"/>
                    <a:pt x="8" y="204"/>
                  </a:cubicBezTo>
                  <a:cubicBezTo>
                    <a:pt x="13" y="216"/>
                    <a:pt x="13" y="216"/>
                    <a:pt x="13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85" y="171"/>
                    <a:pt x="185" y="171"/>
                    <a:pt x="185" y="171"/>
                  </a:cubicBezTo>
                  <a:cubicBezTo>
                    <a:pt x="159" y="159"/>
                    <a:pt x="128" y="160"/>
                    <a:pt x="108" y="174"/>
                  </a:cubicBezTo>
                  <a:close/>
                  <a:moveTo>
                    <a:pt x="136" y="8"/>
                  </a:moveTo>
                  <a:cubicBezTo>
                    <a:pt x="72" y="8"/>
                    <a:pt x="72" y="8"/>
                    <a:pt x="72" y="8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25" y="166"/>
                    <a:pt x="25" y="166"/>
                    <a:pt x="25" y="166"/>
                  </a:cubicBezTo>
                  <a:cubicBezTo>
                    <a:pt x="50" y="182"/>
                    <a:pt x="80" y="183"/>
                    <a:pt x="101" y="170"/>
                  </a:cubicBezTo>
                  <a:cubicBezTo>
                    <a:pt x="102" y="169"/>
                    <a:pt x="102" y="169"/>
                    <a:pt x="102" y="169"/>
                  </a:cubicBezTo>
                  <a:cubicBezTo>
                    <a:pt x="123" y="154"/>
                    <a:pt x="153" y="151"/>
                    <a:pt x="180" y="160"/>
                  </a:cubicBezTo>
                  <a:cubicBezTo>
                    <a:pt x="136" y="61"/>
                    <a:pt x="136" y="61"/>
                    <a:pt x="136" y="61"/>
                  </a:cubicBezTo>
                  <a:lnTo>
                    <a:pt x="136" y="8"/>
                  </a:lnTo>
                  <a:close/>
                  <a:moveTo>
                    <a:pt x="130" y="104"/>
                  </a:moveTo>
                  <a:cubicBezTo>
                    <a:pt x="140" y="104"/>
                    <a:pt x="148" y="112"/>
                    <a:pt x="148" y="122"/>
                  </a:cubicBezTo>
                  <a:cubicBezTo>
                    <a:pt x="148" y="132"/>
                    <a:pt x="140" y="140"/>
                    <a:pt x="130" y="140"/>
                  </a:cubicBezTo>
                  <a:cubicBezTo>
                    <a:pt x="120" y="140"/>
                    <a:pt x="112" y="132"/>
                    <a:pt x="112" y="122"/>
                  </a:cubicBezTo>
                  <a:cubicBezTo>
                    <a:pt x="112" y="112"/>
                    <a:pt x="120" y="104"/>
                    <a:pt x="130" y="104"/>
                  </a:cubicBezTo>
                  <a:close/>
                  <a:moveTo>
                    <a:pt x="130" y="112"/>
                  </a:moveTo>
                  <a:cubicBezTo>
                    <a:pt x="124" y="112"/>
                    <a:pt x="120" y="116"/>
                    <a:pt x="120" y="122"/>
                  </a:cubicBezTo>
                  <a:cubicBezTo>
                    <a:pt x="120" y="128"/>
                    <a:pt x="124" y="132"/>
                    <a:pt x="130" y="132"/>
                  </a:cubicBezTo>
                  <a:cubicBezTo>
                    <a:pt x="136" y="132"/>
                    <a:pt x="140" y="128"/>
                    <a:pt x="140" y="122"/>
                  </a:cubicBezTo>
                  <a:cubicBezTo>
                    <a:pt x="140" y="116"/>
                    <a:pt x="136" y="112"/>
                    <a:pt x="130" y="112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îṡļïḍè">
            <a:extLst>
              <a:ext uri="{FF2B5EF4-FFF2-40B4-BE49-F238E27FC236}">
                <a16:creationId xmlns:a16="http://schemas.microsoft.com/office/drawing/2014/main" id="{752B6CCF-7508-4CF6-BCDD-142329C834CA}"/>
              </a:ext>
            </a:extLst>
          </p:cNvPr>
          <p:cNvGrpSpPr/>
          <p:nvPr/>
        </p:nvGrpSpPr>
        <p:grpSpPr>
          <a:xfrm>
            <a:off x="1937961" y="4682446"/>
            <a:ext cx="3477034" cy="1176861"/>
            <a:chOff x="8041866" y="1130300"/>
            <a:chExt cx="3477034" cy="1176861"/>
          </a:xfrm>
        </p:grpSpPr>
        <p:sp>
          <p:nvSpPr>
            <p:cNvPr id="37" name="iSliďè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8041866" y="1130300"/>
              <a:ext cx="3477034" cy="42499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03.Text here</a:t>
              </a:r>
              <a:endParaRPr lang="id-ID" b="1" dirty="0"/>
            </a:p>
          </p:txBody>
        </p:sp>
        <p:sp>
          <p:nvSpPr>
            <p:cNvPr id="38" name="ïšliďè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041866" y="1555294"/>
              <a:ext cx="3477034" cy="7518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grpSp>
        <p:nvGrpSpPr>
          <p:cNvPr id="61" name="ísḷiďé">
            <a:extLst>
              <a:ext uri="{FF2B5EF4-FFF2-40B4-BE49-F238E27FC236}">
                <a16:creationId xmlns:a16="http://schemas.microsoft.com/office/drawing/2014/main" id="{278C2AD2-CEC9-414A-B898-5EEF44B6444A}"/>
              </a:ext>
            </a:extLst>
          </p:cNvPr>
          <p:cNvGrpSpPr/>
          <p:nvPr/>
        </p:nvGrpSpPr>
        <p:grpSpPr>
          <a:xfrm>
            <a:off x="1033460" y="4874876"/>
            <a:ext cx="792000" cy="792000"/>
            <a:chOff x="1263801" y="1722555"/>
            <a:chExt cx="792000" cy="792000"/>
          </a:xfrm>
        </p:grpSpPr>
        <p:sp>
          <p:nvSpPr>
            <p:cNvPr id="62" name="îslïďe">
              <a:extLst>
                <a:ext uri="{FF2B5EF4-FFF2-40B4-BE49-F238E27FC236}">
                  <a16:creationId xmlns:a16="http://schemas.microsoft.com/office/drawing/2014/main" id="{95D876A2-2A4E-432B-AF1B-CDCB51D5115C}"/>
                </a:ext>
              </a:extLst>
            </p:cNvPr>
            <p:cNvSpPr/>
            <p:nvPr/>
          </p:nvSpPr>
          <p:spPr>
            <a:xfrm>
              <a:off x="1263801" y="1722555"/>
              <a:ext cx="792000" cy="792000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/>
            </a:p>
          </p:txBody>
        </p:sp>
        <p:sp>
          <p:nvSpPr>
            <p:cNvPr id="63" name="íšḻiḋé">
              <a:extLst>
                <a:ext uri="{FF2B5EF4-FFF2-40B4-BE49-F238E27FC236}">
                  <a16:creationId xmlns:a16="http://schemas.microsoft.com/office/drawing/2014/main" id="{14899723-2CEF-45B6-B6B8-461F561FEA59}"/>
                </a:ext>
              </a:extLst>
            </p:cNvPr>
            <p:cNvSpPr/>
            <p:nvPr/>
          </p:nvSpPr>
          <p:spPr>
            <a:xfrm>
              <a:off x="1471833" y="1975742"/>
              <a:ext cx="375934" cy="285625"/>
            </a:xfrm>
            <a:custGeom>
              <a:avLst/>
              <a:gdLst>
                <a:gd name="T0" fmla="*/ 224 w 224"/>
                <a:gd name="T1" fmla="*/ 0 h 168"/>
                <a:gd name="T2" fmla="*/ 224 w 224"/>
                <a:gd name="T3" fmla="*/ 168 h 168"/>
                <a:gd name="T4" fmla="*/ 0 w 224"/>
                <a:gd name="T5" fmla="*/ 168 h 168"/>
                <a:gd name="T6" fmla="*/ 0 w 224"/>
                <a:gd name="T7" fmla="*/ 0 h 168"/>
                <a:gd name="T8" fmla="*/ 224 w 224"/>
                <a:gd name="T9" fmla="*/ 0 h 168"/>
                <a:gd name="T10" fmla="*/ 157 w 224"/>
                <a:gd name="T11" fmla="*/ 64 h 168"/>
                <a:gd name="T12" fmla="*/ 104 w 224"/>
                <a:gd name="T13" fmla="*/ 134 h 168"/>
                <a:gd name="T14" fmla="*/ 59 w 224"/>
                <a:gd name="T15" fmla="*/ 90 h 168"/>
                <a:gd name="T16" fmla="*/ 8 w 224"/>
                <a:gd name="T17" fmla="*/ 149 h 168"/>
                <a:gd name="T18" fmla="*/ 8 w 224"/>
                <a:gd name="T19" fmla="*/ 160 h 168"/>
                <a:gd name="T20" fmla="*/ 216 w 224"/>
                <a:gd name="T21" fmla="*/ 160 h 168"/>
                <a:gd name="T22" fmla="*/ 216 w 224"/>
                <a:gd name="T23" fmla="*/ 142 h 168"/>
                <a:gd name="T24" fmla="*/ 157 w 224"/>
                <a:gd name="T25" fmla="*/ 64 h 168"/>
                <a:gd name="T26" fmla="*/ 216 w 224"/>
                <a:gd name="T27" fmla="*/ 8 h 168"/>
                <a:gd name="T28" fmla="*/ 8 w 224"/>
                <a:gd name="T29" fmla="*/ 8 h 168"/>
                <a:gd name="T30" fmla="*/ 8 w 224"/>
                <a:gd name="T31" fmla="*/ 137 h 168"/>
                <a:gd name="T32" fmla="*/ 58 w 224"/>
                <a:gd name="T33" fmla="*/ 78 h 168"/>
                <a:gd name="T34" fmla="*/ 103 w 224"/>
                <a:gd name="T35" fmla="*/ 122 h 168"/>
                <a:gd name="T36" fmla="*/ 158 w 224"/>
                <a:gd name="T37" fmla="*/ 51 h 168"/>
                <a:gd name="T38" fmla="*/ 216 w 224"/>
                <a:gd name="T39" fmla="*/ 129 h 168"/>
                <a:gd name="T40" fmla="*/ 216 w 224"/>
                <a:gd name="T41" fmla="*/ 8 h 168"/>
                <a:gd name="T42" fmla="*/ 40 w 224"/>
                <a:gd name="T43" fmla="*/ 20 h 168"/>
                <a:gd name="T44" fmla="*/ 60 w 224"/>
                <a:gd name="T45" fmla="*/ 40 h 168"/>
                <a:gd name="T46" fmla="*/ 40 w 224"/>
                <a:gd name="T47" fmla="*/ 60 h 168"/>
                <a:gd name="T48" fmla="*/ 20 w 224"/>
                <a:gd name="T49" fmla="*/ 40 h 168"/>
                <a:gd name="T50" fmla="*/ 40 w 224"/>
                <a:gd name="T51" fmla="*/ 20 h 168"/>
                <a:gd name="T52" fmla="*/ 40 w 224"/>
                <a:gd name="T53" fmla="*/ 28 h 168"/>
                <a:gd name="T54" fmla="*/ 28 w 224"/>
                <a:gd name="T55" fmla="*/ 40 h 168"/>
                <a:gd name="T56" fmla="*/ 40 w 224"/>
                <a:gd name="T57" fmla="*/ 52 h 168"/>
                <a:gd name="T58" fmla="*/ 52 w 224"/>
                <a:gd name="T59" fmla="*/ 40 h 168"/>
                <a:gd name="T60" fmla="*/ 40 w 224"/>
                <a:gd name="T61" fmla="*/ 2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4" h="168">
                  <a:moveTo>
                    <a:pt x="224" y="0"/>
                  </a:moveTo>
                  <a:cubicBezTo>
                    <a:pt x="224" y="168"/>
                    <a:pt x="224" y="168"/>
                    <a:pt x="224" y="1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24" y="0"/>
                  </a:lnTo>
                  <a:close/>
                  <a:moveTo>
                    <a:pt x="157" y="64"/>
                  </a:moveTo>
                  <a:cubicBezTo>
                    <a:pt x="104" y="134"/>
                    <a:pt x="104" y="134"/>
                    <a:pt x="104" y="134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8" y="149"/>
                    <a:pt x="8" y="149"/>
                    <a:pt x="8" y="149"/>
                  </a:cubicBezTo>
                  <a:cubicBezTo>
                    <a:pt x="8" y="160"/>
                    <a:pt x="8" y="160"/>
                    <a:pt x="8" y="160"/>
                  </a:cubicBezTo>
                  <a:cubicBezTo>
                    <a:pt x="216" y="160"/>
                    <a:pt x="216" y="160"/>
                    <a:pt x="216" y="160"/>
                  </a:cubicBezTo>
                  <a:cubicBezTo>
                    <a:pt x="216" y="142"/>
                    <a:pt x="216" y="142"/>
                    <a:pt x="216" y="142"/>
                  </a:cubicBezTo>
                  <a:lnTo>
                    <a:pt x="157" y="64"/>
                  </a:lnTo>
                  <a:close/>
                  <a:moveTo>
                    <a:pt x="216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103" y="122"/>
                    <a:pt x="103" y="122"/>
                    <a:pt x="103" y="122"/>
                  </a:cubicBezTo>
                  <a:cubicBezTo>
                    <a:pt x="158" y="51"/>
                    <a:pt x="158" y="51"/>
                    <a:pt x="158" y="51"/>
                  </a:cubicBezTo>
                  <a:cubicBezTo>
                    <a:pt x="216" y="129"/>
                    <a:pt x="216" y="129"/>
                    <a:pt x="216" y="129"/>
                  </a:cubicBezTo>
                  <a:lnTo>
                    <a:pt x="216" y="8"/>
                  </a:lnTo>
                  <a:close/>
                  <a:moveTo>
                    <a:pt x="40" y="20"/>
                  </a:moveTo>
                  <a:cubicBezTo>
                    <a:pt x="51" y="20"/>
                    <a:pt x="60" y="29"/>
                    <a:pt x="60" y="40"/>
                  </a:cubicBezTo>
                  <a:cubicBezTo>
                    <a:pt x="60" y="51"/>
                    <a:pt x="51" y="60"/>
                    <a:pt x="40" y="60"/>
                  </a:cubicBezTo>
                  <a:cubicBezTo>
                    <a:pt x="29" y="60"/>
                    <a:pt x="20" y="51"/>
                    <a:pt x="20" y="40"/>
                  </a:cubicBezTo>
                  <a:cubicBezTo>
                    <a:pt x="20" y="29"/>
                    <a:pt x="29" y="20"/>
                    <a:pt x="40" y="20"/>
                  </a:cubicBezTo>
                  <a:close/>
                  <a:moveTo>
                    <a:pt x="40" y="28"/>
                  </a:moveTo>
                  <a:cubicBezTo>
                    <a:pt x="33" y="28"/>
                    <a:pt x="28" y="33"/>
                    <a:pt x="28" y="40"/>
                  </a:cubicBezTo>
                  <a:cubicBezTo>
                    <a:pt x="28" y="47"/>
                    <a:pt x="33" y="52"/>
                    <a:pt x="40" y="52"/>
                  </a:cubicBezTo>
                  <a:cubicBezTo>
                    <a:pt x="47" y="52"/>
                    <a:pt x="52" y="47"/>
                    <a:pt x="52" y="40"/>
                  </a:cubicBezTo>
                  <a:cubicBezTo>
                    <a:pt x="52" y="33"/>
                    <a:pt x="47" y="28"/>
                    <a:pt x="40" y="28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ísļïḑe">
            <a:extLst>
              <a:ext uri="{FF2B5EF4-FFF2-40B4-BE49-F238E27FC236}">
                <a16:creationId xmlns:a16="http://schemas.microsoft.com/office/drawing/2014/main" id="{4DA0230D-21B5-4DDB-A0FB-5BEF339962E1}"/>
              </a:ext>
            </a:extLst>
          </p:cNvPr>
          <p:cNvGrpSpPr/>
          <p:nvPr/>
        </p:nvGrpSpPr>
        <p:grpSpPr>
          <a:xfrm>
            <a:off x="7668806" y="1405093"/>
            <a:ext cx="3477034" cy="1176861"/>
            <a:chOff x="8041866" y="1130300"/>
            <a:chExt cx="3477034" cy="1176861"/>
          </a:xfrm>
        </p:grpSpPr>
        <p:sp>
          <p:nvSpPr>
            <p:cNvPr id="28" name="îṥļïḑé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8041866" y="1130300"/>
              <a:ext cx="3477034" cy="42499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01.Text here</a:t>
              </a:r>
              <a:endParaRPr lang="id-ID" b="1" dirty="0"/>
            </a:p>
          </p:txBody>
        </p:sp>
        <p:sp>
          <p:nvSpPr>
            <p:cNvPr id="29" name="î$1îďé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041866" y="1555294"/>
              <a:ext cx="3477034" cy="7518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sp>
        <p:nvSpPr>
          <p:cNvPr id="26" name="íśľíḓé">
            <a:extLst>
              <a:ext uri="{FF2B5EF4-FFF2-40B4-BE49-F238E27FC236}">
                <a16:creationId xmlns:a16="http://schemas.microsoft.com/office/drawing/2014/main" id="{B0D7D69D-0ADF-45BD-A020-2B5619F7D290}"/>
              </a:ext>
            </a:extLst>
          </p:cNvPr>
          <p:cNvSpPr/>
          <p:nvPr/>
        </p:nvSpPr>
        <p:spPr>
          <a:xfrm>
            <a:off x="6764305" y="1597523"/>
            <a:ext cx="792000" cy="792000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id-ID"/>
          </a:p>
        </p:txBody>
      </p:sp>
      <p:sp>
        <p:nvSpPr>
          <p:cNvPr id="41" name="ïś1ïďè">
            <a:extLst>
              <a:ext uri="{FF2B5EF4-FFF2-40B4-BE49-F238E27FC236}">
                <a16:creationId xmlns:a16="http://schemas.microsoft.com/office/drawing/2014/main" id="{EB26CE3E-A3E1-4F31-A5FE-B4459AC25C6A}"/>
              </a:ext>
            </a:extLst>
          </p:cNvPr>
          <p:cNvSpPr/>
          <p:nvPr/>
        </p:nvSpPr>
        <p:spPr>
          <a:xfrm>
            <a:off x="6972338" y="1833384"/>
            <a:ext cx="375934" cy="320279"/>
          </a:xfrm>
          <a:custGeom>
            <a:avLst/>
            <a:gdLst>
              <a:gd name="T0" fmla="*/ 332 w 358"/>
              <a:gd name="T1" fmla="*/ 0 h 305"/>
              <a:gd name="T2" fmla="*/ 332 w 358"/>
              <a:gd name="T3" fmla="*/ 91 h 305"/>
              <a:gd name="T4" fmla="*/ 358 w 358"/>
              <a:gd name="T5" fmla="*/ 91 h 305"/>
              <a:gd name="T6" fmla="*/ 345 w 358"/>
              <a:gd name="T7" fmla="*/ 272 h 305"/>
              <a:gd name="T8" fmla="*/ 306 w 358"/>
              <a:gd name="T9" fmla="*/ 272 h 305"/>
              <a:gd name="T10" fmla="*/ 306 w 358"/>
              <a:gd name="T11" fmla="*/ 305 h 305"/>
              <a:gd name="T12" fmla="*/ 294 w 358"/>
              <a:gd name="T13" fmla="*/ 305 h 305"/>
              <a:gd name="T14" fmla="*/ 294 w 358"/>
              <a:gd name="T15" fmla="*/ 272 h 305"/>
              <a:gd name="T16" fmla="*/ 64 w 358"/>
              <a:gd name="T17" fmla="*/ 272 h 305"/>
              <a:gd name="T18" fmla="*/ 64 w 358"/>
              <a:gd name="T19" fmla="*/ 305 h 305"/>
              <a:gd name="T20" fmla="*/ 51 w 358"/>
              <a:gd name="T21" fmla="*/ 305 h 305"/>
              <a:gd name="T22" fmla="*/ 51 w 358"/>
              <a:gd name="T23" fmla="*/ 272 h 305"/>
              <a:gd name="T24" fmla="*/ 13 w 358"/>
              <a:gd name="T25" fmla="*/ 272 h 305"/>
              <a:gd name="T26" fmla="*/ 0 w 358"/>
              <a:gd name="T27" fmla="*/ 91 h 305"/>
              <a:gd name="T28" fmla="*/ 32 w 358"/>
              <a:gd name="T29" fmla="*/ 91 h 305"/>
              <a:gd name="T30" fmla="*/ 32 w 358"/>
              <a:gd name="T31" fmla="*/ 0 h 305"/>
              <a:gd name="T32" fmla="*/ 332 w 358"/>
              <a:gd name="T33" fmla="*/ 0 h 305"/>
              <a:gd name="T34" fmla="*/ 59 w 358"/>
              <a:gd name="T35" fmla="*/ 104 h 305"/>
              <a:gd name="T36" fmla="*/ 13 w 358"/>
              <a:gd name="T37" fmla="*/ 104 h 305"/>
              <a:gd name="T38" fmla="*/ 26 w 358"/>
              <a:gd name="T39" fmla="*/ 259 h 305"/>
              <a:gd name="T40" fmla="*/ 332 w 358"/>
              <a:gd name="T41" fmla="*/ 259 h 305"/>
              <a:gd name="T42" fmla="*/ 345 w 358"/>
              <a:gd name="T43" fmla="*/ 104 h 305"/>
              <a:gd name="T44" fmla="*/ 298 w 358"/>
              <a:gd name="T45" fmla="*/ 104 h 305"/>
              <a:gd name="T46" fmla="*/ 279 w 358"/>
              <a:gd name="T47" fmla="*/ 208 h 305"/>
              <a:gd name="T48" fmla="*/ 78 w 358"/>
              <a:gd name="T49" fmla="*/ 208 h 305"/>
              <a:gd name="T50" fmla="*/ 59 w 358"/>
              <a:gd name="T51" fmla="*/ 104 h 305"/>
              <a:gd name="T52" fmla="*/ 319 w 358"/>
              <a:gd name="T53" fmla="*/ 13 h 305"/>
              <a:gd name="T54" fmla="*/ 45 w 358"/>
              <a:gd name="T55" fmla="*/ 13 h 305"/>
              <a:gd name="T56" fmla="*/ 45 w 358"/>
              <a:gd name="T57" fmla="*/ 91 h 305"/>
              <a:gd name="T58" fmla="*/ 69 w 358"/>
              <a:gd name="T59" fmla="*/ 91 h 305"/>
              <a:gd name="T60" fmla="*/ 88 w 358"/>
              <a:gd name="T61" fmla="*/ 195 h 305"/>
              <a:gd name="T62" fmla="*/ 270 w 358"/>
              <a:gd name="T63" fmla="*/ 195 h 305"/>
              <a:gd name="T64" fmla="*/ 289 w 358"/>
              <a:gd name="T65" fmla="*/ 91 h 305"/>
              <a:gd name="T66" fmla="*/ 319 w 358"/>
              <a:gd name="T67" fmla="*/ 91 h 305"/>
              <a:gd name="T68" fmla="*/ 319 w 358"/>
              <a:gd name="T69" fmla="*/ 13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58" h="305">
                <a:moveTo>
                  <a:pt x="332" y="0"/>
                </a:moveTo>
                <a:lnTo>
                  <a:pt x="332" y="91"/>
                </a:lnTo>
                <a:lnTo>
                  <a:pt x="358" y="91"/>
                </a:lnTo>
                <a:lnTo>
                  <a:pt x="345" y="272"/>
                </a:lnTo>
                <a:lnTo>
                  <a:pt x="306" y="272"/>
                </a:lnTo>
                <a:lnTo>
                  <a:pt x="306" y="305"/>
                </a:lnTo>
                <a:lnTo>
                  <a:pt x="294" y="305"/>
                </a:lnTo>
                <a:lnTo>
                  <a:pt x="294" y="272"/>
                </a:lnTo>
                <a:lnTo>
                  <a:pt x="64" y="272"/>
                </a:lnTo>
                <a:lnTo>
                  <a:pt x="64" y="305"/>
                </a:lnTo>
                <a:lnTo>
                  <a:pt x="51" y="305"/>
                </a:lnTo>
                <a:lnTo>
                  <a:pt x="51" y="272"/>
                </a:lnTo>
                <a:lnTo>
                  <a:pt x="13" y="272"/>
                </a:lnTo>
                <a:lnTo>
                  <a:pt x="0" y="91"/>
                </a:lnTo>
                <a:lnTo>
                  <a:pt x="32" y="91"/>
                </a:lnTo>
                <a:lnTo>
                  <a:pt x="32" y="0"/>
                </a:lnTo>
                <a:lnTo>
                  <a:pt x="332" y="0"/>
                </a:lnTo>
                <a:close/>
                <a:moveTo>
                  <a:pt x="59" y="104"/>
                </a:moveTo>
                <a:lnTo>
                  <a:pt x="13" y="104"/>
                </a:lnTo>
                <a:lnTo>
                  <a:pt x="26" y="259"/>
                </a:lnTo>
                <a:lnTo>
                  <a:pt x="332" y="259"/>
                </a:lnTo>
                <a:lnTo>
                  <a:pt x="345" y="104"/>
                </a:lnTo>
                <a:lnTo>
                  <a:pt x="298" y="104"/>
                </a:lnTo>
                <a:lnTo>
                  <a:pt x="279" y="208"/>
                </a:lnTo>
                <a:lnTo>
                  <a:pt x="78" y="208"/>
                </a:lnTo>
                <a:lnTo>
                  <a:pt x="59" y="104"/>
                </a:lnTo>
                <a:close/>
                <a:moveTo>
                  <a:pt x="319" y="13"/>
                </a:moveTo>
                <a:lnTo>
                  <a:pt x="45" y="13"/>
                </a:lnTo>
                <a:lnTo>
                  <a:pt x="45" y="91"/>
                </a:lnTo>
                <a:lnTo>
                  <a:pt x="69" y="91"/>
                </a:lnTo>
                <a:lnTo>
                  <a:pt x="88" y="195"/>
                </a:lnTo>
                <a:lnTo>
                  <a:pt x="270" y="195"/>
                </a:lnTo>
                <a:lnTo>
                  <a:pt x="289" y="91"/>
                </a:lnTo>
                <a:lnTo>
                  <a:pt x="319" y="91"/>
                </a:lnTo>
                <a:lnTo>
                  <a:pt x="319" y="13"/>
                </a:ln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8" name="ïSḷïḍê">
            <a:extLst>
              <a:ext uri="{FF2B5EF4-FFF2-40B4-BE49-F238E27FC236}">
                <a16:creationId xmlns:a16="http://schemas.microsoft.com/office/drawing/2014/main" id="{C8DAEEE9-CC5E-4470-B76E-5E8A8E4D25D2}"/>
              </a:ext>
            </a:extLst>
          </p:cNvPr>
          <p:cNvGrpSpPr/>
          <p:nvPr/>
        </p:nvGrpSpPr>
        <p:grpSpPr>
          <a:xfrm>
            <a:off x="7668806" y="3043769"/>
            <a:ext cx="3477034" cy="1176861"/>
            <a:chOff x="8041866" y="1130300"/>
            <a:chExt cx="3477034" cy="1176861"/>
          </a:xfrm>
        </p:grpSpPr>
        <p:sp>
          <p:nvSpPr>
            <p:cNvPr id="22" name="iṡľiḑe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8041866" y="1130300"/>
              <a:ext cx="3477034" cy="42499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02.Text here</a:t>
              </a:r>
              <a:endParaRPr lang="id-ID" b="1" dirty="0"/>
            </a:p>
          </p:txBody>
        </p:sp>
        <p:sp>
          <p:nvSpPr>
            <p:cNvPr id="23" name="iṧḷîḍè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041866" y="1555294"/>
              <a:ext cx="3477034" cy="7518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sp>
        <p:nvSpPr>
          <p:cNvPr id="20" name="ïšlîḍé">
            <a:extLst>
              <a:ext uri="{FF2B5EF4-FFF2-40B4-BE49-F238E27FC236}">
                <a16:creationId xmlns:a16="http://schemas.microsoft.com/office/drawing/2014/main" id="{14848FF3-A41C-495D-8813-26292E49DCC2}"/>
              </a:ext>
            </a:extLst>
          </p:cNvPr>
          <p:cNvSpPr/>
          <p:nvPr/>
        </p:nvSpPr>
        <p:spPr>
          <a:xfrm>
            <a:off x="6764305" y="3236199"/>
            <a:ext cx="792000" cy="792000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id-ID"/>
          </a:p>
        </p:txBody>
      </p:sp>
      <p:sp>
        <p:nvSpPr>
          <p:cNvPr id="55" name="iSlîḍé">
            <a:extLst>
              <a:ext uri="{FF2B5EF4-FFF2-40B4-BE49-F238E27FC236}">
                <a16:creationId xmlns:a16="http://schemas.microsoft.com/office/drawing/2014/main" id="{63EF9F57-E17D-43A1-A841-8BB1D904B0DE}"/>
              </a:ext>
            </a:extLst>
          </p:cNvPr>
          <p:cNvSpPr/>
          <p:nvPr/>
        </p:nvSpPr>
        <p:spPr>
          <a:xfrm>
            <a:off x="6974415" y="3444232"/>
            <a:ext cx="371779" cy="375934"/>
          </a:xfrm>
          <a:custGeom>
            <a:avLst/>
            <a:gdLst>
              <a:gd name="T0" fmla="*/ 160 w 224"/>
              <a:gd name="T1" fmla="*/ 0 h 224"/>
              <a:gd name="T2" fmla="*/ 160 w 224"/>
              <a:gd name="T3" fmla="*/ 48 h 224"/>
              <a:gd name="T4" fmla="*/ 224 w 224"/>
              <a:gd name="T5" fmla="*/ 48 h 224"/>
              <a:gd name="T6" fmla="*/ 224 w 224"/>
              <a:gd name="T7" fmla="*/ 176 h 224"/>
              <a:gd name="T8" fmla="*/ 160 w 224"/>
              <a:gd name="T9" fmla="*/ 176 h 224"/>
              <a:gd name="T10" fmla="*/ 160 w 224"/>
              <a:gd name="T11" fmla="*/ 224 h 224"/>
              <a:gd name="T12" fmla="*/ 64 w 224"/>
              <a:gd name="T13" fmla="*/ 224 h 224"/>
              <a:gd name="T14" fmla="*/ 64 w 224"/>
              <a:gd name="T15" fmla="*/ 176 h 224"/>
              <a:gd name="T16" fmla="*/ 0 w 224"/>
              <a:gd name="T17" fmla="*/ 176 h 224"/>
              <a:gd name="T18" fmla="*/ 0 w 224"/>
              <a:gd name="T19" fmla="*/ 76 h 224"/>
              <a:gd name="T20" fmla="*/ 26 w 224"/>
              <a:gd name="T21" fmla="*/ 48 h 224"/>
              <a:gd name="T22" fmla="*/ 64 w 224"/>
              <a:gd name="T23" fmla="*/ 48 h 224"/>
              <a:gd name="T24" fmla="*/ 64 w 224"/>
              <a:gd name="T25" fmla="*/ 0 h 224"/>
              <a:gd name="T26" fmla="*/ 160 w 224"/>
              <a:gd name="T27" fmla="*/ 0 h 224"/>
              <a:gd name="T28" fmla="*/ 152 w 224"/>
              <a:gd name="T29" fmla="*/ 120 h 224"/>
              <a:gd name="T30" fmla="*/ 72 w 224"/>
              <a:gd name="T31" fmla="*/ 120 h 224"/>
              <a:gd name="T32" fmla="*/ 72 w 224"/>
              <a:gd name="T33" fmla="*/ 216 h 224"/>
              <a:gd name="T34" fmla="*/ 152 w 224"/>
              <a:gd name="T35" fmla="*/ 216 h 224"/>
              <a:gd name="T36" fmla="*/ 152 w 224"/>
              <a:gd name="T37" fmla="*/ 120 h 224"/>
              <a:gd name="T38" fmla="*/ 216 w 224"/>
              <a:gd name="T39" fmla="*/ 56 h 224"/>
              <a:gd name="T40" fmla="*/ 30 w 224"/>
              <a:gd name="T41" fmla="*/ 56 h 224"/>
              <a:gd name="T42" fmla="*/ 8 w 224"/>
              <a:gd name="T43" fmla="*/ 80 h 224"/>
              <a:gd name="T44" fmla="*/ 8 w 224"/>
              <a:gd name="T45" fmla="*/ 168 h 224"/>
              <a:gd name="T46" fmla="*/ 64 w 224"/>
              <a:gd name="T47" fmla="*/ 168 h 224"/>
              <a:gd name="T48" fmla="*/ 64 w 224"/>
              <a:gd name="T49" fmla="*/ 112 h 224"/>
              <a:gd name="T50" fmla="*/ 160 w 224"/>
              <a:gd name="T51" fmla="*/ 112 h 224"/>
              <a:gd name="T52" fmla="*/ 160 w 224"/>
              <a:gd name="T53" fmla="*/ 168 h 224"/>
              <a:gd name="T54" fmla="*/ 216 w 224"/>
              <a:gd name="T55" fmla="*/ 168 h 224"/>
              <a:gd name="T56" fmla="*/ 216 w 224"/>
              <a:gd name="T57" fmla="*/ 56 h 224"/>
              <a:gd name="T58" fmla="*/ 194 w 224"/>
              <a:gd name="T59" fmla="*/ 72 h 224"/>
              <a:gd name="T60" fmla="*/ 200 w 224"/>
              <a:gd name="T61" fmla="*/ 78 h 224"/>
              <a:gd name="T62" fmla="*/ 194 w 224"/>
              <a:gd name="T63" fmla="*/ 84 h 224"/>
              <a:gd name="T64" fmla="*/ 188 w 224"/>
              <a:gd name="T65" fmla="*/ 78 h 224"/>
              <a:gd name="T66" fmla="*/ 194 w 224"/>
              <a:gd name="T67" fmla="*/ 72 h 224"/>
              <a:gd name="T68" fmla="*/ 152 w 224"/>
              <a:gd name="T69" fmla="*/ 8 h 224"/>
              <a:gd name="T70" fmla="*/ 72 w 224"/>
              <a:gd name="T71" fmla="*/ 8 h 224"/>
              <a:gd name="T72" fmla="*/ 72 w 224"/>
              <a:gd name="T73" fmla="*/ 48 h 224"/>
              <a:gd name="T74" fmla="*/ 152 w 224"/>
              <a:gd name="T75" fmla="*/ 48 h 224"/>
              <a:gd name="T76" fmla="*/ 152 w 224"/>
              <a:gd name="T77" fmla="*/ 8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24" h="224">
                <a:moveTo>
                  <a:pt x="160" y="0"/>
                </a:moveTo>
                <a:cubicBezTo>
                  <a:pt x="160" y="48"/>
                  <a:pt x="160" y="48"/>
                  <a:pt x="160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6"/>
                  <a:pt x="224" y="176"/>
                  <a:pt x="224" y="176"/>
                </a:cubicBezTo>
                <a:cubicBezTo>
                  <a:pt x="160" y="176"/>
                  <a:pt x="160" y="176"/>
                  <a:pt x="160" y="176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64" y="224"/>
                  <a:pt x="64" y="224"/>
                  <a:pt x="64" y="224"/>
                </a:cubicBezTo>
                <a:cubicBezTo>
                  <a:pt x="64" y="176"/>
                  <a:pt x="64" y="176"/>
                  <a:pt x="64" y="176"/>
                </a:cubicBezTo>
                <a:cubicBezTo>
                  <a:pt x="0" y="176"/>
                  <a:pt x="0" y="176"/>
                  <a:pt x="0" y="176"/>
                </a:cubicBezTo>
                <a:cubicBezTo>
                  <a:pt x="0" y="76"/>
                  <a:pt x="0" y="76"/>
                  <a:pt x="0" y="76"/>
                </a:cubicBezTo>
                <a:cubicBezTo>
                  <a:pt x="26" y="48"/>
                  <a:pt x="26" y="48"/>
                  <a:pt x="26" y="48"/>
                </a:cubicBezTo>
                <a:cubicBezTo>
                  <a:pt x="64" y="48"/>
                  <a:pt x="64" y="48"/>
                  <a:pt x="64" y="48"/>
                </a:cubicBezTo>
                <a:cubicBezTo>
                  <a:pt x="64" y="0"/>
                  <a:pt x="64" y="0"/>
                  <a:pt x="64" y="0"/>
                </a:cubicBezTo>
                <a:lnTo>
                  <a:pt x="160" y="0"/>
                </a:lnTo>
                <a:close/>
                <a:moveTo>
                  <a:pt x="152" y="120"/>
                </a:moveTo>
                <a:cubicBezTo>
                  <a:pt x="72" y="120"/>
                  <a:pt x="72" y="120"/>
                  <a:pt x="72" y="120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152" y="216"/>
                  <a:pt x="152" y="216"/>
                  <a:pt x="152" y="216"/>
                </a:cubicBezTo>
                <a:lnTo>
                  <a:pt x="152" y="120"/>
                </a:lnTo>
                <a:close/>
                <a:moveTo>
                  <a:pt x="216" y="56"/>
                </a:moveTo>
                <a:cubicBezTo>
                  <a:pt x="30" y="56"/>
                  <a:pt x="30" y="56"/>
                  <a:pt x="30" y="56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168"/>
                  <a:pt x="8" y="168"/>
                  <a:pt x="8" y="168"/>
                </a:cubicBezTo>
                <a:cubicBezTo>
                  <a:pt x="64" y="168"/>
                  <a:pt x="64" y="168"/>
                  <a:pt x="64" y="168"/>
                </a:cubicBezTo>
                <a:cubicBezTo>
                  <a:pt x="64" y="112"/>
                  <a:pt x="64" y="112"/>
                  <a:pt x="64" y="112"/>
                </a:cubicBezTo>
                <a:cubicBezTo>
                  <a:pt x="160" y="112"/>
                  <a:pt x="160" y="112"/>
                  <a:pt x="160" y="112"/>
                </a:cubicBezTo>
                <a:cubicBezTo>
                  <a:pt x="160" y="168"/>
                  <a:pt x="160" y="168"/>
                  <a:pt x="160" y="168"/>
                </a:cubicBezTo>
                <a:cubicBezTo>
                  <a:pt x="216" y="168"/>
                  <a:pt x="216" y="168"/>
                  <a:pt x="216" y="168"/>
                </a:cubicBezTo>
                <a:lnTo>
                  <a:pt x="216" y="56"/>
                </a:lnTo>
                <a:close/>
                <a:moveTo>
                  <a:pt x="194" y="72"/>
                </a:moveTo>
                <a:cubicBezTo>
                  <a:pt x="197" y="72"/>
                  <a:pt x="200" y="75"/>
                  <a:pt x="200" y="78"/>
                </a:cubicBezTo>
                <a:cubicBezTo>
                  <a:pt x="200" y="81"/>
                  <a:pt x="197" y="84"/>
                  <a:pt x="194" y="84"/>
                </a:cubicBezTo>
                <a:cubicBezTo>
                  <a:pt x="191" y="84"/>
                  <a:pt x="188" y="81"/>
                  <a:pt x="188" y="78"/>
                </a:cubicBezTo>
                <a:cubicBezTo>
                  <a:pt x="188" y="75"/>
                  <a:pt x="191" y="72"/>
                  <a:pt x="194" y="72"/>
                </a:cubicBezTo>
                <a:close/>
                <a:moveTo>
                  <a:pt x="152" y="8"/>
                </a:moveTo>
                <a:cubicBezTo>
                  <a:pt x="72" y="8"/>
                  <a:pt x="72" y="8"/>
                  <a:pt x="72" y="8"/>
                </a:cubicBezTo>
                <a:cubicBezTo>
                  <a:pt x="72" y="48"/>
                  <a:pt x="72" y="48"/>
                  <a:pt x="72" y="48"/>
                </a:cubicBezTo>
                <a:cubicBezTo>
                  <a:pt x="152" y="48"/>
                  <a:pt x="152" y="48"/>
                  <a:pt x="152" y="48"/>
                </a:cubicBezTo>
                <a:lnTo>
                  <a:pt x="152" y="8"/>
                </a:ln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2" name="íṧḷîḋe">
            <a:extLst>
              <a:ext uri="{FF2B5EF4-FFF2-40B4-BE49-F238E27FC236}">
                <a16:creationId xmlns:a16="http://schemas.microsoft.com/office/drawing/2014/main" id="{4AAAFC4F-6EE5-4AAB-891C-7196D7F87E59}"/>
              </a:ext>
            </a:extLst>
          </p:cNvPr>
          <p:cNvGrpSpPr/>
          <p:nvPr/>
        </p:nvGrpSpPr>
        <p:grpSpPr>
          <a:xfrm>
            <a:off x="7668806" y="4682446"/>
            <a:ext cx="3477034" cy="1176861"/>
            <a:chOff x="8041866" y="1130300"/>
            <a:chExt cx="3477034" cy="1176861"/>
          </a:xfrm>
        </p:grpSpPr>
        <p:sp>
          <p:nvSpPr>
            <p:cNvPr id="16" name="îS1íḍê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8041866" y="1130300"/>
              <a:ext cx="3477034" cy="42499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03.Text here</a:t>
              </a:r>
              <a:endParaRPr lang="id-ID" b="1" dirty="0"/>
            </a:p>
          </p:txBody>
        </p:sp>
        <p:sp>
          <p:nvSpPr>
            <p:cNvPr id="17" name="íšļíḓè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041866" y="1555294"/>
              <a:ext cx="3477034" cy="7518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sp>
        <p:nvSpPr>
          <p:cNvPr id="14" name="iṥļïḍe">
            <a:extLst>
              <a:ext uri="{FF2B5EF4-FFF2-40B4-BE49-F238E27FC236}">
                <a16:creationId xmlns:a16="http://schemas.microsoft.com/office/drawing/2014/main" id="{17AE82E4-A069-42F1-8BD6-87E521D74AE4}"/>
              </a:ext>
            </a:extLst>
          </p:cNvPr>
          <p:cNvSpPr/>
          <p:nvPr/>
        </p:nvSpPr>
        <p:spPr>
          <a:xfrm>
            <a:off x="6764305" y="4874876"/>
            <a:ext cx="792000" cy="792000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id-ID"/>
          </a:p>
        </p:txBody>
      </p:sp>
      <p:sp>
        <p:nvSpPr>
          <p:cNvPr id="56" name="ïŝḻiḑê">
            <a:extLst>
              <a:ext uri="{FF2B5EF4-FFF2-40B4-BE49-F238E27FC236}">
                <a16:creationId xmlns:a16="http://schemas.microsoft.com/office/drawing/2014/main" id="{A0CAFD0B-404F-49F3-8312-5F8F48EF399B}"/>
              </a:ext>
            </a:extLst>
          </p:cNvPr>
          <p:cNvSpPr/>
          <p:nvPr/>
        </p:nvSpPr>
        <p:spPr>
          <a:xfrm>
            <a:off x="6972338" y="5113974"/>
            <a:ext cx="375934" cy="313804"/>
          </a:xfrm>
          <a:custGeom>
            <a:avLst/>
            <a:gdLst>
              <a:gd name="T0" fmla="*/ 224 w 224"/>
              <a:gd name="T1" fmla="*/ 0 h 184"/>
              <a:gd name="T2" fmla="*/ 224 w 224"/>
              <a:gd name="T3" fmla="*/ 156 h 184"/>
              <a:gd name="T4" fmla="*/ 86 w 224"/>
              <a:gd name="T5" fmla="*/ 156 h 184"/>
              <a:gd name="T6" fmla="*/ 48 w 224"/>
              <a:gd name="T7" fmla="*/ 184 h 184"/>
              <a:gd name="T8" fmla="*/ 48 w 224"/>
              <a:gd name="T9" fmla="*/ 156 h 184"/>
              <a:gd name="T10" fmla="*/ 0 w 224"/>
              <a:gd name="T11" fmla="*/ 156 h 184"/>
              <a:gd name="T12" fmla="*/ 0 w 224"/>
              <a:gd name="T13" fmla="*/ 0 h 184"/>
              <a:gd name="T14" fmla="*/ 224 w 224"/>
              <a:gd name="T15" fmla="*/ 0 h 184"/>
              <a:gd name="T16" fmla="*/ 216 w 224"/>
              <a:gd name="T17" fmla="*/ 8 h 184"/>
              <a:gd name="T18" fmla="*/ 8 w 224"/>
              <a:gd name="T19" fmla="*/ 8 h 184"/>
              <a:gd name="T20" fmla="*/ 8 w 224"/>
              <a:gd name="T21" fmla="*/ 148 h 184"/>
              <a:gd name="T22" fmla="*/ 56 w 224"/>
              <a:gd name="T23" fmla="*/ 148 h 184"/>
              <a:gd name="T24" fmla="*/ 56 w 224"/>
              <a:gd name="T25" fmla="*/ 168 h 184"/>
              <a:gd name="T26" fmla="*/ 83 w 224"/>
              <a:gd name="T27" fmla="*/ 148 h 184"/>
              <a:gd name="T28" fmla="*/ 216 w 224"/>
              <a:gd name="T29" fmla="*/ 148 h 184"/>
              <a:gd name="T30" fmla="*/ 216 w 224"/>
              <a:gd name="T31" fmla="*/ 8 h 184"/>
              <a:gd name="T32" fmla="*/ 56 w 224"/>
              <a:gd name="T33" fmla="*/ 60 h 184"/>
              <a:gd name="T34" fmla="*/ 74 w 224"/>
              <a:gd name="T35" fmla="*/ 78 h 184"/>
              <a:gd name="T36" fmla="*/ 56 w 224"/>
              <a:gd name="T37" fmla="*/ 96 h 184"/>
              <a:gd name="T38" fmla="*/ 38 w 224"/>
              <a:gd name="T39" fmla="*/ 78 h 184"/>
              <a:gd name="T40" fmla="*/ 56 w 224"/>
              <a:gd name="T41" fmla="*/ 60 h 184"/>
              <a:gd name="T42" fmla="*/ 112 w 224"/>
              <a:gd name="T43" fmla="*/ 60 h 184"/>
              <a:gd name="T44" fmla="*/ 130 w 224"/>
              <a:gd name="T45" fmla="*/ 78 h 184"/>
              <a:gd name="T46" fmla="*/ 112 w 224"/>
              <a:gd name="T47" fmla="*/ 96 h 184"/>
              <a:gd name="T48" fmla="*/ 94 w 224"/>
              <a:gd name="T49" fmla="*/ 78 h 184"/>
              <a:gd name="T50" fmla="*/ 112 w 224"/>
              <a:gd name="T51" fmla="*/ 60 h 184"/>
              <a:gd name="T52" fmla="*/ 168 w 224"/>
              <a:gd name="T53" fmla="*/ 60 h 184"/>
              <a:gd name="T54" fmla="*/ 186 w 224"/>
              <a:gd name="T55" fmla="*/ 78 h 184"/>
              <a:gd name="T56" fmla="*/ 168 w 224"/>
              <a:gd name="T57" fmla="*/ 96 h 184"/>
              <a:gd name="T58" fmla="*/ 150 w 224"/>
              <a:gd name="T59" fmla="*/ 78 h 184"/>
              <a:gd name="T60" fmla="*/ 168 w 224"/>
              <a:gd name="T61" fmla="*/ 60 h 184"/>
              <a:gd name="T62" fmla="*/ 56 w 224"/>
              <a:gd name="T63" fmla="*/ 68 h 184"/>
              <a:gd name="T64" fmla="*/ 46 w 224"/>
              <a:gd name="T65" fmla="*/ 78 h 184"/>
              <a:gd name="T66" fmla="*/ 56 w 224"/>
              <a:gd name="T67" fmla="*/ 88 h 184"/>
              <a:gd name="T68" fmla="*/ 66 w 224"/>
              <a:gd name="T69" fmla="*/ 78 h 184"/>
              <a:gd name="T70" fmla="*/ 56 w 224"/>
              <a:gd name="T71" fmla="*/ 68 h 184"/>
              <a:gd name="T72" fmla="*/ 112 w 224"/>
              <a:gd name="T73" fmla="*/ 68 h 184"/>
              <a:gd name="T74" fmla="*/ 102 w 224"/>
              <a:gd name="T75" fmla="*/ 78 h 184"/>
              <a:gd name="T76" fmla="*/ 112 w 224"/>
              <a:gd name="T77" fmla="*/ 88 h 184"/>
              <a:gd name="T78" fmla="*/ 122 w 224"/>
              <a:gd name="T79" fmla="*/ 78 h 184"/>
              <a:gd name="T80" fmla="*/ 112 w 224"/>
              <a:gd name="T81" fmla="*/ 68 h 184"/>
              <a:gd name="T82" fmla="*/ 168 w 224"/>
              <a:gd name="T83" fmla="*/ 68 h 184"/>
              <a:gd name="T84" fmla="*/ 158 w 224"/>
              <a:gd name="T85" fmla="*/ 78 h 184"/>
              <a:gd name="T86" fmla="*/ 168 w 224"/>
              <a:gd name="T87" fmla="*/ 88 h 184"/>
              <a:gd name="T88" fmla="*/ 178 w 224"/>
              <a:gd name="T89" fmla="*/ 78 h 184"/>
              <a:gd name="T90" fmla="*/ 168 w 224"/>
              <a:gd name="T91" fmla="*/ 68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4" h="184">
                <a:moveTo>
                  <a:pt x="224" y="0"/>
                </a:moveTo>
                <a:cubicBezTo>
                  <a:pt x="224" y="156"/>
                  <a:pt x="224" y="156"/>
                  <a:pt x="224" y="156"/>
                </a:cubicBezTo>
                <a:cubicBezTo>
                  <a:pt x="86" y="156"/>
                  <a:pt x="86" y="156"/>
                  <a:pt x="86" y="156"/>
                </a:cubicBezTo>
                <a:cubicBezTo>
                  <a:pt x="48" y="184"/>
                  <a:pt x="48" y="184"/>
                  <a:pt x="48" y="184"/>
                </a:cubicBezTo>
                <a:cubicBezTo>
                  <a:pt x="48" y="156"/>
                  <a:pt x="48" y="156"/>
                  <a:pt x="48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216" y="8"/>
                </a:moveTo>
                <a:cubicBezTo>
                  <a:pt x="8" y="8"/>
                  <a:pt x="8" y="8"/>
                  <a:pt x="8" y="8"/>
                </a:cubicBezTo>
                <a:cubicBezTo>
                  <a:pt x="8" y="148"/>
                  <a:pt x="8" y="148"/>
                  <a:pt x="8" y="148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68"/>
                  <a:pt x="56" y="168"/>
                  <a:pt x="56" y="168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216" y="148"/>
                  <a:pt x="216" y="148"/>
                  <a:pt x="216" y="148"/>
                </a:cubicBezTo>
                <a:lnTo>
                  <a:pt x="216" y="8"/>
                </a:lnTo>
                <a:close/>
                <a:moveTo>
                  <a:pt x="56" y="60"/>
                </a:moveTo>
                <a:cubicBezTo>
                  <a:pt x="66" y="60"/>
                  <a:pt x="74" y="68"/>
                  <a:pt x="74" y="78"/>
                </a:cubicBezTo>
                <a:cubicBezTo>
                  <a:pt x="74" y="88"/>
                  <a:pt x="66" y="96"/>
                  <a:pt x="56" y="96"/>
                </a:cubicBezTo>
                <a:cubicBezTo>
                  <a:pt x="46" y="96"/>
                  <a:pt x="38" y="88"/>
                  <a:pt x="38" y="78"/>
                </a:cubicBezTo>
                <a:cubicBezTo>
                  <a:pt x="38" y="68"/>
                  <a:pt x="46" y="60"/>
                  <a:pt x="56" y="60"/>
                </a:cubicBezTo>
                <a:close/>
                <a:moveTo>
                  <a:pt x="112" y="60"/>
                </a:moveTo>
                <a:cubicBezTo>
                  <a:pt x="122" y="60"/>
                  <a:pt x="130" y="68"/>
                  <a:pt x="130" y="78"/>
                </a:cubicBezTo>
                <a:cubicBezTo>
                  <a:pt x="130" y="88"/>
                  <a:pt x="122" y="96"/>
                  <a:pt x="112" y="96"/>
                </a:cubicBezTo>
                <a:cubicBezTo>
                  <a:pt x="102" y="96"/>
                  <a:pt x="94" y="88"/>
                  <a:pt x="94" y="78"/>
                </a:cubicBezTo>
                <a:cubicBezTo>
                  <a:pt x="94" y="68"/>
                  <a:pt x="102" y="60"/>
                  <a:pt x="112" y="60"/>
                </a:cubicBezTo>
                <a:close/>
                <a:moveTo>
                  <a:pt x="168" y="60"/>
                </a:moveTo>
                <a:cubicBezTo>
                  <a:pt x="178" y="60"/>
                  <a:pt x="186" y="68"/>
                  <a:pt x="186" y="78"/>
                </a:cubicBezTo>
                <a:cubicBezTo>
                  <a:pt x="186" y="88"/>
                  <a:pt x="178" y="96"/>
                  <a:pt x="168" y="96"/>
                </a:cubicBezTo>
                <a:cubicBezTo>
                  <a:pt x="158" y="96"/>
                  <a:pt x="150" y="88"/>
                  <a:pt x="150" y="78"/>
                </a:cubicBezTo>
                <a:cubicBezTo>
                  <a:pt x="150" y="68"/>
                  <a:pt x="158" y="60"/>
                  <a:pt x="168" y="60"/>
                </a:cubicBezTo>
                <a:close/>
                <a:moveTo>
                  <a:pt x="56" y="68"/>
                </a:moveTo>
                <a:cubicBezTo>
                  <a:pt x="50" y="68"/>
                  <a:pt x="46" y="72"/>
                  <a:pt x="46" y="78"/>
                </a:cubicBezTo>
                <a:cubicBezTo>
                  <a:pt x="46" y="84"/>
                  <a:pt x="50" y="88"/>
                  <a:pt x="56" y="88"/>
                </a:cubicBezTo>
                <a:cubicBezTo>
                  <a:pt x="62" y="88"/>
                  <a:pt x="66" y="84"/>
                  <a:pt x="66" y="78"/>
                </a:cubicBezTo>
                <a:cubicBezTo>
                  <a:pt x="66" y="72"/>
                  <a:pt x="62" y="68"/>
                  <a:pt x="56" y="68"/>
                </a:cubicBezTo>
                <a:close/>
                <a:moveTo>
                  <a:pt x="112" y="68"/>
                </a:moveTo>
                <a:cubicBezTo>
                  <a:pt x="106" y="68"/>
                  <a:pt x="102" y="72"/>
                  <a:pt x="102" y="78"/>
                </a:cubicBezTo>
                <a:cubicBezTo>
                  <a:pt x="102" y="84"/>
                  <a:pt x="106" y="88"/>
                  <a:pt x="112" y="88"/>
                </a:cubicBezTo>
                <a:cubicBezTo>
                  <a:pt x="118" y="88"/>
                  <a:pt x="122" y="84"/>
                  <a:pt x="122" y="78"/>
                </a:cubicBezTo>
                <a:cubicBezTo>
                  <a:pt x="122" y="72"/>
                  <a:pt x="118" y="68"/>
                  <a:pt x="112" y="68"/>
                </a:cubicBezTo>
                <a:close/>
                <a:moveTo>
                  <a:pt x="168" y="68"/>
                </a:moveTo>
                <a:cubicBezTo>
                  <a:pt x="162" y="68"/>
                  <a:pt x="158" y="72"/>
                  <a:pt x="158" y="78"/>
                </a:cubicBezTo>
                <a:cubicBezTo>
                  <a:pt x="158" y="84"/>
                  <a:pt x="162" y="88"/>
                  <a:pt x="168" y="88"/>
                </a:cubicBezTo>
                <a:cubicBezTo>
                  <a:pt x="174" y="88"/>
                  <a:pt x="178" y="84"/>
                  <a:pt x="178" y="78"/>
                </a:cubicBezTo>
                <a:cubicBezTo>
                  <a:pt x="178" y="72"/>
                  <a:pt x="174" y="68"/>
                  <a:pt x="168" y="68"/>
                </a:cubicBez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E437C61F-565B-4177-A33F-99318AC2A1A4}"/>
              </a:ext>
            </a:extLst>
          </p:cNvPr>
          <p:cNvCxnSpPr/>
          <p:nvPr/>
        </p:nvCxnSpPr>
        <p:spPr>
          <a:xfrm>
            <a:off x="6089650" y="1593060"/>
            <a:ext cx="0" cy="407828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8664058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3BCB80E-3A98-4FDB-A2F7-7D2E3636D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00A06B8-DB8D-4DCB-8229-AEFCBE9F6C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68AEA85-2C9C-46F0-9C8C-A42D15BA6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grpSp>
        <p:nvGrpSpPr>
          <p:cNvPr id="81" name="27251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C7A1B75-0D33-4BF2-A89F-EBA29FFB28CF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833703"/>
            <a:ext cx="11518900" cy="4300397"/>
            <a:chOff x="0" y="1833703"/>
            <a:chExt cx="11518900" cy="4300397"/>
          </a:xfrm>
        </p:grpSpPr>
        <p:cxnSp>
          <p:nvCxnSpPr>
            <p:cNvPr id="82" name="直接连接符 81">
              <a:extLst>
                <a:ext uri="{FF2B5EF4-FFF2-40B4-BE49-F238E27FC236}">
                  <a16:creationId xmlns:a16="http://schemas.microsoft.com/office/drawing/2014/main" id="{5EA77989-8715-4AF6-AD5C-F88CE96699D0}"/>
                </a:ext>
              </a:extLst>
            </p:cNvPr>
            <p:cNvCxnSpPr/>
            <p:nvPr/>
          </p:nvCxnSpPr>
          <p:spPr>
            <a:xfrm>
              <a:off x="4227968" y="3462794"/>
              <a:ext cx="729093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ïṩļiḍe">
              <a:extLst>
                <a:ext uri="{FF2B5EF4-FFF2-40B4-BE49-F238E27FC236}">
                  <a16:creationId xmlns:a16="http://schemas.microsoft.com/office/drawing/2014/main" id="{F28A8EC3-55F1-461A-BCA4-AAFD5E763548}"/>
                </a:ext>
              </a:extLst>
            </p:cNvPr>
            <p:cNvSpPr/>
            <p:nvPr/>
          </p:nvSpPr>
          <p:spPr>
            <a:xfrm>
              <a:off x="0" y="1833703"/>
              <a:ext cx="4227968" cy="1629091"/>
            </a:xfrm>
            <a:prstGeom prst="rect">
              <a:avLst/>
            </a:prstGeom>
            <a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tretch>
                <a:fillRect t="-23171" b="-22813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84" name="íṣ1ïďê">
              <a:extLst>
                <a:ext uri="{FF2B5EF4-FFF2-40B4-BE49-F238E27FC236}">
                  <a16:creationId xmlns:a16="http://schemas.microsoft.com/office/drawing/2014/main" id="{25AE6077-712A-4E8D-8829-BB856AF9DF96}"/>
                </a:ext>
              </a:extLst>
            </p:cNvPr>
            <p:cNvSpPr/>
            <p:nvPr/>
          </p:nvSpPr>
          <p:spPr bwMode="auto">
            <a:xfrm>
              <a:off x="660400" y="1833704"/>
              <a:ext cx="3567568" cy="4300396"/>
            </a:xfrm>
            <a:prstGeom prst="rect">
              <a:avLst/>
            </a:pr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200" dirty="0"/>
                <a:t>Unified fonts make reading more fluent.</a:t>
              </a:r>
            </a:p>
            <a:p>
              <a:pPr algn="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200" dirty="0"/>
                <a:t>Theme color makes PPT more convenient to change.</a:t>
              </a:r>
            </a:p>
            <a:p>
              <a:pPr algn="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200" dirty="0"/>
                <a:t>Adjust the spacing to adapt to Chinese typesetting, use the reference line in PPT.</a:t>
              </a:r>
            </a:p>
          </p:txBody>
        </p:sp>
        <p:grpSp>
          <p:nvGrpSpPr>
            <p:cNvPr id="85" name="ïṡļîḍè">
              <a:extLst>
                <a:ext uri="{FF2B5EF4-FFF2-40B4-BE49-F238E27FC236}">
                  <a16:creationId xmlns:a16="http://schemas.microsoft.com/office/drawing/2014/main" id="{6D992021-9EEF-41F7-97C0-AE2F35C2F0EF}"/>
                </a:ext>
              </a:extLst>
            </p:cNvPr>
            <p:cNvGrpSpPr/>
            <p:nvPr/>
          </p:nvGrpSpPr>
          <p:grpSpPr>
            <a:xfrm>
              <a:off x="4888368" y="1833703"/>
              <a:ext cx="1799251" cy="4300397"/>
              <a:chOff x="4888368" y="1833703"/>
              <a:chExt cx="1799251" cy="4300397"/>
            </a:xfrm>
          </p:grpSpPr>
          <p:sp>
            <p:nvSpPr>
              <p:cNvPr id="96" name="ísľídê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4888368" y="1833703"/>
                <a:ext cx="1799251" cy="1191656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765"/>
                <a:endParaRPr lang="zh-CN" altLang="en-US" dirty="0"/>
              </a:p>
            </p:txBody>
          </p:sp>
          <p:sp>
            <p:nvSpPr>
              <p:cNvPr id="97" name="îSļïdê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4888368" y="3464868"/>
                <a:ext cx="1799251" cy="26692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98" name="íŝľídé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4888368" y="3027432"/>
                <a:ext cx="1799251" cy="433289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>
                  <a:lnSpc>
                    <a:spcPct val="120000"/>
                  </a:lnSpc>
                </a:pPr>
                <a:r>
                  <a:rPr lang="en-US" altLang="zh-CN" sz="1600" b="1" dirty="0">
                    <a:solidFill>
                      <a:schemeClr val="tx1"/>
                    </a:solidFill>
                  </a:rPr>
                  <a:t>Text here</a:t>
                </a:r>
                <a:endParaRPr lang="zh-CN" altLang="en-US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9" name="íṥ1ïḑê">
                <a:extLst>
                  <a:ext uri="{FF2B5EF4-FFF2-40B4-BE49-F238E27FC236}">
                    <a16:creationId xmlns:a16="http://schemas.microsoft.com/office/drawing/2014/main" id="{37F6B6DB-3F72-449E-A326-3E1B19B2658B}"/>
                  </a:ext>
                </a:extLst>
              </p:cNvPr>
              <p:cNvSpPr/>
              <p:nvPr/>
            </p:nvSpPr>
            <p:spPr>
              <a:xfrm>
                <a:off x="5541492" y="2160756"/>
                <a:ext cx="493001" cy="537550"/>
              </a:xfrm>
              <a:custGeom>
                <a:avLst/>
                <a:gdLst>
                  <a:gd name="T0" fmla="*/ 168 w 208"/>
                  <a:gd name="T1" fmla="*/ 0 h 224"/>
                  <a:gd name="T2" fmla="*/ 168 w 208"/>
                  <a:gd name="T3" fmla="*/ 68 h 224"/>
                  <a:gd name="T4" fmla="*/ 108 w 208"/>
                  <a:gd name="T5" fmla="*/ 68 h 224"/>
                  <a:gd name="T6" fmla="*/ 108 w 208"/>
                  <a:gd name="T7" fmla="*/ 124 h 224"/>
                  <a:gd name="T8" fmla="*/ 192 w 208"/>
                  <a:gd name="T9" fmla="*/ 124 h 224"/>
                  <a:gd name="T10" fmla="*/ 192 w 208"/>
                  <a:gd name="T11" fmla="*/ 184 h 224"/>
                  <a:gd name="T12" fmla="*/ 208 w 208"/>
                  <a:gd name="T13" fmla="*/ 184 h 224"/>
                  <a:gd name="T14" fmla="*/ 208 w 208"/>
                  <a:gd name="T15" fmla="*/ 224 h 224"/>
                  <a:gd name="T16" fmla="*/ 168 w 208"/>
                  <a:gd name="T17" fmla="*/ 224 h 224"/>
                  <a:gd name="T18" fmla="*/ 168 w 208"/>
                  <a:gd name="T19" fmla="*/ 184 h 224"/>
                  <a:gd name="T20" fmla="*/ 184 w 208"/>
                  <a:gd name="T21" fmla="*/ 184 h 224"/>
                  <a:gd name="T22" fmla="*/ 184 w 208"/>
                  <a:gd name="T23" fmla="*/ 132 h 224"/>
                  <a:gd name="T24" fmla="*/ 108 w 208"/>
                  <a:gd name="T25" fmla="*/ 132 h 224"/>
                  <a:gd name="T26" fmla="*/ 108 w 208"/>
                  <a:gd name="T27" fmla="*/ 184 h 224"/>
                  <a:gd name="T28" fmla="*/ 124 w 208"/>
                  <a:gd name="T29" fmla="*/ 184 h 224"/>
                  <a:gd name="T30" fmla="*/ 124 w 208"/>
                  <a:gd name="T31" fmla="*/ 224 h 224"/>
                  <a:gd name="T32" fmla="*/ 84 w 208"/>
                  <a:gd name="T33" fmla="*/ 224 h 224"/>
                  <a:gd name="T34" fmla="*/ 84 w 208"/>
                  <a:gd name="T35" fmla="*/ 184 h 224"/>
                  <a:gd name="T36" fmla="*/ 100 w 208"/>
                  <a:gd name="T37" fmla="*/ 184 h 224"/>
                  <a:gd name="T38" fmla="*/ 100 w 208"/>
                  <a:gd name="T39" fmla="*/ 132 h 224"/>
                  <a:gd name="T40" fmla="*/ 24 w 208"/>
                  <a:gd name="T41" fmla="*/ 132 h 224"/>
                  <a:gd name="T42" fmla="*/ 24 w 208"/>
                  <a:gd name="T43" fmla="*/ 184 h 224"/>
                  <a:gd name="T44" fmla="*/ 40 w 208"/>
                  <a:gd name="T45" fmla="*/ 184 h 224"/>
                  <a:gd name="T46" fmla="*/ 40 w 208"/>
                  <a:gd name="T47" fmla="*/ 224 h 224"/>
                  <a:gd name="T48" fmla="*/ 0 w 208"/>
                  <a:gd name="T49" fmla="*/ 224 h 224"/>
                  <a:gd name="T50" fmla="*/ 0 w 208"/>
                  <a:gd name="T51" fmla="*/ 184 h 224"/>
                  <a:gd name="T52" fmla="*/ 16 w 208"/>
                  <a:gd name="T53" fmla="*/ 184 h 224"/>
                  <a:gd name="T54" fmla="*/ 16 w 208"/>
                  <a:gd name="T55" fmla="*/ 124 h 224"/>
                  <a:gd name="T56" fmla="*/ 100 w 208"/>
                  <a:gd name="T57" fmla="*/ 124 h 224"/>
                  <a:gd name="T58" fmla="*/ 100 w 208"/>
                  <a:gd name="T59" fmla="*/ 68 h 224"/>
                  <a:gd name="T60" fmla="*/ 40 w 208"/>
                  <a:gd name="T61" fmla="*/ 68 h 224"/>
                  <a:gd name="T62" fmla="*/ 40 w 208"/>
                  <a:gd name="T63" fmla="*/ 0 h 224"/>
                  <a:gd name="T64" fmla="*/ 168 w 208"/>
                  <a:gd name="T65" fmla="*/ 0 h 224"/>
                  <a:gd name="T66" fmla="*/ 32 w 208"/>
                  <a:gd name="T67" fmla="*/ 192 h 224"/>
                  <a:gd name="T68" fmla="*/ 8 w 208"/>
                  <a:gd name="T69" fmla="*/ 192 h 224"/>
                  <a:gd name="T70" fmla="*/ 8 w 208"/>
                  <a:gd name="T71" fmla="*/ 216 h 224"/>
                  <a:gd name="T72" fmla="*/ 32 w 208"/>
                  <a:gd name="T73" fmla="*/ 216 h 224"/>
                  <a:gd name="T74" fmla="*/ 32 w 208"/>
                  <a:gd name="T75" fmla="*/ 192 h 224"/>
                  <a:gd name="T76" fmla="*/ 116 w 208"/>
                  <a:gd name="T77" fmla="*/ 192 h 224"/>
                  <a:gd name="T78" fmla="*/ 92 w 208"/>
                  <a:gd name="T79" fmla="*/ 192 h 224"/>
                  <a:gd name="T80" fmla="*/ 92 w 208"/>
                  <a:gd name="T81" fmla="*/ 216 h 224"/>
                  <a:gd name="T82" fmla="*/ 116 w 208"/>
                  <a:gd name="T83" fmla="*/ 216 h 224"/>
                  <a:gd name="T84" fmla="*/ 116 w 208"/>
                  <a:gd name="T85" fmla="*/ 192 h 224"/>
                  <a:gd name="T86" fmla="*/ 200 w 208"/>
                  <a:gd name="T87" fmla="*/ 192 h 224"/>
                  <a:gd name="T88" fmla="*/ 176 w 208"/>
                  <a:gd name="T89" fmla="*/ 192 h 224"/>
                  <a:gd name="T90" fmla="*/ 176 w 208"/>
                  <a:gd name="T91" fmla="*/ 216 h 224"/>
                  <a:gd name="T92" fmla="*/ 200 w 208"/>
                  <a:gd name="T93" fmla="*/ 216 h 224"/>
                  <a:gd name="T94" fmla="*/ 200 w 208"/>
                  <a:gd name="T95" fmla="*/ 192 h 224"/>
                  <a:gd name="T96" fmla="*/ 160 w 208"/>
                  <a:gd name="T97" fmla="*/ 8 h 224"/>
                  <a:gd name="T98" fmla="*/ 48 w 208"/>
                  <a:gd name="T99" fmla="*/ 8 h 224"/>
                  <a:gd name="T100" fmla="*/ 48 w 208"/>
                  <a:gd name="T101" fmla="*/ 60 h 224"/>
                  <a:gd name="T102" fmla="*/ 160 w 208"/>
                  <a:gd name="T103" fmla="*/ 60 h 224"/>
                  <a:gd name="T104" fmla="*/ 160 w 208"/>
                  <a:gd name="T105" fmla="*/ 8 h 224"/>
                  <a:gd name="T106" fmla="*/ 66 w 208"/>
                  <a:gd name="T107" fmla="*/ 36 h 224"/>
                  <a:gd name="T108" fmla="*/ 72 w 208"/>
                  <a:gd name="T109" fmla="*/ 42 h 224"/>
                  <a:gd name="T110" fmla="*/ 66 w 208"/>
                  <a:gd name="T111" fmla="*/ 48 h 224"/>
                  <a:gd name="T112" fmla="*/ 60 w 208"/>
                  <a:gd name="T113" fmla="*/ 42 h 224"/>
                  <a:gd name="T114" fmla="*/ 66 w 208"/>
                  <a:gd name="T115" fmla="*/ 3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8" h="224">
                    <a:moveTo>
                      <a:pt x="168" y="0"/>
                    </a:moveTo>
                    <a:cubicBezTo>
                      <a:pt x="168" y="68"/>
                      <a:pt x="168" y="68"/>
                      <a:pt x="168" y="68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08" y="124"/>
                      <a:pt x="108" y="124"/>
                      <a:pt x="108" y="124"/>
                    </a:cubicBezTo>
                    <a:cubicBezTo>
                      <a:pt x="192" y="124"/>
                      <a:pt x="192" y="124"/>
                      <a:pt x="192" y="124"/>
                    </a:cubicBezTo>
                    <a:cubicBezTo>
                      <a:pt x="192" y="184"/>
                      <a:pt x="192" y="184"/>
                      <a:pt x="192" y="184"/>
                    </a:cubicBezTo>
                    <a:cubicBezTo>
                      <a:pt x="208" y="184"/>
                      <a:pt x="208" y="184"/>
                      <a:pt x="208" y="184"/>
                    </a:cubicBezTo>
                    <a:cubicBezTo>
                      <a:pt x="208" y="224"/>
                      <a:pt x="208" y="224"/>
                      <a:pt x="208" y="224"/>
                    </a:cubicBezTo>
                    <a:cubicBezTo>
                      <a:pt x="168" y="224"/>
                      <a:pt x="168" y="224"/>
                      <a:pt x="168" y="224"/>
                    </a:cubicBezTo>
                    <a:cubicBezTo>
                      <a:pt x="168" y="184"/>
                      <a:pt x="168" y="184"/>
                      <a:pt x="168" y="184"/>
                    </a:cubicBezTo>
                    <a:cubicBezTo>
                      <a:pt x="184" y="184"/>
                      <a:pt x="184" y="184"/>
                      <a:pt x="184" y="184"/>
                    </a:cubicBezTo>
                    <a:cubicBezTo>
                      <a:pt x="184" y="132"/>
                      <a:pt x="184" y="132"/>
                      <a:pt x="184" y="132"/>
                    </a:cubicBezTo>
                    <a:cubicBezTo>
                      <a:pt x="108" y="132"/>
                      <a:pt x="108" y="132"/>
                      <a:pt x="108" y="132"/>
                    </a:cubicBezTo>
                    <a:cubicBezTo>
                      <a:pt x="108" y="184"/>
                      <a:pt x="108" y="184"/>
                      <a:pt x="108" y="184"/>
                    </a:cubicBezTo>
                    <a:cubicBezTo>
                      <a:pt x="124" y="184"/>
                      <a:pt x="124" y="184"/>
                      <a:pt x="124" y="184"/>
                    </a:cubicBezTo>
                    <a:cubicBezTo>
                      <a:pt x="124" y="224"/>
                      <a:pt x="124" y="224"/>
                      <a:pt x="124" y="224"/>
                    </a:cubicBezTo>
                    <a:cubicBezTo>
                      <a:pt x="84" y="224"/>
                      <a:pt x="84" y="224"/>
                      <a:pt x="84" y="224"/>
                    </a:cubicBezTo>
                    <a:cubicBezTo>
                      <a:pt x="84" y="184"/>
                      <a:pt x="84" y="184"/>
                      <a:pt x="84" y="184"/>
                    </a:cubicBezTo>
                    <a:cubicBezTo>
                      <a:pt x="100" y="184"/>
                      <a:pt x="100" y="184"/>
                      <a:pt x="100" y="184"/>
                    </a:cubicBezTo>
                    <a:cubicBezTo>
                      <a:pt x="100" y="132"/>
                      <a:pt x="100" y="132"/>
                      <a:pt x="100" y="132"/>
                    </a:cubicBezTo>
                    <a:cubicBezTo>
                      <a:pt x="24" y="132"/>
                      <a:pt x="24" y="132"/>
                      <a:pt x="24" y="132"/>
                    </a:cubicBezTo>
                    <a:cubicBezTo>
                      <a:pt x="24" y="184"/>
                      <a:pt x="24" y="184"/>
                      <a:pt x="24" y="184"/>
                    </a:cubicBezTo>
                    <a:cubicBezTo>
                      <a:pt x="40" y="184"/>
                      <a:pt x="40" y="184"/>
                      <a:pt x="40" y="184"/>
                    </a:cubicBezTo>
                    <a:cubicBezTo>
                      <a:pt x="40" y="224"/>
                      <a:pt x="40" y="224"/>
                      <a:pt x="40" y="224"/>
                    </a:cubicBezTo>
                    <a:cubicBezTo>
                      <a:pt x="0" y="224"/>
                      <a:pt x="0" y="224"/>
                      <a:pt x="0" y="22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16" y="184"/>
                      <a:pt x="16" y="184"/>
                      <a:pt x="16" y="184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00" y="124"/>
                      <a:pt x="100" y="124"/>
                      <a:pt x="100" y="124"/>
                    </a:cubicBezTo>
                    <a:cubicBezTo>
                      <a:pt x="100" y="68"/>
                      <a:pt x="100" y="68"/>
                      <a:pt x="100" y="68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40" y="0"/>
                      <a:pt x="40" y="0"/>
                      <a:pt x="40" y="0"/>
                    </a:cubicBezTo>
                    <a:lnTo>
                      <a:pt x="168" y="0"/>
                    </a:lnTo>
                    <a:close/>
                    <a:moveTo>
                      <a:pt x="32" y="192"/>
                    </a:moveTo>
                    <a:cubicBezTo>
                      <a:pt x="8" y="192"/>
                      <a:pt x="8" y="192"/>
                      <a:pt x="8" y="192"/>
                    </a:cubicBezTo>
                    <a:cubicBezTo>
                      <a:pt x="8" y="216"/>
                      <a:pt x="8" y="216"/>
                      <a:pt x="8" y="216"/>
                    </a:cubicBezTo>
                    <a:cubicBezTo>
                      <a:pt x="32" y="216"/>
                      <a:pt x="32" y="216"/>
                      <a:pt x="32" y="216"/>
                    </a:cubicBezTo>
                    <a:lnTo>
                      <a:pt x="32" y="192"/>
                    </a:lnTo>
                    <a:close/>
                    <a:moveTo>
                      <a:pt x="116" y="192"/>
                    </a:moveTo>
                    <a:cubicBezTo>
                      <a:pt x="92" y="192"/>
                      <a:pt x="92" y="192"/>
                      <a:pt x="92" y="192"/>
                    </a:cubicBezTo>
                    <a:cubicBezTo>
                      <a:pt x="92" y="216"/>
                      <a:pt x="92" y="216"/>
                      <a:pt x="92" y="216"/>
                    </a:cubicBezTo>
                    <a:cubicBezTo>
                      <a:pt x="116" y="216"/>
                      <a:pt x="116" y="216"/>
                      <a:pt x="116" y="216"/>
                    </a:cubicBezTo>
                    <a:lnTo>
                      <a:pt x="116" y="192"/>
                    </a:lnTo>
                    <a:close/>
                    <a:moveTo>
                      <a:pt x="200" y="192"/>
                    </a:moveTo>
                    <a:cubicBezTo>
                      <a:pt x="176" y="192"/>
                      <a:pt x="176" y="192"/>
                      <a:pt x="176" y="192"/>
                    </a:cubicBezTo>
                    <a:cubicBezTo>
                      <a:pt x="176" y="216"/>
                      <a:pt x="176" y="216"/>
                      <a:pt x="176" y="216"/>
                    </a:cubicBezTo>
                    <a:cubicBezTo>
                      <a:pt x="200" y="216"/>
                      <a:pt x="200" y="216"/>
                      <a:pt x="200" y="216"/>
                    </a:cubicBezTo>
                    <a:lnTo>
                      <a:pt x="200" y="192"/>
                    </a:lnTo>
                    <a:close/>
                    <a:moveTo>
                      <a:pt x="160" y="8"/>
                    </a:moveTo>
                    <a:cubicBezTo>
                      <a:pt x="48" y="8"/>
                      <a:pt x="48" y="8"/>
                      <a:pt x="48" y="8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160" y="60"/>
                      <a:pt x="160" y="60"/>
                      <a:pt x="160" y="60"/>
                    </a:cubicBezTo>
                    <a:lnTo>
                      <a:pt x="160" y="8"/>
                    </a:lnTo>
                    <a:close/>
                    <a:moveTo>
                      <a:pt x="66" y="36"/>
                    </a:moveTo>
                    <a:cubicBezTo>
                      <a:pt x="69" y="36"/>
                      <a:pt x="72" y="39"/>
                      <a:pt x="72" y="42"/>
                    </a:cubicBezTo>
                    <a:cubicBezTo>
                      <a:pt x="72" y="45"/>
                      <a:pt x="69" y="48"/>
                      <a:pt x="66" y="48"/>
                    </a:cubicBezTo>
                    <a:cubicBezTo>
                      <a:pt x="63" y="48"/>
                      <a:pt x="60" y="45"/>
                      <a:pt x="60" y="42"/>
                    </a:cubicBezTo>
                    <a:cubicBezTo>
                      <a:pt x="60" y="39"/>
                      <a:pt x="63" y="36"/>
                      <a:pt x="66" y="36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6" name="íṧliḓè">
              <a:extLst>
                <a:ext uri="{FF2B5EF4-FFF2-40B4-BE49-F238E27FC236}">
                  <a16:creationId xmlns:a16="http://schemas.microsoft.com/office/drawing/2014/main" id="{B6365863-8199-42A7-8252-70A92A9849DA}"/>
                </a:ext>
              </a:extLst>
            </p:cNvPr>
            <p:cNvGrpSpPr/>
            <p:nvPr/>
          </p:nvGrpSpPr>
          <p:grpSpPr>
            <a:xfrm>
              <a:off x="7304009" y="1833703"/>
              <a:ext cx="1799251" cy="4300397"/>
              <a:chOff x="4888368" y="1833703"/>
              <a:chExt cx="1799251" cy="4300397"/>
            </a:xfrm>
          </p:grpSpPr>
          <p:sp>
            <p:nvSpPr>
              <p:cNvPr id="92" name="îšḻíḍê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4888368" y="1833703"/>
                <a:ext cx="1799251" cy="1191656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765"/>
                <a:endParaRPr lang="zh-CN" altLang="en-US" dirty="0"/>
              </a:p>
            </p:txBody>
          </p:sp>
          <p:sp>
            <p:nvSpPr>
              <p:cNvPr id="93" name="iSľiḓé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4888368" y="3464868"/>
                <a:ext cx="1799251" cy="26692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94" name="iṩḻiďè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4888368" y="3027432"/>
                <a:ext cx="1799251" cy="433289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>
                  <a:lnSpc>
                    <a:spcPct val="120000"/>
                  </a:lnSpc>
                </a:pPr>
                <a:r>
                  <a:rPr lang="en-US" altLang="zh-CN" sz="1600" b="1" dirty="0">
                    <a:solidFill>
                      <a:schemeClr val="tx1"/>
                    </a:solidFill>
                  </a:rPr>
                  <a:t>Text here</a:t>
                </a:r>
                <a:endParaRPr lang="zh-CN" altLang="en-US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ísľïḑé">
                <a:extLst>
                  <a:ext uri="{FF2B5EF4-FFF2-40B4-BE49-F238E27FC236}">
                    <a16:creationId xmlns:a16="http://schemas.microsoft.com/office/drawing/2014/main" id="{71490B27-2827-4D42-BF11-8B89BC78D660}"/>
                  </a:ext>
                </a:extLst>
              </p:cNvPr>
              <p:cNvSpPr/>
              <p:nvPr/>
            </p:nvSpPr>
            <p:spPr>
              <a:xfrm>
                <a:off x="5541492" y="2160756"/>
                <a:ext cx="493001" cy="537550"/>
              </a:xfrm>
              <a:custGeom>
                <a:avLst/>
                <a:gdLst>
                  <a:gd name="T0" fmla="*/ 156 w 208"/>
                  <a:gd name="T1" fmla="*/ 0 h 224"/>
                  <a:gd name="T2" fmla="*/ 156 w 208"/>
                  <a:gd name="T3" fmla="*/ 8 h 224"/>
                  <a:gd name="T4" fmla="*/ 144 w 208"/>
                  <a:gd name="T5" fmla="*/ 8 h 224"/>
                  <a:gd name="T6" fmla="*/ 144 w 208"/>
                  <a:gd name="T7" fmla="*/ 59 h 224"/>
                  <a:gd name="T8" fmla="*/ 208 w 208"/>
                  <a:gd name="T9" fmla="*/ 204 h 224"/>
                  <a:gd name="T10" fmla="*/ 201 w 208"/>
                  <a:gd name="T11" fmla="*/ 224 h 224"/>
                  <a:gd name="T12" fmla="*/ 7 w 208"/>
                  <a:gd name="T13" fmla="*/ 224 h 224"/>
                  <a:gd name="T14" fmla="*/ 0 w 208"/>
                  <a:gd name="T15" fmla="*/ 204 h 224"/>
                  <a:gd name="T16" fmla="*/ 64 w 208"/>
                  <a:gd name="T17" fmla="*/ 59 h 224"/>
                  <a:gd name="T18" fmla="*/ 64 w 208"/>
                  <a:gd name="T19" fmla="*/ 8 h 224"/>
                  <a:gd name="T20" fmla="*/ 52 w 208"/>
                  <a:gd name="T21" fmla="*/ 8 h 224"/>
                  <a:gd name="T22" fmla="*/ 52 w 208"/>
                  <a:gd name="T23" fmla="*/ 0 h 224"/>
                  <a:gd name="T24" fmla="*/ 156 w 208"/>
                  <a:gd name="T25" fmla="*/ 0 h 224"/>
                  <a:gd name="T26" fmla="*/ 108 w 208"/>
                  <a:gd name="T27" fmla="*/ 174 h 224"/>
                  <a:gd name="T28" fmla="*/ 106 w 208"/>
                  <a:gd name="T29" fmla="*/ 175 h 224"/>
                  <a:gd name="T30" fmla="*/ 22 w 208"/>
                  <a:gd name="T31" fmla="*/ 174 h 224"/>
                  <a:gd name="T32" fmla="*/ 8 w 208"/>
                  <a:gd name="T33" fmla="*/ 204 h 224"/>
                  <a:gd name="T34" fmla="*/ 13 w 208"/>
                  <a:gd name="T35" fmla="*/ 216 h 224"/>
                  <a:gd name="T36" fmla="*/ 195 w 208"/>
                  <a:gd name="T37" fmla="*/ 216 h 224"/>
                  <a:gd name="T38" fmla="*/ 200 w 208"/>
                  <a:gd name="T39" fmla="*/ 204 h 224"/>
                  <a:gd name="T40" fmla="*/ 185 w 208"/>
                  <a:gd name="T41" fmla="*/ 171 h 224"/>
                  <a:gd name="T42" fmla="*/ 108 w 208"/>
                  <a:gd name="T43" fmla="*/ 174 h 224"/>
                  <a:gd name="T44" fmla="*/ 136 w 208"/>
                  <a:gd name="T45" fmla="*/ 8 h 224"/>
                  <a:gd name="T46" fmla="*/ 72 w 208"/>
                  <a:gd name="T47" fmla="*/ 8 h 224"/>
                  <a:gd name="T48" fmla="*/ 72 w 208"/>
                  <a:gd name="T49" fmla="*/ 61 h 224"/>
                  <a:gd name="T50" fmla="*/ 25 w 208"/>
                  <a:gd name="T51" fmla="*/ 166 h 224"/>
                  <a:gd name="T52" fmla="*/ 101 w 208"/>
                  <a:gd name="T53" fmla="*/ 170 h 224"/>
                  <a:gd name="T54" fmla="*/ 102 w 208"/>
                  <a:gd name="T55" fmla="*/ 169 h 224"/>
                  <a:gd name="T56" fmla="*/ 180 w 208"/>
                  <a:gd name="T57" fmla="*/ 160 h 224"/>
                  <a:gd name="T58" fmla="*/ 136 w 208"/>
                  <a:gd name="T59" fmla="*/ 61 h 224"/>
                  <a:gd name="T60" fmla="*/ 136 w 208"/>
                  <a:gd name="T61" fmla="*/ 8 h 224"/>
                  <a:gd name="T62" fmla="*/ 130 w 208"/>
                  <a:gd name="T63" fmla="*/ 104 h 224"/>
                  <a:gd name="T64" fmla="*/ 148 w 208"/>
                  <a:gd name="T65" fmla="*/ 122 h 224"/>
                  <a:gd name="T66" fmla="*/ 130 w 208"/>
                  <a:gd name="T67" fmla="*/ 140 h 224"/>
                  <a:gd name="T68" fmla="*/ 112 w 208"/>
                  <a:gd name="T69" fmla="*/ 122 h 224"/>
                  <a:gd name="T70" fmla="*/ 130 w 208"/>
                  <a:gd name="T71" fmla="*/ 104 h 224"/>
                  <a:gd name="T72" fmla="*/ 130 w 208"/>
                  <a:gd name="T73" fmla="*/ 112 h 224"/>
                  <a:gd name="T74" fmla="*/ 120 w 208"/>
                  <a:gd name="T75" fmla="*/ 122 h 224"/>
                  <a:gd name="T76" fmla="*/ 130 w 208"/>
                  <a:gd name="T77" fmla="*/ 132 h 224"/>
                  <a:gd name="T78" fmla="*/ 140 w 208"/>
                  <a:gd name="T79" fmla="*/ 122 h 224"/>
                  <a:gd name="T80" fmla="*/ 130 w 208"/>
                  <a:gd name="T81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8" h="224">
                    <a:moveTo>
                      <a:pt x="156" y="0"/>
                    </a:moveTo>
                    <a:cubicBezTo>
                      <a:pt x="156" y="8"/>
                      <a:pt x="156" y="8"/>
                      <a:pt x="156" y="8"/>
                    </a:cubicBezTo>
                    <a:cubicBezTo>
                      <a:pt x="144" y="8"/>
                      <a:pt x="144" y="8"/>
                      <a:pt x="144" y="8"/>
                    </a:cubicBezTo>
                    <a:cubicBezTo>
                      <a:pt x="144" y="59"/>
                      <a:pt x="144" y="59"/>
                      <a:pt x="144" y="59"/>
                    </a:cubicBezTo>
                    <a:cubicBezTo>
                      <a:pt x="208" y="204"/>
                      <a:pt x="208" y="204"/>
                      <a:pt x="208" y="204"/>
                    </a:cubicBezTo>
                    <a:cubicBezTo>
                      <a:pt x="201" y="224"/>
                      <a:pt x="201" y="224"/>
                      <a:pt x="201" y="224"/>
                    </a:cubicBezTo>
                    <a:cubicBezTo>
                      <a:pt x="7" y="224"/>
                      <a:pt x="7" y="224"/>
                      <a:pt x="7" y="224"/>
                    </a:cubicBezTo>
                    <a:cubicBezTo>
                      <a:pt x="0" y="204"/>
                      <a:pt x="0" y="204"/>
                      <a:pt x="0" y="204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2" y="0"/>
                      <a:pt x="52" y="0"/>
                      <a:pt x="52" y="0"/>
                    </a:cubicBezTo>
                    <a:lnTo>
                      <a:pt x="156" y="0"/>
                    </a:lnTo>
                    <a:close/>
                    <a:moveTo>
                      <a:pt x="108" y="174"/>
                    </a:moveTo>
                    <a:cubicBezTo>
                      <a:pt x="106" y="175"/>
                      <a:pt x="106" y="175"/>
                      <a:pt x="106" y="175"/>
                    </a:cubicBezTo>
                    <a:cubicBezTo>
                      <a:pt x="83" y="192"/>
                      <a:pt x="50" y="191"/>
                      <a:pt x="22" y="174"/>
                    </a:cubicBezTo>
                    <a:cubicBezTo>
                      <a:pt x="8" y="204"/>
                      <a:pt x="8" y="204"/>
                      <a:pt x="8" y="204"/>
                    </a:cubicBezTo>
                    <a:cubicBezTo>
                      <a:pt x="13" y="216"/>
                      <a:pt x="13" y="216"/>
                      <a:pt x="13" y="216"/>
                    </a:cubicBezTo>
                    <a:cubicBezTo>
                      <a:pt x="195" y="216"/>
                      <a:pt x="195" y="216"/>
                      <a:pt x="195" y="216"/>
                    </a:cubicBezTo>
                    <a:cubicBezTo>
                      <a:pt x="200" y="204"/>
                      <a:pt x="200" y="204"/>
                      <a:pt x="200" y="204"/>
                    </a:cubicBezTo>
                    <a:cubicBezTo>
                      <a:pt x="185" y="171"/>
                      <a:pt x="185" y="171"/>
                      <a:pt x="185" y="171"/>
                    </a:cubicBezTo>
                    <a:cubicBezTo>
                      <a:pt x="159" y="159"/>
                      <a:pt x="128" y="160"/>
                      <a:pt x="108" y="174"/>
                    </a:cubicBezTo>
                    <a:close/>
                    <a:moveTo>
                      <a:pt x="136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61"/>
                      <a:pt x="72" y="61"/>
                      <a:pt x="72" y="61"/>
                    </a:cubicBezTo>
                    <a:cubicBezTo>
                      <a:pt x="25" y="166"/>
                      <a:pt x="25" y="166"/>
                      <a:pt x="25" y="166"/>
                    </a:cubicBezTo>
                    <a:cubicBezTo>
                      <a:pt x="50" y="182"/>
                      <a:pt x="80" y="183"/>
                      <a:pt x="101" y="170"/>
                    </a:cubicBezTo>
                    <a:cubicBezTo>
                      <a:pt x="102" y="169"/>
                      <a:pt x="102" y="169"/>
                      <a:pt x="102" y="169"/>
                    </a:cubicBezTo>
                    <a:cubicBezTo>
                      <a:pt x="123" y="154"/>
                      <a:pt x="153" y="151"/>
                      <a:pt x="180" y="160"/>
                    </a:cubicBezTo>
                    <a:cubicBezTo>
                      <a:pt x="136" y="61"/>
                      <a:pt x="136" y="61"/>
                      <a:pt x="136" y="61"/>
                    </a:cubicBezTo>
                    <a:lnTo>
                      <a:pt x="136" y="8"/>
                    </a:lnTo>
                    <a:close/>
                    <a:moveTo>
                      <a:pt x="130" y="104"/>
                    </a:moveTo>
                    <a:cubicBezTo>
                      <a:pt x="140" y="104"/>
                      <a:pt x="148" y="112"/>
                      <a:pt x="148" y="122"/>
                    </a:cubicBezTo>
                    <a:cubicBezTo>
                      <a:pt x="148" y="132"/>
                      <a:pt x="140" y="140"/>
                      <a:pt x="130" y="140"/>
                    </a:cubicBezTo>
                    <a:cubicBezTo>
                      <a:pt x="120" y="140"/>
                      <a:pt x="112" y="132"/>
                      <a:pt x="112" y="122"/>
                    </a:cubicBezTo>
                    <a:cubicBezTo>
                      <a:pt x="112" y="112"/>
                      <a:pt x="120" y="104"/>
                      <a:pt x="130" y="104"/>
                    </a:cubicBezTo>
                    <a:close/>
                    <a:moveTo>
                      <a:pt x="130" y="112"/>
                    </a:moveTo>
                    <a:cubicBezTo>
                      <a:pt x="124" y="112"/>
                      <a:pt x="120" y="116"/>
                      <a:pt x="120" y="122"/>
                    </a:cubicBezTo>
                    <a:cubicBezTo>
                      <a:pt x="120" y="128"/>
                      <a:pt x="124" y="132"/>
                      <a:pt x="130" y="132"/>
                    </a:cubicBezTo>
                    <a:cubicBezTo>
                      <a:pt x="136" y="132"/>
                      <a:pt x="140" y="128"/>
                      <a:pt x="140" y="122"/>
                    </a:cubicBezTo>
                    <a:cubicBezTo>
                      <a:pt x="140" y="116"/>
                      <a:pt x="136" y="112"/>
                      <a:pt x="130" y="112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7" name="íṥļidè">
              <a:extLst>
                <a:ext uri="{FF2B5EF4-FFF2-40B4-BE49-F238E27FC236}">
                  <a16:creationId xmlns:a16="http://schemas.microsoft.com/office/drawing/2014/main" id="{799C383A-90A9-4663-9604-D3DBB5F9EC97}"/>
                </a:ext>
              </a:extLst>
            </p:cNvPr>
            <p:cNvGrpSpPr/>
            <p:nvPr/>
          </p:nvGrpSpPr>
          <p:grpSpPr>
            <a:xfrm>
              <a:off x="9719649" y="1833703"/>
              <a:ext cx="1799251" cy="4300397"/>
              <a:chOff x="4888368" y="1833703"/>
              <a:chExt cx="1799251" cy="4300397"/>
            </a:xfrm>
          </p:grpSpPr>
          <p:sp>
            <p:nvSpPr>
              <p:cNvPr id="88" name="ïsļíḍè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4888368" y="1833703"/>
                <a:ext cx="1799251" cy="1191656"/>
              </a:xfrm>
              <a:prstGeom prst="rect">
                <a:avLst/>
              </a:prstGeom>
              <a:solidFill>
                <a:schemeClr val="accent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3765"/>
                <a:endParaRPr lang="zh-CN" altLang="en-US" dirty="0"/>
              </a:p>
            </p:txBody>
          </p:sp>
          <p:sp>
            <p:nvSpPr>
              <p:cNvPr id="89" name="ïṡļîďè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4888368" y="3464868"/>
                <a:ext cx="1799251" cy="26692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90" name="i$ļïḓe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4888368" y="3027432"/>
                <a:ext cx="1799251" cy="433289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>
                  <a:lnSpc>
                    <a:spcPct val="120000"/>
                  </a:lnSpc>
                </a:pPr>
                <a:r>
                  <a:rPr lang="en-US" altLang="zh-CN" sz="1600" b="1" dirty="0">
                    <a:solidFill>
                      <a:schemeClr val="tx1"/>
                    </a:solidFill>
                  </a:rPr>
                  <a:t>Text here</a:t>
                </a:r>
                <a:endParaRPr lang="zh-CN" altLang="en-US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íṡḻïḋé">
                <a:extLst>
                  <a:ext uri="{FF2B5EF4-FFF2-40B4-BE49-F238E27FC236}">
                    <a16:creationId xmlns:a16="http://schemas.microsoft.com/office/drawing/2014/main" id="{3F86A1A0-BB2A-47FF-BEA9-8B6356E05C7B}"/>
                  </a:ext>
                </a:extLst>
              </p:cNvPr>
              <p:cNvSpPr/>
              <p:nvPr/>
            </p:nvSpPr>
            <p:spPr>
              <a:xfrm>
                <a:off x="5519218" y="2205175"/>
                <a:ext cx="537550" cy="448710"/>
              </a:xfrm>
              <a:custGeom>
                <a:avLst/>
                <a:gdLst>
                  <a:gd name="T0" fmla="*/ 224 w 224"/>
                  <a:gd name="T1" fmla="*/ 0 h 184"/>
                  <a:gd name="T2" fmla="*/ 224 w 224"/>
                  <a:gd name="T3" fmla="*/ 156 h 184"/>
                  <a:gd name="T4" fmla="*/ 86 w 224"/>
                  <a:gd name="T5" fmla="*/ 156 h 184"/>
                  <a:gd name="T6" fmla="*/ 48 w 224"/>
                  <a:gd name="T7" fmla="*/ 184 h 184"/>
                  <a:gd name="T8" fmla="*/ 48 w 224"/>
                  <a:gd name="T9" fmla="*/ 156 h 184"/>
                  <a:gd name="T10" fmla="*/ 0 w 224"/>
                  <a:gd name="T11" fmla="*/ 156 h 184"/>
                  <a:gd name="T12" fmla="*/ 0 w 224"/>
                  <a:gd name="T13" fmla="*/ 0 h 184"/>
                  <a:gd name="T14" fmla="*/ 224 w 224"/>
                  <a:gd name="T15" fmla="*/ 0 h 184"/>
                  <a:gd name="T16" fmla="*/ 216 w 224"/>
                  <a:gd name="T17" fmla="*/ 8 h 184"/>
                  <a:gd name="T18" fmla="*/ 8 w 224"/>
                  <a:gd name="T19" fmla="*/ 8 h 184"/>
                  <a:gd name="T20" fmla="*/ 8 w 224"/>
                  <a:gd name="T21" fmla="*/ 148 h 184"/>
                  <a:gd name="T22" fmla="*/ 56 w 224"/>
                  <a:gd name="T23" fmla="*/ 148 h 184"/>
                  <a:gd name="T24" fmla="*/ 56 w 224"/>
                  <a:gd name="T25" fmla="*/ 168 h 184"/>
                  <a:gd name="T26" fmla="*/ 83 w 224"/>
                  <a:gd name="T27" fmla="*/ 148 h 184"/>
                  <a:gd name="T28" fmla="*/ 216 w 224"/>
                  <a:gd name="T29" fmla="*/ 148 h 184"/>
                  <a:gd name="T30" fmla="*/ 216 w 224"/>
                  <a:gd name="T31" fmla="*/ 8 h 184"/>
                  <a:gd name="T32" fmla="*/ 56 w 224"/>
                  <a:gd name="T33" fmla="*/ 60 h 184"/>
                  <a:gd name="T34" fmla="*/ 74 w 224"/>
                  <a:gd name="T35" fmla="*/ 78 h 184"/>
                  <a:gd name="T36" fmla="*/ 56 w 224"/>
                  <a:gd name="T37" fmla="*/ 96 h 184"/>
                  <a:gd name="T38" fmla="*/ 38 w 224"/>
                  <a:gd name="T39" fmla="*/ 78 h 184"/>
                  <a:gd name="T40" fmla="*/ 56 w 224"/>
                  <a:gd name="T41" fmla="*/ 60 h 184"/>
                  <a:gd name="T42" fmla="*/ 112 w 224"/>
                  <a:gd name="T43" fmla="*/ 60 h 184"/>
                  <a:gd name="T44" fmla="*/ 130 w 224"/>
                  <a:gd name="T45" fmla="*/ 78 h 184"/>
                  <a:gd name="T46" fmla="*/ 112 w 224"/>
                  <a:gd name="T47" fmla="*/ 96 h 184"/>
                  <a:gd name="T48" fmla="*/ 94 w 224"/>
                  <a:gd name="T49" fmla="*/ 78 h 184"/>
                  <a:gd name="T50" fmla="*/ 112 w 224"/>
                  <a:gd name="T51" fmla="*/ 60 h 184"/>
                  <a:gd name="T52" fmla="*/ 168 w 224"/>
                  <a:gd name="T53" fmla="*/ 60 h 184"/>
                  <a:gd name="T54" fmla="*/ 186 w 224"/>
                  <a:gd name="T55" fmla="*/ 78 h 184"/>
                  <a:gd name="T56" fmla="*/ 168 w 224"/>
                  <a:gd name="T57" fmla="*/ 96 h 184"/>
                  <a:gd name="T58" fmla="*/ 150 w 224"/>
                  <a:gd name="T59" fmla="*/ 78 h 184"/>
                  <a:gd name="T60" fmla="*/ 168 w 224"/>
                  <a:gd name="T61" fmla="*/ 60 h 184"/>
                  <a:gd name="T62" fmla="*/ 56 w 224"/>
                  <a:gd name="T63" fmla="*/ 68 h 184"/>
                  <a:gd name="T64" fmla="*/ 46 w 224"/>
                  <a:gd name="T65" fmla="*/ 78 h 184"/>
                  <a:gd name="T66" fmla="*/ 56 w 224"/>
                  <a:gd name="T67" fmla="*/ 88 h 184"/>
                  <a:gd name="T68" fmla="*/ 66 w 224"/>
                  <a:gd name="T69" fmla="*/ 78 h 184"/>
                  <a:gd name="T70" fmla="*/ 56 w 224"/>
                  <a:gd name="T71" fmla="*/ 68 h 184"/>
                  <a:gd name="T72" fmla="*/ 112 w 224"/>
                  <a:gd name="T73" fmla="*/ 68 h 184"/>
                  <a:gd name="T74" fmla="*/ 102 w 224"/>
                  <a:gd name="T75" fmla="*/ 78 h 184"/>
                  <a:gd name="T76" fmla="*/ 112 w 224"/>
                  <a:gd name="T77" fmla="*/ 88 h 184"/>
                  <a:gd name="T78" fmla="*/ 122 w 224"/>
                  <a:gd name="T79" fmla="*/ 78 h 184"/>
                  <a:gd name="T80" fmla="*/ 112 w 224"/>
                  <a:gd name="T81" fmla="*/ 68 h 184"/>
                  <a:gd name="T82" fmla="*/ 168 w 224"/>
                  <a:gd name="T83" fmla="*/ 68 h 184"/>
                  <a:gd name="T84" fmla="*/ 158 w 224"/>
                  <a:gd name="T85" fmla="*/ 78 h 184"/>
                  <a:gd name="T86" fmla="*/ 168 w 224"/>
                  <a:gd name="T87" fmla="*/ 88 h 184"/>
                  <a:gd name="T88" fmla="*/ 178 w 224"/>
                  <a:gd name="T89" fmla="*/ 78 h 184"/>
                  <a:gd name="T90" fmla="*/ 168 w 224"/>
                  <a:gd name="T91" fmla="*/ 6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4" h="184">
                    <a:moveTo>
                      <a:pt x="224" y="0"/>
                    </a:moveTo>
                    <a:cubicBezTo>
                      <a:pt x="224" y="156"/>
                      <a:pt x="224" y="156"/>
                      <a:pt x="224" y="156"/>
                    </a:cubicBezTo>
                    <a:cubicBezTo>
                      <a:pt x="86" y="156"/>
                      <a:pt x="86" y="156"/>
                      <a:pt x="86" y="156"/>
                    </a:cubicBezTo>
                    <a:cubicBezTo>
                      <a:pt x="48" y="184"/>
                      <a:pt x="48" y="184"/>
                      <a:pt x="48" y="184"/>
                    </a:cubicBezTo>
                    <a:cubicBezTo>
                      <a:pt x="48" y="156"/>
                      <a:pt x="48" y="156"/>
                      <a:pt x="48" y="156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24" y="0"/>
                    </a:lnTo>
                    <a:close/>
                    <a:moveTo>
                      <a:pt x="216" y="8"/>
                    </a:moveTo>
                    <a:cubicBezTo>
                      <a:pt x="8" y="8"/>
                      <a:pt x="8" y="8"/>
                      <a:pt x="8" y="8"/>
                    </a:cubicBezTo>
                    <a:cubicBezTo>
                      <a:pt x="8" y="148"/>
                      <a:pt x="8" y="148"/>
                      <a:pt x="8" y="148"/>
                    </a:cubicBezTo>
                    <a:cubicBezTo>
                      <a:pt x="56" y="148"/>
                      <a:pt x="56" y="148"/>
                      <a:pt x="56" y="148"/>
                    </a:cubicBezTo>
                    <a:cubicBezTo>
                      <a:pt x="56" y="168"/>
                      <a:pt x="56" y="168"/>
                      <a:pt x="56" y="168"/>
                    </a:cubicBezTo>
                    <a:cubicBezTo>
                      <a:pt x="83" y="148"/>
                      <a:pt x="83" y="148"/>
                      <a:pt x="83" y="148"/>
                    </a:cubicBezTo>
                    <a:cubicBezTo>
                      <a:pt x="216" y="148"/>
                      <a:pt x="216" y="148"/>
                      <a:pt x="216" y="148"/>
                    </a:cubicBezTo>
                    <a:lnTo>
                      <a:pt x="216" y="8"/>
                    </a:lnTo>
                    <a:close/>
                    <a:moveTo>
                      <a:pt x="56" y="60"/>
                    </a:moveTo>
                    <a:cubicBezTo>
                      <a:pt x="66" y="60"/>
                      <a:pt x="74" y="68"/>
                      <a:pt x="74" y="78"/>
                    </a:cubicBezTo>
                    <a:cubicBezTo>
                      <a:pt x="74" y="88"/>
                      <a:pt x="66" y="96"/>
                      <a:pt x="56" y="96"/>
                    </a:cubicBezTo>
                    <a:cubicBezTo>
                      <a:pt x="46" y="96"/>
                      <a:pt x="38" y="88"/>
                      <a:pt x="38" y="78"/>
                    </a:cubicBezTo>
                    <a:cubicBezTo>
                      <a:pt x="38" y="68"/>
                      <a:pt x="46" y="60"/>
                      <a:pt x="56" y="60"/>
                    </a:cubicBezTo>
                    <a:close/>
                    <a:moveTo>
                      <a:pt x="112" y="60"/>
                    </a:moveTo>
                    <a:cubicBezTo>
                      <a:pt x="122" y="60"/>
                      <a:pt x="130" y="68"/>
                      <a:pt x="130" y="78"/>
                    </a:cubicBezTo>
                    <a:cubicBezTo>
                      <a:pt x="130" y="88"/>
                      <a:pt x="122" y="96"/>
                      <a:pt x="112" y="96"/>
                    </a:cubicBezTo>
                    <a:cubicBezTo>
                      <a:pt x="102" y="96"/>
                      <a:pt x="94" y="88"/>
                      <a:pt x="94" y="78"/>
                    </a:cubicBezTo>
                    <a:cubicBezTo>
                      <a:pt x="94" y="68"/>
                      <a:pt x="102" y="60"/>
                      <a:pt x="112" y="60"/>
                    </a:cubicBezTo>
                    <a:close/>
                    <a:moveTo>
                      <a:pt x="168" y="60"/>
                    </a:moveTo>
                    <a:cubicBezTo>
                      <a:pt x="178" y="60"/>
                      <a:pt x="186" y="68"/>
                      <a:pt x="186" y="78"/>
                    </a:cubicBezTo>
                    <a:cubicBezTo>
                      <a:pt x="186" y="88"/>
                      <a:pt x="178" y="96"/>
                      <a:pt x="168" y="96"/>
                    </a:cubicBezTo>
                    <a:cubicBezTo>
                      <a:pt x="158" y="96"/>
                      <a:pt x="150" y="88"/>
                      <a:pt x="150" y="78"/>
                    </a:cubicBezTo>
                    <a:cubicBezTo>
                      <a:pt x="150" y="68"/>
                      <a:pt x="158" y="60"/>
                      <a:pt x="168" y="60"/>
                    </a:cubicBezTo>
                    <a:close/>
                    <a:moveTo>
                      <a:pt x="56" y="68"/>
                    </a:moveTo>
                    <a:cubicBezTo>
                      <a:pt x="50" y="68"/>
                      <a:pt x="46" y="72"/>
                      <a:pt x="46" y="78"/>
                    </a:cubicBezTo>
                    <a:cubicBezTo>
                      <a:pt x="46" y="84"/>
                      <a:pt x="50" y="88"/>
                      <a:pt x="56" y="88"/>
                    </a:cubicBezTo>
                    <a:cubicBezTo>
                      <a:pt x="62" y="88"/>
                      <a:pt x="66" y="84"/>
                      <a:pt x="66" y="78"/>
                    </a:cubicBezTo>
                    <a:cubicBezTo>
                      <a:pt x="66" y="72"/>
                      <a:pt x="62" y="68"/>
                      <a:pt x="56" y="68"/>
                    </a:cubicBezTo>
                    <a:close/>
                    <a:moveTo>
                      <a:pt x="112" y="68"/>
                    </a:moveTo>
                    <a:cubicBezTo>
                      <a:pt x="106" y="68"/>
                      <a:pt x="102" y="72"/>
                      <a:pt x="102" y="78"/>
                    </a:cubicBezTo>
                    <a:cubicBezTo>
                      <a:pt x="102" y="84"/>
                      <a:pt x="106" y="88"/>
                      <a:pt x="112" y="88"/>
                    </a:cubicBezTo>
                    <a:cubicBezTo>
                      <a:pt x="118" y="88"/>
                      <a:pt x="122" y="84"/>
                      <a:pt x="122" y="78"/>
                    </a:cubicBezTo>
                    <a:cubicBezTo>
                      <a:pt x="122" y="72"/>
                      <a:pt x="118" y="68"/>
                      <a:pt x="112" y="68"/>
                    </a:cubicBezTo>
                    <a:close/>
                    <a:moveTo>
                      <a:pt x="168" y="68"/>
                    </a:moveTo>
                    <a:cubicBezTo>
                      <a:pt x="162" y="68"/>
                      <a:pt x="158" y="72"/>
                      <a:pt x="158" y="78"/>
                    </a:cubicBezTo>
                    <a:cubicBezTo>
                      <a:pt x="158" y="84"/>
                      <a:pt x="162" y="88"/>
                      <a:pt x="168" y="88"/>
                    </a:cubicBezTo>
                    <a:cubicBezTo>
                      <a:pt x="174" y="88"/>
                      <a:pt x="178" y="84"/>
                      <a:pt x="178" y="78"/>
                    </a:cubicBezTo>
                    <a:cubicBezTo>
                      <a:pt x="178" y="72"/>
                      <a:pt x="174" y="68"/>
                      <a:pt x="168" y="68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35638943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5BA973-C26C-4A9E-A413-51B190209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D71C100-03DD-47A4-9221-A099DF292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88B2014-A022-4015-98BA-1D3618748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grpSp>
        <p:nvGrpSpPr>
          <p:cNvPr id="133" name="21563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9766D03-6D0F-41A0-BB82-78A160017F46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77098"/>
            <a:ext cx="10845800" cy="4969702"/>
            <a:chOff x="673100" y="1177098"/>
            <a:chExt cx="10845800" cy="4969702"/>
          </a:xfrm>
        </p:grpSpPr>
        <p:cxnSp>
          <p:nvCxnSpPr>
            <p:cNvPr id="134" name="直接连接符 133">
              <a:extLst>
                <a:ext uri="{FF2B5EF4-FFF2-40B4-BE49-F238E27FC236}">
                  <a16:creationId xmlns:a16="http://schemas.microsoft.com/office/drawing/2014/main" id="{0721C8DC-55EB-41C6-ABBE-33C61A98B332}"/>
                </a:ext>
              </a:extLst>
            </p:cNvPr>
            <p:cNvCxnSpPr/>
            <p:nvPr/>
          </p:nvCxnSpPr>
          <p:spPr>
            <a:xfrm flipH="1">
              <a:off x="673100" y="3596558"/>
              <a:ext cx="10845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5" name="ïşḷíḓé">
              <a:extLst>
                <a:ext uri="{FF2B5EF4-FFF2-40B4-BE49-F238E27FC236}">
                  <a16:creationId xmlns:a16="http://schemas.microsoft.com/office/drawing/2014/main" id="{8B201624-4F2B-45E5-9D62-C53E518E36AF}"/>
                </a:ext>
              </a:extLst>
            </p:cNvPr>
            <p:cNvGrpSpPr/>
            <p:nvPr/>
          </p:nvGrpSpPr>
          <p:grpSpPr>
            <a:xfrm>
              <a:off x="9393348" y="2976912"/>
              <a:ext cx="2125552" cy="3169888"/>
              <a:chOff x="9393348" y="2976912"/>
              <a:chExt cx="2125552" cy="3169888"/>
            </a:xfrm>
          </p:grpSpPr>
          <p:cxnSp>
            <p:nvCxnSpPr>
              <p:cNvPr id="157" name="直接连接符 156">
                <a:extLst>
                  <a:ext uri="{FF2B5EF4-FFF2-40B4-BE49-F238E27FC236}">
                    <a16:creationId xmlns:a16="http://schemas.microsoft.com/office/drawing/2014/main" id="{CCAEA3F6-7F21-47FD-BD33-D347AFF42F6E}"/>
                  </a:ext>
                </a:extLst>
              </p:cNvPr>
              <p:cNvCxnSpPr/>
              <p:nvPr/>
            </p:nvCxnSpPr>
            <p:spPr>
              <a:xfrm>
                <a:off x="10456125" y="4441243"/>
                <a:ext cx="0" cy="458638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  <a:prstDash val="solid"/>
                <a:headEnd type="oval" w="sm" len="sm"/>
                <a:tailEnd type="oval" w="sm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58" name="îŝḻidê">
                <a:extLst>
                  <a:ext uri="{FF2B5EF4-FFF2-40B4-BE49-F238E27FC236}">
                    <a16:creationId xmlns:a16="http://schemas.microsoft.com/office/drawing/2014/main" id="{9412015F-E608-4798-A234-4632246C4428}"/>
                  </a:ext>
                </a:extLst>
              </p:cNvPr>
              <p:cNvGrpSpPr/>
              <p:nvPr/>
            </p:nvGrpSpPr>
            <p:grpSpPr>
              <a:xfrm>
                <a:off x="9829447" y="2976912"/>
                <a:ext cx="1253355" cy="1253354"/>
                <a:chOff x="9829447" y="3096672"/>
                <a:chExt cx="1253355" cy="1253354"/>
              </a:xfrm>
            </p:grpSpPr>
            <p:sp>
              <p:nvSpPr>
                <p:cNvPr id="162" name="ísľiḍe">
                  <a:extLst>
                    <a:ext uri="{FF2B5EF4-FFF2-40B4-BE49-F238E27FC236}">
                      <a16:creationId xmlns:a16="http://schemas.microsoft.com/office/drawing/2014/main" id="{445B6FE8-45E4-422A-9F46-5B707A103B4D}"/>
                    </a:ext>
                  </a:extLst>
                </p:cNvPr>
                <p:cNvSpPr/>
                <p:nvPr/>
              </p:nvSpPr>
              <p:spPr>
                <a:xfrm>
                  <a:off x="9946717" y="3213942"/>
                  <a:ext cx="1018814" cy="1018814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p:spPr>
              <p:txBody>
                <a:bodyPr lIns="91426" tIns="45700" rIns="91426" bIns="4570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sz="360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63" name="iSlîďé">
                  <a:extLst>
                    <a:ext uri="{FF2B5EF4-FFF2-40B4-BE49-F238E27FC236}">
                      <a16:creationId xmlns:a16="http://schemas.microsoft.com/office/drawing/2014/main" id="{80360C25-73F4-4B04-91F3-95BBADD26A68}"/>
                    </a:ext>
                  </a:extLst>
                </p:cNvPr>
                <p:cNvSpPr/>
                <p:nvPr/>
              </p:nvSpPr>
              <p:spPr>
                <a:xfrm>
                  <a:off x="9829447" y="3096672"/>
                  <a:ext cx="1253355" cy="1253354"/>
                </a:xfrm>
                <a:prstGeom prst="ellipse">
                  <a:avLst/>
                </a:prstGeom>
                <a:noFill/>
                <a:ln w="22225">
                  <a:solidFill>
                    <a:schemeClr val="bg1">
                      <a:lumMod val="75000"/>
                      <a:alpha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7196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64" name="iśļíḓe">
                  <a:extLst>
                    <a:ext uri="{FF2B5EF4-FFF2-40B4-BE49-F238E27FC236}">
                      <a16:creationId xmlns:a16="http://schemas.microsoft.com/office/drawing/2014/main" id="{652B2EF5-4AA1-478E-B2E4-00DAC4DC94F1}"/>
                    </a:ext>
                  </a:extLst>
                </p:cNvPr>
                <p:cNvSpPr/>
                <p:nvPr/>
              </p:nvSpPr>
              <p:spPr bwMode="auto">
                <a:xfrm>
                  <a:off x="10268259" y="3518510"/>
                  <a:ext cx="375727" cy="409678"/>
                </a:xfrm>
                <a:custGeom>
                  <a:avLst/>
                  <a:gdLst>
                    <a:gd name="T0" fmla="*/ 156 w 208"/>
                    <a:gd name="T1" fmla="*/ 0 h 224"/>
                    <a:gd name="T2" fmla="*/ 156 w 208"/>
                    <a:gd name="T3" fmla="*/ 8 h 224"/>
                    <a:gd name="T4" fmla="*/ 144 w 208"/>
                    <a:gd name="T5" fmla="*/ 8 h 224"/>
                    <a:gd name="T6" fmla="*/ 144 w 208"/>
                    <a:gd name="T7" fmla="*/ 59 h 224"/>
                    <a:gd name="T8" fmla="*/ 208 w 208"/>
                    <a:gd name="T9" fmla="*/ 204 h 224"/>
                    <a:gd name="T10" fmla="*/ 201 w 208"/>
                    <a:gd name="T11" fmla="*/ 224 h 224"/>
                    <a:gd name="T12" fmla="*/ 7 w 208"/>
                    <a:gd name="T13" fmla="*/ 224 h 224"/>
                    <a:gd name="T14" fmla="*/ 0 w 208"/>
                    <a:gd name="T15" fmla="*/ 204 h 224"/>
                    <a:gd name="T16" fmla="*/ 64 w 208"/>
                    <a:gd name="T17" fmla="*/ 59 h 224"/>
                    <a:gd name="T18" fmla="*/ 64 w 208"/>
                    <a:gd name="T19" fmla="*/ 8 h 224"/>
                    <a:gd name="T20" fmla="*/ 52 w 208"/>
                    <a:gd name="T21" fmla="*/ 8 h 224"/>
                    <a:gd name="T22" fmla="*/ 52 w 208"/>
                    <a:gd name="T23" fmla="*/ 0 h 224"/>
                    <a:gd name="T24" fmla="*/ 156 w 208"/>
                    <a:gd name="T25" fmla="*/ 0 h 224"/>
                    <a:gd name="T26" fmla="*/ 108 w 208"/>
                    <a:gd name="T27" fmla="*/ 174 h 224"/>
                    <a:gd name="T28" fmla="*/ 106 w 208"/>
                    <a:gd name="T29" fmla="*/ 175 h 224"/>
                    <a:gd name="T30" fmla="*/ 22 w 208"/>
                    <a:gd name="T31" fmla="*/ 174 h 224"/>
                    <a:gd name="T32" fmla="*/ 8 w 208"/>
                    <a:gd name="T33" fmla="*/ 204 h 224"/>
                    <a:gd name="T34" fmla="*/ 13 w 208"/>
                    <a:gd name="T35" fmla="*/ 216 h 224"/>
                    <a:gd name="T36" fmla="*/ 195 w 208"/>
                    <a:gd name="T37" fmla="*/ 216 h 224"/>
                    <a:gd name="T38" fmla="*/ 200 w 208"/>
                    <a:gd name="T39" fmla="*/ 204 h 224"/>
                    <a:gd name="T40" fmla="*/ 185 w 208"/>
                    <a:gd name="T41" fmla="*/ 171 h 224"/>
                    <a:gd name="T42" fmla="*/ 108 w 208"/>
                    <a:gd name="T43" fmla="*/ 174 h 224"/>
                    <a:gd name="T44" fmla="*/ 136 w 208"/>
                    <a:gd name="T45" fmla="*/ 8 h 224"/>
                    <a:gd name="T46" fmla="*/ 72 w 208"/>
                    <a:gd name="T47" fmla="*/ 8 h 224"/>
                    <a:gd name="T48" fmla="*/ 72 w 208"/>
                    <a:gd name="T49" fmla="*/ 61 h 224"/>
                    <a:gd name="T50" fmla="*/ 25 w 208"/>
                    <a:gd name="T51" fmla="*/ 166 h 224"/>
                    <a:gd name="T52" fmla="*/ 101 w 208"/>
                    <a:gd name="T53" fmla="*/ 170 h 224"/>
                    <a:gd name="T54" fmla="*/ 102 w 208"/>
                    <a:gd name="T55" fmla="*/ 169 h 224"/>
                    <a:gd name="T56" fmla="*/ 180 w 208"/>
                    <a:gd name="T57" fmla="*/ 160 h 224"/>
                    <a:gd name="T58" fmla="*/ 136 w 208"/>
                    <a:gd name="T59" fmla="*/ 61 h 224"/>
                    <a:gd name="T60" fmla="*/ 136 w 208"/>
                    <a:gd name="T61" fmla="*/ 8 h 224"/>
                    <a:gd name="T62" fmla="*/ 130 w 208"/>
                    <a:gd name="T63" fmla="*/ 104 h 224"/>
                    <a:gd name="T64" fmla="*/ 148 w 208"/>
                    <a:gd name="T65" fmla="*/ 122 h 224"/>
                    <a:gd name="T66" fmla="*/ 130 w 208"/>
                    <a:gd name="T67" fmla="*/ 140 h 224"/>
                    <a:gd name="T68" fmla="*/ 112 w 208"/>
                    <a:gd name="T69" fmla="*/ 122 h 224"/>
                    <a:gd name="T70" fmla="*/ 130 w 208"/>
                    <a:gd name="T71" fmla="*/ 104 h 224"/>
                    <a:gd name="T72" fmla="*/ 130 w 208"/>
                    <a:gd name="T73" fmla="*/ 112 h 224"/>
                    <a:gd name="T74" fmla="*/ 120 w 208"/>
                    <a:gd name="T75" fmla="*/ 122 h 224"/>
                    <a:gd name="T76" fmla="*/ 130 w 208"/>
                    <a:gd name="T77" fmla="*/ 132 h 224"/>
                    <a:gd name="T78" fmla="*/ 140 w 208"/>
                    <a:gd name="T79" fmla="*/ 122 h 224"/>
                    <a:gd name="T80" fmla="*/ 130 w 208"/>
                    <a:gd name="T81" fmla="*/ 112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08" h="224">
                      <a:moveTo>
                        <a:pt x="156" y="0"/>
                      </a:moveTo>
                      <a:cubicBezTo>
                        <a:pt x="156" y="8"/>
                        <a:pt x="156" y="8"/>
                        <a:pt x="156" y="8"/>
                      </a:cubicBezTo>
                      <a:cubicBezTo>
                        <a:pt x="144" y="8"/>
                        <a:pt x="144" y="8"/>
                        <a:pt x="144" y="8"/>
                      </a:cubicBezTo>
                      <a:cubicBezTo>
                        <a:pt x="144" y="59"/>
                        <a:pt x="144" y="59"/>
                        <a:pt x="144" y="59"/>
                      </a:cubicBezTo>
                      <a:cubicBezTo>
                        <a:pt x="208" y="204"/>
                        <a:pt x="208" y="204"/>
                        <a:pt x="208" y="204"/>
                      </a:cubicBezTo>
                      <a:cubicBezTo>
                        <a:pt x="201" y="224"/>
                        <a:pt x="201" y="224"/>
                        <a:pt x="201" y="224"/>
                      </a:cubicBezTo>
                      <a:cubicBezTo>
                        <a:pt x="7" y="224"/>
                        <a:pt x="7" y="224"/>
                        <a:pt x="7" y="224"/>
                      </a:cubicBezTo>
                      <a:cubicBezTo>
                        <a:pt x="0" y="204"/>
                        <a:pt x="0" y="204"/>
                        <a:pt x="0" y="204"/>
                      </a:cubicBezTo>
                      <a:cubicBezTo>
                        <a:pt x="64" y="59"/>
                        <a:pt x="64" y="59"/>
                        <a:pt x="64" y="59"/>
                      </a:cubicBezTo>
                      <a:cubicBezTo>
                        <a:pt x="64" y="8"/>
                        <a:pt x="64" y="8"/>
                        <a:pt x="64" y="8"/>
                      </a:cubicBezTo>
                      <a:cubicBezTo>
                        <a:pt x="52" y="8"/>
                        <a:pt x="52" y="8"/>
                        <a:pt x="52" y="8"/>
                      </a:cubicBezTo>
                      <a:cubicBezTo>
                        <a:pt x="52" y="0"/>
                        <a:pt x="52" y="0"/>
                        <a:pt x="52" y="0"/>
                      </a:cubicBezTo>
                      <a:lnTo>
                        <a:pt x="156" y="0"/>
                      </a:lnTo>
                      <a:close/>
                      <a:moveTo>
                        <a:pt x="108" y="174"/>
                      </a:moveTo>
                      <a:cubicBezTo>
                        <a:pt x="106" y="175"/>
                        <a:pt x="106" y="175"/>
                        <a:pt x="106" y="175"/>
                      </a:cubicBezTo>
                      <a:cubicBezTo>
                        <a:pt x="83" y="192"/>
                        <a:pt x="50" y="191"/>
                        <a:pt x="22" y="174"/>
                      </a:cubicBezTo>
                      <a:cubicBezTo>
                        <a:pt x="8" y="204"/>
                        <a:pt x="8" y="204"/>
                        <a:pt x="8" y="204"/>
                      </a:cubicBezTo>
                      <a:cubicBezTo>
                        <a:pt x="13" y="216"/>
                        <a:pt x="13" y="216"/>
                        <a:pt x="13" y="216"/>
                      </a:cubicBezTo>
                      <a:cubicBezTo>
                        <a:pt x="195" y="216"/>
                        <a:pt x="195" y="216"/>
                        <a:pt x="195" y="216"/>
                      </a:cubicBezTo>
                      <a:cubicBezTo>
                        <a:pt x="200" y="204"/>
                        <a:pt x="200" y="204"/>
                        <a:pt x="200" y="204"/>
                      </a:cubicBezTo>
                      <a:cubicBezTo>
                        <a:pt x="185" y="171"/>
                        <a:pt x="185" y="171"/>
                        <a:pt x="185" y="171"/>
                      </a:cubicBezTo>
                      <a:cubicBezTo>
                        <a:pt x="159" y="159"/>
                        <a:pt x="128" y="160"/>
                        <a:pt x="108" y="174"/>
                      </a:cubicBezTo>
                      <a:close/>
                      <a:moveTo>
                        <a:pt x="136" y="8"/>
                      </a:moveTo>
                      <a:cubicBezTo>
                        <a:pt x="72" y="8"/>
                        <a:pt x="72" y="8"/>
                        <a:pt x="72" y="8"/>
                      </a:cubicBezTo>
                      <a:cubicBezTo>
                        <a:pt x="72" y="61"/>
                        <a:pt x="72" y="61"/>
                        <a:pt x="72" y="61"/>
                      </a:cubicBezTo>
                      <a:cubicBezTo>
                        <a:pt x="25" y="166"/>
                        <a:pt x="25" y="166"/>
                        <a:pt x="25" y="166"/>
                      </a:cubicBezTo>
                      <a:cubicBezTo>
                        <a:pt x="50" y="182"/>
                        <a:pt x="80" y="183"/>
                        <a:pt x="101" y="170"/>
                      </a:cubicBezTo>
                      <a:cubicBezTo>
                        <a:pt x="102" y="169"/>
                        <a:pt x="102" y="169"/>
                        <a:pt x="102" y="169"/>
                      </a:cubicBezTo>
                      <a:cubicBezTo>
                        <a:pt x="123" y="154"/>
                        <a:pt x="153" y="151"/>
                        <a:pt x="180" y="160"/>
                      </a:cubicBezTo>
                      <a:cubicBezTo>
                        <a:pt x="136" y="61"/>
                        <a:pt x="136" y="61"/>
                        <a:pt x="136" y="61"/>
                      </a:cubicBezTo>
                      <a:lnTo>
                        <a:pt x="136" y="8"/>
                      </a:lnTo>
                      <a:close/>
                      <a:moveTo>
                        <a:pt x="130" y="104"/>
                      </a:moveTo>
                      <a:cubicBezTo>
                        <a:pt x="140" y="104"/>
                        <a:pt x="148" y="112"/>
                        <a:pt x="148" y="122"/>
                      </a:cubicBezTo>
                      <a:cubicBezTo>
                        <a:pt x="148" y="132"/>
                        <a:pt x="140" y="140"/>
                        <a:pt x="130" y="140"/>
                      </a:cubicBezTo>
                      <a:cubicBezTo>
                        <a:pt x="120" y="140"/>
                        <a:pt x="112" y="132"/>
                        <a:pt x="112" y="122"/>
                      </a:cubicBezTo>
                      <a:cubicBezTo>
                        <a:pt x="112" y="112"/>
                        <a:pt x="120" y="104"/>
                        <a:pt x="130" y="104"/>
                      </a:cubicBezTo>
                      <a:close/>
                      <a:moveTo>
                        <a:pt x="130" y="112"/>
                      </a:moveTo>
                      <a:cubicBezTo>
                        <a:pt x="124" y="112"/>
                        <a:pt x="120" y="116"/>
                        <a:pt x="120" y="122"/>
                      </a:cubicBezTo>
                      <a:cubicBezTo>
                        <a:pt x="120" y="128"/>
                        <a:pt x="124" y="132"/>
                        <a:pt x="130" y="132"/>
                      </a:cubicBezTo>
                      <a:cubicBezTo>
                        <a:pt x="136" y="132"/>
                        <a:pt x="140" y="128"/>
                        <a:pt x="140" y="122"/>
                      </a:cubicBezTo>
                      <a:cubicBezTo>
                        <a:pt x="140" y="116"/>
                        <a:pt x="136" y="112"/>
                        <a:pt x="130" y="112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59" name="îSľide">
                <a:extLst>
                  <a:ext uri="{FF2B5EF4-FFF2-40B4-BE49-F238E27FC236}">
                    <a16:creationId xmlns:a16="http://schemas.microsoft.com/office/drawing/2014/main" id="{031B7AD4-4747-4FC9-BCFA-0BB1E67DE845}"/>
                  </a:ext>
                </a:extLst>
              </p:cNvPr>
              <p:cNvGrpSpPr/>
              <p:nvPr/>
            </p:nvGrpSpPr>
            <p:grpSpPr>
              <a:xfrm>
                <a:off x="9393348" y="5110858"/>
                <a:ext cx="2125552" cy="1035942"/>
                <a:chOff x="7943613" y="2575161"/>
                <a:chExt cx="3575287" cy="1035942"/>
              </a:xfrm>
            </p:grpSpPr>
            <p:sp>
              <p:nvSpPr>
                <p:cNvPr id="160" name="iṡlïďê">
                  <a:extLst>
                    <a:ext uri="{FF2B5EF4-FFF2-40B4-BE49-F238E27FC236}">
                      <a16:creationId xmlns:a16="http://schemas.microsoft.com/office/drawing/2014/main" id="{37836778-80B1-4761-819C-2733CD3F8F13}"/>
                    </a:ext>
                  </a:extLst>
                </p:cNvPr>
                <p:cNvSpPr txBox="1"/>
                <p:nvPr/>
              </p:nvSpPr>
              <p:spPr>
                <a:xfrm flipH="1">
                  <a:off x="7943613" y="3082992"/>
                  <a:ext cx="3575286" cy="528111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  <p:sp>
              <p:nvSpPr>
                <p:cNvPr id="161" name="iṡ1ïḓê">
                  <a:extLst>
                    <a:ext uri="{FF2B5EF4-FFF2-40B4-BE49-F238E27FC236}">
                      <a16:creationId xmlns:a16="http://schemas.microsoft.com/office/drawing/2014/main" id="{6764E546-4B1B-42E1-8377-810BC9941772}"/>
                    </a:ext>
                  </a:extLst>
                </p:cNvPr>
                <p:cNvSpPr/>
                <p:nvPr/>
              </p:nvSpPr>
              <p:spPr>
                <a:xfrm flipH="1">
                  <a:off x="7943614" y="2575161"/>
                  <a:ext cx="3575286" cy="507831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2000" b="1" dirty="0"/>
                    <a:t>Text here</a:t>
                  </a:r>
                  <a:endParaRPr lang="zh-CN" altLang="en-US" sz="2000" b="1" dirty="0"/>
                </a:p>
              </p:txBody>
            </p:sp>
          </p:grpSp>
        </p:grpSp>
        <p:grpSp>
          <p:nvGrpSpPr>
            <p:cNvPr id="136" name="îs1îḑè">
              <a:extLst>
                <a:ext uri="{FF2B5EF4-FFF2-40B4-BE49-F238E27FC236}">
                  <a16:creationId xmlns:a16="http://schemas.microsoft.com/office/drawing/2014/main" id="{4BE34089-B950-4699-9B60-DB22529E3AB8}"/>
                </a:ext>
              </a:extLst>
            </p:cNvPr>
            <p:cNvGrpSpPr/>
            <p:nvPr/>
          </p:nvGrpSpPr>
          <p:grpSpPr>
            <a:xfrm>
              <a:off x="7239601" y="2976912"/>
              <a:ext cx="2125552" cy="3169888"/>
              <a:chOff x="7239601" y="2976912"/>
              <a:chExt cx="2125552" cy="3169888"/>
            </a:xfrm>
          </p:grpSpPr>
          <p:cxnSp>
            <p:nvCxnSpPr>
              <p:cNvPr id="149" name="直接连接符 148">
                <a:extLst>
                  <a:ext uri="{FF2B5EF4-FFF2-40B4-BE49-F238E27FC236}">
                    <a16:creationId xmlns:a16="http://schemas.microsoft.com/office/drawing/2014/main" id="{B5D7ECFB-2F35-498C-AD3E-2DF01AF9577E}"/>
                  </a:ext>
                </a:extLst>
              </p:cNvPr>
              <p:cNvCxnSpPr/>
              <p:nvPr/>
            </p:nvCxnSpPr>
            <p:spPr>
              <a:xfrm>
                <a:off x="8302377" y="4441243"/>
                <a:ext cx="0" cy="458638"/>
              </a:xfrm>
              <a:prstGeom prst="line">
                <a:avLst/>
              </a:prstGeom>
              <a:ln w="3175">
                <a:solidFill>
                  <a:schemeClr val="accent1"/>
                </a:solidFill>
                <a:prstDash val="solid"/>
                <a:headEnd type="oval" w="sm" len="sm"/>
                <a:tailEnd type="oval" w="sm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50" name="íşľïḓè">
                <a:extLst>
                  <a:ext uri="{FF2B5EF4-FFF2-40B4-BE49-F238E27FC236}">
                    <a16:creationId xmlns:a16="http://schemas.microsoft.com/office/drawing/2014/main" id="{922E40D4-62D7-45A8-8788-568C1FCF0633}"/>
                  </a:ext>
                </a:extLst>
              </p:cNvPr>
              <p:cNvGrpSpPr/>
              <p:nvPr/>
            </p:nvGrpSpPr>
            <p:grpSpPr>
              <a:xfrm>
                <a:off x="7675700" y="2976912"/>
                <a:ext cx="1253355" cy="1253354"/>
                <a:chOff x="7675700" y="3096672"/>
                <a:chExt cx="1253355" cy="1253354"/>
              </a:xfrm>
            </p:grpSpPr>
            <p:sp>
              <p:nvSpPr>
                <p:cNvPr id="154" name="îšlídé">
                  <a:extLst>
                    <a:ext uri="{FF2B5EF4-FFF2-40B4-BE49-F238E27FC236}">
                      <a16:creationId xmlns:a16="http://schemas.microsoft.com/office/drawing/2014/main" id="{AE07F33D-54B1-488D-820F-E6D1EE466230}"/>
                    </a:ext>
                  </a:extLst>
                </p:cNvPr>
                <p:cNvSpPr/>
                <p:nvPr/>
              </p:nvSpPr>
              <p:spPr>
                <a:xfrm>
                  <a:off x="7792970" y="3208813"/>
                  <a:ext cx="1018814" cy="1018814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  <a:effectLst/>
              </p:spPr>
              <p:txBody>
                <a:bodyPr lIns="91426" tIns="45700" rIns="91426" bIns="4570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sz="360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55" name="îṥ1ídè">
                  <a:extLst>
                    <a:ext uri="{FF2B5EF4-FFF2-40B4-BE49-F238E27FC236}">
                      <a16:creationId xmlns:a16="http://schemas.microsoft.com/office/drawing/2014/main" id="{E0CF3712-88BF-4787-8F8C-0DE18384CAC1}"/>
                    </a:ext>
                  </a:extLst>
                </p:cNvPr>
                <p:cNvSpPr/>
                <p:nvPr/>
              </p:nvSpPr>
              <p:spPr>
                <a:xfrm>
                  <a:off x="7675700" y="3096672"/>
                  <a:ext cx="1253355" cy="1253354"/>
                </a:xfrm>
                <a:prstGeom prst="ellipse">
                  <a:avLst/>
                </a:prstGeom>
                <a:noFill/>
                <a:ln w="22225">
                  <a:solidFill>
                    <a:schemeClr val="accent1">
                      <a:alpha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7196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56" name="íṧļiďe">
                  <a:extLst>
                    <a:ext uri="{FF2B5EF4-FFF2-40B4-BE49-F238E27FC236}">
                      <a16:creationId xmlns:a16="http://schemas.microsoft.com/office/drawing/2014/main" id="{EBBE5D1D-8B25-4CF8-88FF-B4CAF6127D29}"/>
                    </a:ext>
                  </a:extLst>
                </p:cNvPr>
                <p:cNvSpPr/>
                <p:nvPr/>
              </p:nvSpPr>
              <p:spPr bwMode="auto">
                <a:xfrm>
                  <a:off x="8090334" y="3541220"/>
                  <a:ext cx="424086" cy="353998"/>
                </a:xfrm>
                <a:custGeom>
                  <a:avLst/>
                  <a:gdLst>
                    <a:gd name="T0" fmla="*/ 224 w 224"/>
                    <a:gd name="T1" fmla="*/ 0 h 184"/>
                    <a:gd name="T2" fmla="*/ 224 w 224"/>
                    <a:gd name="T3" fmla="*/ 156 h 184"/>
                    <a:gd name="T4" fmla="*/ 86 w 224"/>
                    <a:gd name="T5" fmla="*/ 156 h 184"/>
                    <a:gd name="T6" fmla="*/ 48 w 224"/>
                    <a:gd name="T7" fmla="*/ 184 h 184"/>
                    <a:gd name="T8" fmla="*/ 48 w 224"/>
                    <a:gd name="T9" fmla="*/ 156 h 184"/>
                    <a:gd name="T10" fmla="*/ 0 w 224"/>
                    <a:gd name="T11" fmla="*/ 156 h 184"/>
                    <a:gd name="T12" fmla="*/ 0 w 224"/>
                    <a:gd name="T13" fmla="*/ 0 h 184"/>
                    <a:gd name="T14" fmla="*/ 224 w 224"/>
                    <a:gd name="T15" fmla="*/ 0 h 184"/>
                    <a:gd name="T16" fmla="*/ 216 w 224"/>
                    <a:gd name="T17" fmla="*/ 8 h 184"/>
                    <a:gd name="T18" fmla="*/ 8 w 224"/>
                    <a:gd name="T19" fmla="*/ 8 h 184"/>
                    <a:gd name="T20" fmla="*/ 8 w 224"/>
                    <a:gd name="T21" fmla="*/ 148 h 184"/>
                    <a:gd name="T22" fmla="*/ 56 w 224"/>
                    <a:gd name="T23" fmla="*/ 148 h 184"/>
                    <a:gd name="T24" fmla="*/ 56 w 224"/>
                    <a:gd name="T25" fmla="*/ 168 h 184"/>
                    <a:gd name="T26" fmla="*/ 83 w 224"/>
                    <a:gd name="T27" fmla="*/ 148 h 184"/>
                    <a:gd name="T28" fmla="*/ 216 w 224"/>
                    <a:gd name="T29" fmla="*/ 148 h 184"/>
                    <a:gd name="T30" fmla="*/ 216 w 224"/>
                    <a:gd name="T31" fmla="*/ 8 h 184"/>
                    <a:gd name="T32" fmla="*/ 56 w 224"/>
                    <a:gd name="T33" fmla="*/ 60 h 184"/>
                    <a:gd name="T34" fmla="*/ 74 w 224"/>
                    <a:gd name="T35" fmla="*/ 78 h 184"/>
                    <a:gd name="T36" fmla="*/ 56 w 224"/>
                    <a:gd name="T37" fmla="*/ 96 h 184"/>
                    <a:gd name="T38" fmla="*/ 38 w 224"/>
                    <a:gd name="T39" fmla="*/ 78 h 184"/>
                    <a:gd name="T40" fmla="*/ 56 w 224"/>
                    <a:gd name="T41" fmla="*/ 60 h 184"/>
                    <a:gd name="T42" fmla="*/ 112 w 224"/>
                    <a:gd name="T43" fmla="*/ 60 h 184"/>
                    <a:gd name="T44" fmla="*/ 130 w 224"/>
                    <a:gd name="T45" fmla="*/ 78 h 184"/>
                    <a:gd name="T46" fmla="*/ 112 w 224"/>
                    <a:gd name="T47" fmla="*/ 96 h 184"/>
                    <a:gd name="T48" fmla="*/ 94 w 224"/>
                    <a:gd name="T49" fmla="*/ 78 h 184"/>
                    <a:gd name="T50" fmla="*/ 112 w 224"/>
                    <a:gd name="T51" fmla="*/ 60 h 184"/>
                    <a:gd name="T52" fmla="*/ 168 w 224"/>
                    <a:gd name="T53" fmla="*/ 60 h 184"/>
                    <a:gd name="T54" fmla="*/ 186 w 224"/>
                    <a:gd name="T55" fmla="*/ 78 h 184"/>
                    <a:gd name="T56" fmla="*/ 168 w 224"/>
                    <a:gd name="T57" fmla="*/ 96 h 184"/>
                    <a:gd name="T58" fmla="*/ 150 w 224"/>
                    <a:gd name="T59" fmla="*/ 78 h 184"/>
                    <a:gd name="T60" fmla="*/ 168 w 224"/>
                    <a:gd name="T61" fmla="*/ 60 h 184"/>
                    <a:gd name="T62" fmla="*/ 56 w 224"/>
                    <a:gd name="T63" fmla="*/ 68 h 184"/>
                    <a:gd name="T64" fmla="*/ 46 w 224"/>
                    <a:gd name="T65" fmla="*/ 78 h 184"/>
                    <a:gd name="T66" fmla="*/ 56 w 224"/>
                    <a:gd name="T67" fmla="*/ 88 h 184"/>
                    <a:gd name="T68" fmla="*/ 66 w 224"/>
                    <a:gd name="T69" fmla="*/ 78 h 184"/>
                    <a:gd name="T70" fmla="*/ 56 w 224"/>
                    <a:gd name="T71" fmla="*/ 68 h 184"/>
                    <a:gd name="T72" fmla="*/ 112 w 224"/>
                    <a:gd name="T73" fmla="*/ 68 h 184"/>
                    <a:gd name="T74" fmla="*/ 102 w 224"/>
                    <a:gd name="T75" fmla="*/ 78 h 184"/>
                    <a:gd name="T76" fmla="*/ 112 w 224"/>
                    <a:gd name="T77" fmla="*/ 88 h 184"/>
                    <a:gd name="T78" fmla="*/ 122 w 224"/>
                    <a:gd name="T79" fmla="*/ 78 h 184"/>
                    <a:gd name="T80" fmla="*/ 112 w 224"/>
                    <a:gd name="T81" fmla="*/ 68 h 184"/>
                    <a:gd name="T82" fmla="*/ 168 w 224"/>
                    <a:gd name="T83" fmla="*/ 68 h 184"/>
                    <a:gd name="T84" fmla="*/ 158 w 224"/>
                    <a:gd name="T85" fmla="*/ 78 h 184"/>
                    <a:gd name="T86" fmla="*/ 168 w 224"/>
                    <a:gd name="T87" fmla="*/ 88 h 184"/>
                    <a:gd name="T88" fmla="*/ 178 w 224"/>
                    <a:gd name="T89" fmla="*/ 78 h 184"/>
                    <a:gd name="T90" fmla="*/ 168 w 224"/>
                    <a:gd name="T91" fmla="*/ 68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24" h="184">
                      <a:moveTo>
                        <a:pt x="224" y="0"/>
                      </a:moveTo>
                      <a:cubicBezTo>
                        <a:pt x="224" y="156"/>
                        <a:pt x="224" y="156"/>
                        <a:pt x="224" y="156"/>
                      </a:cubicBezTo>
                      <a:cubicBezTo>
                        <a:pt x="86" y="156"/>
                        <a:pt x="86" y="156"/>
                        <a:pt x="86" y="156"/>
                      </a:cubicBezTo>
                      <a:cubicBezTo>
                        <a:pt x="48" y="184"/>
                        <a:pt x="48" y="184"/>
                        <a:pt x="48" y="184"/>
                      </a:cubicBezTo>
                      <a:cubicBezTo>
                        <a:pt x="48" y="156"/>
                        <a:pt x="48" y="156"/>
                        <a:pt x="48" y="156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224" y="0"/>
                      </a:lnTo>
                      <a:close/>
                      <a:moveTo>
                        <a:pt x="216" y="8"/>
                      </a:moveTo>
                      <a:cubicBezTo>
                        <a:pt x="8" y="8"/>
                        <a:pt x="8" y="8"/>
                        <a:pt x="8" y="8"/>
                      </a:cubicBezTo>
                      <a:cubicBezTo>
                        <a:pt x="8" y="148"/>
                        <a:pt x="8" y="148"/>
                        <a:pt x="8" y="148"/>
                      </a:cubicBezTo>
                      <a:cubicBezTo>
                        <a:pt x="56" y="148"/>
                        <a:pt x="56" y="148"/>
                        <a:pt x="56" y="148"/>
                      </a:cubicBezTo>
                      <a:cubicBezTo>
                        <a:pt x="56" y="168"/>
                        <a:pt x="56" y="168"/>
                        <a:pt x="56" y="168"/>
                      </a:cubicBezTo>
                      <a:cubicBezTo>
                        <a:pt x="83" y="148"/>
                        <a:pt x="83" y="148"/>
                        <a:pt x="83" y="148"/>
                      </a:cubicBezTo>
                      <a:cubicBezTo>
                        <a:pt x="216" y="148"/>
                        <a:pt x="216" y="148"/>
                        <a:pt x="216" y="148"/>
                      </a:cubicBezTo>
                      <a:lnTo>
                        <a:pt x="216" y="8"/>
                      </a:lnTo>
                      <a:close/>
                      <a:moveTo>
                        <a:pt x="56" y="60"/>
                      </a:moveTo>
                      <a:cubicBezTo>
                        <a:pt x="66" y="60"/>
                        <a:pt x="74" y="68"/>
                        <a:pt x="74" y="78"/>
                      </a:cubicBezTo>
                      <a:cubicBezTo>
                        <a:pt x="74" y="88"/>
                        <a:pt x="66" y="96"/>
                        <a:pt x="56" y="96"/>
                      </a:cubicBezTo>
                      <a:cubicBezTo>
                        <a:pt x="46" y="96"/>
                        <a:pt x="38" y="88"/>
                        <a:pt x="38" y="78"/>
                      </a:cubicBezTo>
                      <a:cubicBezTo>
                        <a:pt x="38" y="68"/>
                        <a:pt x="46" y="60"/>
                        <a:pt x="56" y="60"/>
                      </a:cubicBezTo>
                      <a:close/>
                      <a:moveTo>
                        <a:pt x="112" y="60"/>
                      </a:moveTo>
                      <a:cubicBezTo>
                        <a:pt x="122" y="60"/>
                        <a:pt x="130" y="68"/>
                        <a:pt x="130" y="78"/>
                      </a:cubicBezTo>
                      <a:cubicBezTo>
                        <a:pt x="130" y="88"/>
                        <a:pt x="122" y="96"/>
                        <a:pt x="112" y="96"/>
                      </a:cubicBezTo>
                      <a:cubicBezTo>
                        <a:pt x="102" y="96"/>
                        <a:pt x="94" y="88"/>
                        <a:pt x="94" y="78"/>
                      </a:cubicBezTo>
                      <a:cubicBezTo>
                        <a:pt x="94" y="68"/>
                        <a:pt x="102" y="60"/>
                        <a:pt x="112" y="60"/>
                      </a:cubicBezTo>
                      <a:close/>
                      <a:moveTo>
                        <a:pt x="168" y="60"/>
                      </a:moveTo>
                      <a:cubicBezTo>
                        <a:pt x="178" y="60"/>
                        <a:pt x="186" y="68"/>
                        <a:pt x="186" y="78"/>
                      </a:cubicBezTo>
                      <a:cubicBezTo>
                        <a:pt x="186" y="88"/>
                        <a:pt x="178" y="96"/>
                        <a:pt x="168" y="96"/>
                      </a:cubicBezTo>
                      <a:cubicBezTo>
                        <a:pt x="158" y="96"/>
                        <a:pt x="150" y="88"/>
                        <a:pt x="150" y="78"/>
                      </a:cubicBezTo>
                      <a:cubicBezTo>
                        <a:pt x="150" y="68"/>
                        <a:pt x="158" y="60"/>
                        <a:pt x="168" y="60"/>
                      </a:cubicBezTo>
                      <a:close/>
                      <a:moveTo>
                        <a:pt x="56" y="68"/>
                      </a:moveTo>
                      <a:cubicBezTo>
                        <a:pt x="50" y="68"/>
                        <a:pt x="46" y="72"/>
                        <a:pt x="46" y="78"/>
                      </a:cubicBezTo>
                      <a:cubicBezTo>
                        <a:pt x="46" y="84"/>
                        <a:pt x="50" y="88"/>
                        <a:pt x="56" y="88"/>
                      </a:cubicBezTo>
                      <a:cubicBezTo>
                        <a:pt x="62" y="88"/>
                        <a:pt x="66" y="84"/>
                        <a:pt x="66" y="78"/>
                      </a:cubicBezTo>
                      <a:cubicBezTo>
                        <a:pt x="66" y="72"/>
                        <a:pt x="62" y="68"/>
                        <a:pt x="56" y="68"/>
                      </a:cubicBezTo>
                      <a:close/>
                      <a:moveTo>
                        <a:pt x="112" y="68"/>
                      </a:moveTo>
                      <a:cubicBezTo>
                        <a:pt x="106" y="68"/>
                        <a:pt x="102" y="72"/>
                        <a:pt x="102" y="78"/>
                      </a:cubicBezTo>
                      <a:cubicBezTo>
                        <a:pt x="102" y="84"/>
                        <a:pt x="106" y="88"/>
                        <a:pt x="112" y="88"/>
                      </a:cubicBezTo>
                      <a:cubicBezTo>
                        <a:pt x="118" y="88"/>
                        <a:pt x="122" y="84"/>
                        <a:pt x="122" y="78"/>
                      </a:cubicBezTo>
                      <a:cubicBezTo>
                        <a:pt x="122" y="72"/>
                        <a:pt x="118" y="68"/>
                        <a:pt x="112" y="68"/>
                      </a:cubicBezTo>
                      <a:close/>
                      <a:moveTo>
                        <a:pt x="168" y="68"/>
                      </a:moveTo>
                      <a:cubicBezTo>
                        <a:pt x="162" y="68"/>
                        <a:pt x="158" y="72"/>
                        <a:pt x="158" y="78"/>
                      </a:cubicBezTo>
                      <a:cubicBezTo>
                        <a:pt x="158" y="84"/>
                        <a:pt x="162" y="88"/>
                        <a:pt x="168" y="88"/>
                      </a:cubicBezTo>
                      <a:cubicBezTo>
                        <a:pt x="174" y="88"/>
                        <a:pt x="178" y="84"/>
                        <a:pt x="178" y="78"/>
                      </a:cubicBezTo>
                      <a:cubicBezTo>
                        <a:pt x="178" y="72"/>
                        <a:pt x="174" y="68"/>
                        <a:pt x="168" y="6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51" name="íš1ídê">
                <a:extLst>
                  <a:ext uri="{FF2B5EF4-FFF2-40B4-BE49-F238E27FC236}">
                    <a16:creationId xmlns:a16="http://schemas.microsoft.com/office/drawing/2014/main" id="{69A44B28-CE24-40A5-BBA1-96CABE8FD335}"/>
                  </a:ext>
                </a:extLst>
              </p:cNvPr>
              <p:cNvGrpSpPr/>
              <p:nvPr/>
            </p:nvGrpSpPr>
            <p:grpSpPr>
              <a:xfrm>
                <a:off x="7239601" y="5110858"/>
                <a:ext cx="2125552" cy="1035942"/>
                <a:chOff x="7943613" y="2575161"/>
                <a:chExt cx="3575287" cy="1035942"/>
              </a:xfrm>
            </p:grpSpPr>
            <p:sp>
              <p:nvSpPr>
                <p:cNvPr id="152" name="ïṩļîḍe">
                  <a:extLst>
                    <a:ext uri="{FF2B5EF4-FFF2-40B4-BE49-F238E27FC236}">
                      <a16:creationId xmlns:a16="http://schemas.microsoft.com/office/drawing/2014/main" id="{959E666C-C196-4145-A8A3-B763BCA39908}"/>
                    </a:ext>
                  </a:extLst>
                </p:cNvPr>
                <p:cNvSpPr txBox="1"/>
                <p:nvPr/>
              </p:nvSpPr>
              <p:spPr>
                <a:xfrm flipH="1">
                  <a:off x="7943613" y="3082992"/>
                  <a:ext cx="3575286" cy="528111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  <p:sp>
              <p:nvSpPr>
                <p:cNvPr id="153" name="îṩlíďe">
                  <a:extLst>
                    <a:ext uri="{FF2B5EF4-FFF2-40B4-BE49-F238E27FC236}">
                      <a16:creationId xmlns:a16="http://schemas.microsoft.com/office/drawing/2014/main" id="{791C83F7-B732-4747-A6B6-FA3E7E2944C5}"/>
                    </a:ext>
                  </a:extLst>
                </p:cNvPr>
                <p:cNvSpPr/>
                <p:nvPr/>
              </p:nvSpPr>
              <p:spPr>
                <a:xfrm flipH="1">
                  <a:off x="7943614" y="2575161"/>
                  <a:ext cx="3575286" cy="507831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2000" b="1" dirty="0"/>
                    <a:t>Text here</a:t>
                  </a:r>
                  <a:endParaRPr lang="zh-CN" altLang="en-US" sz="2000" b="1" dirty="0"/>
                </a:p>
              </p:txBody>
            </p:sp>
          </p:grpSp>
        </p:grpSp>
        <p:grpSp>
          <p:nvGrpSpPr>
            <p:cNvPr id="137" name="íşlîḑê">
              <a:extLst>
                <a:ext uri="{FF2B5EF4-FFF2-40B4-BE49-F238E27FC236}">
                  <a16:creationId xmlns:a16="http://schemas.microsoft.com/office/drawing/2014/main" id="{ECF0AAD4-3932-40B3-ABCA-D126F139862F}"/>
                </a:ext>
              </a:extLst>
            </p:cNvPr>
            <p:cNvGrpSpPr/>
            <p:nvPr/>
          </p:nvGrpSpPr>
          <p:grpSpPr>
            <a:xfrm>
              <a:off x="5085853" y="2976912"/>
              <a:ext cx="2125552" cy="3169888"/>
              <a:chOff x="5085853" y="2976912"/>
              <a:chExt cx="2125552" cy="3169888"/>
            </a:xfrm>
          </p:grpSpPr>
          <p:cxnSp>
            <p:nvCxnSpPr>
              <p:cNvPr id="141" name="直接连接符 140">
                <a:extLst>
                  <a:ext uri="{FF2B5EF4-FFF2-40B4-BE49-F238E27FC236}">
                    <a16:creationId xmlns:a16="http://schemas.microsoft.com/office/drawing/2014/main" id="{012AF7FC-53DB-4479-814C-9305587A67C0}"/>
                  </a:ext>
                </a:extLst>
              </p:cNvPr>
              <p:cNvCxnSpPr/>
              <p:nvPr/>
            </p:nvCxnSpPr>
            <p:spPr>
              <a:xfrm>
                <a:off x="6148629" y="4441243"/>
                <a:ext cx="0" cy="458638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  <a:prstDash val="solid"/>
                <a:headEnd type="oval" w="sm" len="sm"/>
                <a:tailEnd type="oval" w="sm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2" name="îslïḍè">
                <a:extLst>
                  <a:ext uri="{FF2B5EF4-FFF2-40B4-BE49-F238E27FC236}">
                    <a16:creationId xmlns:a16="http://schemas.microsoft.com/office/drawing/2014/main" id="{73F38FEC-09AE-4B43-A7A9-3B2C882E3296}"/>
                  </a:ext>
                </a:extLst>
              </p:cNvPr>
              <p:cNvGrpSpPr/>
              <p:nvPr/>
            </p:nvGrpSpPr>
            <p:grpSpPr>
              <a:xfrm>
                <a:off x="5521952" y="2976912"/>
                <a:ext cx="1253355" cy="1253354"/>
                <a:chOff x="5521952" y="3096672"/>
                <a:chExt cx="1253355" cy="1253354"/>
              </a:xfrm>
            </p:grpSpPr>
            <p:sp>
              <p:nvSpPr>
                <p:cNvPr id="146" name="iṡlíde">
                  <a:extLst>
                    <a:ext uri="{FF2B5EF4-FFF2-40B4-BE49-F238E27FC236}">
                      <a16:creationId xmlns:a16="http://schemas.microsoft.com/office/drawing/2014/main" id="{07EAB116-B031-4F1E-BB2B-E82AE8262D73}"/>
                    </a:ext>
                  </a:extLst>
                </p:cNvPr>
                <p:cNvSpPr/>
                <p:nvPr/>
              </p:nvSpPr>
              <p:spPr>
                <a:xfrm>
                  <a:off x="5639222" y="3218214"/>
                  <a:ext cx="1018814" cy="1018814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p:spPr>
              <p:txBody>
                <a:bodyPr lIns="91426" tIns="45700" rIns="91426" bIns="4570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sz="360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47" name="íŝlïḑe">
                  <a:extLst>
                    <a:ext uri="{FF2B5EF4-FFF2-40B4-BE49-F238E27FC236}">
                      <a16:creationId xmlns:a16="http://schemas.microsoft.com/office/drawing/2014/main" id="{7914BF3E-E2FC-46E8-917F-2643E7D70EAB}"/>
                    </a:ext>
                  </a:extLst>
                </p:cNvPr>
                <p:cNvSpPr/>
                <p:nvPr/>
              </p:nvSpPr>
              <p:spPr>
                <a:xfrm>
                  <a:off x="5521952" y="3096672"/>
                  <a:ext cx="1253355" cy="1253354"/>
                </a:xfrm>
                <a:prstGeom prst="ellipse">
                  <a:avLst/>
                </a:prstGeom>
                <a:noFill/>
                <a:ln w="22225">
                  <a:solidFill>
                    <a:schemeClr val="bg1">
                      <a:lumMod val="75000"/>
                      <a:alpha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de-DE" sz="7196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48" name="ïŝľïḍe">
                  <a:extLst>
                    <a:ext uri="{FF2B5EF4-FFF2-40B4-BE49-F238E27FC236}">
                      <a16:creationId xmlns:a16="http://schemas.microsoft.com/office/drawing/2014/main" id="{501DDE4F-F140-4EE0-A273-D110A54C9644}"/>
                    </a:ext>
                  </a:extLst>
                </p:cNvPr>
                <p:cNvSpPr/>
                <p:nvPr/>
              </p:nvSpPr>
              <p:spPr bwMode="auto">
                <a:xfrm>
                  <a:off x="5943541" y="3522365"/>
                  <a:ext cx="410174" cy="447238"/>
                </a:xfrm>
                <a:custGeom>
                  <a:avLst/>
                  <a:gdLst>
                    <a:gd name="T0" fmla="*/ 168 w 208"/>
                    <a:gd name="T1" fmla="*/ 0 h 224"/>
                    <a:gd name="T2" fmla="*/ 168 w 208"/>
                    <a:gd name="T3" fmla="*/ 68 h 224"/>
                    <a:gd name="T4" fmla="*/ 108 w 208"/>
                    <a:gd name="T5" fmla="*/ 68 h 224"/>
                    <a:gd name="T6" fmla="*/ 108 w 208"/>
                    <a:gd name="T7" fmla="*/ 124 h 224"/>
                    <a:gd name="T8" fmla="*/ 192 w 208"/>
                    <a:gd name="T9" fmla="*/ 124 h 224"/>
                    <a:gd name="T10" fmla="*/ 192 w 208"/>
                    <a:gd name="T11" fmla="*/ 184 h 224"/>
                    <a:gd name="T12" fmla="*/ 208 w 208"/>
                    <a:gd name="T13" fmla="*/ 184 h 224"/>
                    <a:gd name="T14" fmla="*/ 208 w 208"/>
                    <a:gd name="T15" fmla="*/ 224 h 224"/>
                    <a:gd name="T16" fmla="*/ 168 w 208"/>
                    <a:gd name="T17" fmla="*/ 224 h 224"/>
                    <a:gd name="T18" fmla="*/ 168 w 208"/>
                    <a:gd name="T19" fmla="*/ 184 h 224"/>
                    <a:gd name="T20" fmla="*/ 184 w 208"/>
                    <a:gd name="T21" fmla="*/ 184 h 224"/>
                    <a:gd name="T22" fmla="*/ 184 w 208"/>
                    <a:gd name="T23" fmla="*/ 132 h 224"/>
                    <a:gd name="T24" fmla="*/ 108 w 208"/>
                    <a:gd name="T25" fmla="*/ 132 h 224"/>
                    <a:gd name="T26" fmla="*/ 108 w 208"/>
                    <a:gd name="T27" fmla="*/ 184 h 224"/>
                    <a:gd name="T28" fmla="*/ 124 w 208"/>
                    <a:gd name="T29" fmla="*/ 184 h 224"/>
                    <a:gd name="T30" fmla="*/ 124 w 208"/>
                    <a:gd name="T31" fmla="*/ 224 h 224"/>
                    <a:gd name="T32" fmla="*/ 84 w 208"/>
                    <a:gd name="T33" fmla="*/ 224 h 224"/>
                    <a:gd name="T34" fmla="*/ 84 w 208"/>
                    <a:gd name="T35" fmla="*/ 184 h 224"/>
                    <a:gd name="T36" fmla="*/ 100 w 208"/>
                    <a:gd name="T37" fmla="*/ 184 h 224"/>
                    <a:gd name="T38" fmla="*/ 100 w 208"/>
                    <a:gd name="T39" fmla="*/ 132 h 224"/>
                    <a:gd name="T40" fmla="*/ 24 w 208"/>
                    <a:gd name="T41" fmla="*/ 132 h 224"/>
                    <a:gd name="T42" fmla="*/ 24 w 208"/>
                    <a:gd name="T43" fmla="*/ 184 h 224"/>
                    <a:gd name="T44" fmla="*/ 40 w 208"/>
                    <a:gd name="T45" fmla="*/ 184 h 224"/>
                    <a:gd name="T46" fmla="*/ 40 w 208"/>
                    <a:gd name="T47" fmla="*/ 224 h 224"/>
                    <a:gd name="T48" fmla="*/ 0 w 208"/>
                    <a:gd name="T49" fmla="*/ 224 h 224"/>
                    <a:gd name="T50" fmla="*/ 0 w 208"/>
                    <a:gd name="T51" fmla="*/ 184 h 224"/>
                    <a:gd name="T52" fmla="*/ 16 w 208"/>
                    <a:gd name="T53" fmla="*/ 184 h 224"/>
                    <a:gd name="T54" fmla="*/ 16 w 208"/>
                    <a:gd name="T55" fmla="*/ 124 h 224"/>
                    <a:gd name="T56" fmla="*/ 100 w 208"/>
                    <a:gd name="T57" fmla="*/ 124 h 224"/>
                    <a:gd name="T58" fmla="*/ 100 w 208"/>
                    <a:gd name="T59" fmla="*/ 68 h 224"/>
                    <a:gd name="T60" fmla="*/ 40 w 208"/>
                    <a:gd name="T61" fmla="*/ 68 h 224"/>
                    <a:gd name="T62" fmla="*/ 40 w 208"/>
                    <a:gd name="T63" fmla="*/ 0 h 224"/>
                    <a:gd name="T64" fmla="*/ 168 w 208"/>
                    <a:gd name="T65" fmla="*/ 0 h 224"/>
                    <a:gd name="T66" fmla="*/ 32 w 208"/>
                    <a:gd name="T67" fmla="*/ 192 h 224"/>
                    <a:gd name="T68" fmla="*/ 8 w 208"/>
                    <a:gd name="T69" fmla="*/ 192 h 224"/>
                    <a:gd name="T70" fmla="*/ 8 w 208"/>
                    <a:gd name="T71" fmla="*/ 216 h 224"/>
                    <a:gd name="T72" fmla="*/ 32 w 208"/>
                    <a:gd name="T73" fmla="*/ 216 h 224"/>
                    <a:gd name="T74" fmla="*/ 32 w 208"/>
                    <a:gd name="T75" fmla="*/ 192 h 224"/>
                    <a:gd name="T76" fmla="*/ 116 w 208"/>
                    <a:gd name="T77" fmla="*/ 192 h 224"/>
                    <a:gd name="T78" fmla="*/ 92 w 208"/>
                    <a:gd name="T79" fmla="*/ 192 h 224"/>
                    <a:gd name="T80" fmla="*/ 92 w 208"/>
                    <a:gd name="T81" fmla="*/ 216 h 224"/>
                    <a:gd name="T82" fmla="*/ 116 w 208"/>
                    <a:gd name="T83" fmla="*/ 216 h 224"/>
                    <a:gd name="T84" fmla="*/ 116 w 208"/>
                    <a:gd name="T85" fmla="*/ 192 h 224"/>
                    <a:gd name="T86" fmla="*/ 200 w 208"/>
                    <a:gd name="T87" fmla="*/ 192 h 224"/>
                    <a:gd name="T88" fmla="*/ 176 w 208"/>
                    <a:gd name="T89" fmla="*/ 192 h 224"/>
                    <a:gd name="T90" fmla="*/ 176 w 208"/>
                    <a:gd name="T91" fmla="*/ 216 h 224"/>
                    <a:gd name="T92" fmla="*/ 200 w 208"/>
                    <a:gd name="T93" fmla="*/ 216 h 224"/>
                    <a:gd name="T94" fmla="*/ 200 w 208"/>
                    <a:gd name="T95" fmla="*/ 192 h 224"/>
                    <a:gd name="T96" fmla="*/ 160 w 208"/>
                    <a:gd name="T97" fmla="*/ 8 h 224"/>
                    <a:gd name="T98" fmla="*/ 48 w 208"/>
                    <a:gd name="T99" fmla="*/ 8 h 224"/>
                    <a:gd name="T100" fmla="*/ 48 w 208"/>
                    <a:gd name="T101" fmla="*/ 60 h 224"/>
                    <a:gd name="T102" fmla="*/ 160 w 208"/>
                    <a:gd name="T103" fmla="*/ 60 h 224"/>
                    <a:gd name="T104" fmla="*/ 160 w 208"/>
                    <a:gd name="T105" fmla="*/ 8 h 224"/>
                    <a:gd name="T106" fmla="*/ 66 w 208"/>
                    <a:gd name="T107" fmla="*/ 36 h 224"/>
                    <a:gd name="T108" fmla="*/ 72 w 208"/>
                    <a:gd name="T109" fmla="*/ 42 h 224"/>
                    <a:gd name="T110" fmla="*/ 66 w 208"/>
                    <a:gd name="T111" fmla="*/ 48 h 224"/>
                    <a:gd name="T112" fmla="*/ 60 w 208"/>
                    <a:gd name="T113" fmla="*/ 42 h 224"/>
                    <a:gd name="T114" fmla="*/ 66 w 208"/>
                    <a:gd name="T115" fmla="*/ 36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08" h="224">
                      <a:moveTo>
                        <a:pt x="168" y="0"/>
                      </a:moveTo>
                      <a:cubicBezTo>
                        <a:pt x="168" y="68"/>
                        <a:pt x="168" y="68"/>
                        <a:pt x="168" y="68"/>
                      </a:cubicBezTo>
                      <a:cubicBezTo>
                        <a:pt x="108" y="68"/>
                        <a:pt x="108" y="68"/>
                        <a:pt x="108" y="68"/>
                      </a:cubicBezTo>
                      <a:cubicBezTo>
                        <a:pt x="108" y="124"/>
                        <a:pt x="108" y="124"/>
                        <a:pt x="108" y="124"/>
                      </a:cubicBezTo>
                      <a:cubicBezTo>
                        <a:pt x="192" y="124"/>
                        <a:pt x="192" y="124"/>
                        <a:pt x="192" y="124"/>
                      </a:cubicBezTo>
                      <a:cubicBezTo>
                        <a:pt x="192" y="184"/>
                        <a:pt x="192" y="184"/>
                        <a:pt x="192" y="184"/>
                      </a:cubicBezTo>
                      <a:cubicBezTo>
                        <a:pt x="208" y="184"/>
                        <a:pt x="208" y="184"/>
                        <a:pt x="208" y="184"/>
                      </a:cubicBezTo>
                      <a:cubicBezTo>
                        <a:pt x="208" y="224"/>
                        <a:pt x="208" y="224"/>
                        <a:pt x="208" y="224"/>
                      </a:cubicBezTo>
                      <a:cubicBezTo>
                        <a:pt x="168" y="224"/>
                        <a:pt x="168" y="224"/>
                        <a:pt x="168" y="224"/>
                      </a:cubicBezTo>
                      <a:cubicBezTo>
                        <a:pt x="168" y="184"/>
                        <a:pt x="168" y="184"/>
                        <a:pt x="168" y="184"/>
                      </a:cubicBezTo>
                      <a:cubicBezTo>
                        <a:pt x="184" y="184"/>
                        <a:pt x="184" y="184"/>
                        <a:pt x="184" y="184"/>
                      </a:cubicBezTo>
                      <a:cubicBezTo>
                        <a:pt x="184" y="132"/>
                        <a:pt x="184" y="132"/>
                        <a:pt x="184" y="132"/>
                      </a:cubicBezTo>
                      <a:cubicBezTo>
                        <a:pt x="108" y="132"/>
                        <a:pt x="108" y="132"/>
                        <a:pt x="108" y="132"/>
                      </a:cubicBezTo>
                      <a:cubicBezTo>
                        <a:pt x="108" y="184"/>
                        <a:pt x="108" y="184"/>
                        <a:pt x="108" y="184"/>
                      </a:cubicBezTo>
                      <a:cubicBezTo>
                        <a:pt x="124" y="184"/>
                        <a:pt x="124" y="184"/>
                        <a:pt x="124" y="184"/>
                      </a:cubicBezTo>
                      <a:cubicBezTo>
                        <a:pt x="124" y="224"/>
                        <a:pt x="124" y="224"/>
                        <a:pt x="124" y="224"/>
                      </a:cubicBezTo>
                      <a:cubicBezTo>
                        <a:pt x="84" y="224"/>
                        <a:pt x="84" y="224"/>
                        <a:pt x="84" y="224"/>
                      </a:cubicBezTo>
                      <a:cubicBezTo>
                        <a:pt x="84" y="184"/>
                        <a:pt x="84" y="184"/>
                        <a:pt x="84" y="184"/>
                      </a:cubicBezTo>
                      <a:cubicBezTo>
                        <a:pt x="100" y="184"/>
                        <a:pt x="100" y="184"/>
                        <a:pt x="100" y="184"/>
                      </a:cubicBezTo>
                      <a:cubicBezTo>
                        <a:pt x="100" y="132"/>
                        <a:pt x="100" y="132"/>
                        <a:pt x="100" y="132"/>
                      </a:cubicBezTo>
                      <a:cubicBezTo>
                        <a:pt x="24" y="132"/>
                        <a:pt x="24" y="132"/>
                        <a:pt x="24" y="132"/>
                      </a:cubicBezTo>
                      <a:cubicBezTo>
                        <a:pt x="24" y="184"/>
                        <a:pt x="24" y="184"/>
                        <a:pt x="24" y="184"/>
                      </a:cubicBezTo>
                      <a:cubicBezTo>
                        <a:pt x="40" y="184"/>
                        <a:pt x="40" y="184"/>
                        <a:pt x="40" y="184"/>
                      </a:cubicBezTo>
                      <a:cubicBezTo>
                        <a:pt x="40" y="224"/>
                        <a:pt x="40" y="224"/>
                        <a:pt x="40" y="224"/>
                      </a:cubicBezTo>
                      <a:cubicBezTo>
                        <a:pt x="0" y="224"/>
                        <a:pt x="0" y="224"/>
                        <a:pt x="0" y="224"/>
                      </a:cubicBezTo>
                      <a:cubicBezTo>
                        <a:pt x="0" y="184"/>
                        <a:pt x="0" y="184"/>
                        <a:pt x="0" y="184"/>
                      </a:cubicBezTo>
                      <a:cubicBezTo>
                        <a:pt x="16" y="184"/>
                        <a:pt x="16" y="184"/>
                        <a:pt x="16" y="184"/>
                      </a:cubicBezTo>
                      <a:cubicBezTo>
                        <a:pt x="16" y="124"/>
                        <a:pt x="16" y="124"/>
                        <a:pt x="16" y="124"/>
                      </a:cubicBezTo>
                      <a:cubicBezTo>
                        <a:pt x="100" y="124"/>
                        <a:pt x="100" y="124"/>
                        <a:pt x="100" y="124"/>
                      </a:cubicBezTo>
                      <a:cubicBezTo>
                        <a:pt x="100" y="68"/>
                        <a:pt x="100" y="68"/>
                        <a:pt x="100" y="68"/>
                      </a:cubicBezTo>
                      <a:cubicBezTo>
                        <a:pt x="40" y="68"/>
                        <a:pt x="40" y="68"/>
                        <a:pt x="40" y="68"/>
                      </a:cubicBezTo>
                      <a:cubicBezTo>
                        <a:pt x="40" y="0"/>
                        <a:pt x="40" y="0"/>
                        <a:pt x="40" y="0"/>
                      </a:cubicBezTo>
                      <a:lnTo>
                        <a:pt x="168" y="0"/>
                      </a:lnTo>
                      <a:close/>
                      <a:moveTo>
                        <a:pt x="32" y="192"/>
                      </a:moveTo>
                      <a:cubicBezTo>
                        <a:pt x="8" y="192"/>
                        <a:pt x="8" y="192"/>
                        <a:pt x="8" y="192"/>
                      </a:cubicBezTo>
                      <a:cubicBezTo>
                        <a:pt x="8" y="216"/>
                        <a:pt x="8" y="216"/>
                        <a:pt x="8" y="216"/>
                      </a:cubicBezTo>
                      <a:cubicBezTo>
                        <a:pt x="32" y="216"/>
                        <a:pt x="32" y="216"/>
                        <a:pt x="32" y="216"/>
                      </a:cubicBezTo>
                      <a:lnTo>
                        <a:pt x="32" y="192"/>
                      </a:lnTo>
                      <a:close/>
                      <a:moveTo>
                        <a:pt x="116" y="192"/>
                      </a:moveTo>
                      <a:cubicBezTo>
                        <a:pt x="92" y="192"/>
                        <a:pt x="92" y="192"/>
                        <a:pt x="92" y="192"/>
                      </a:cubicBezTo>
                      <a:cubicBezTo>
                        <a:pt x="92" y="216"/>
                        <a:pt x="92" y="216"/>
                        <a:pt x="92" y="216"/>
                      </a:cubicBezTo>
                      <a:cubicBezTo>
                        <a:pt x="116" y="216"/>
                        <a:pt x="116" y="216"/>
                        <a:pt x="116" y="216"/>
                      </a:cubicBezTo>
                      <a:lnTo>
                        <a:pt x="116" y="192"/>
                      </a:lnTo>
                      <a:close/>
                      <a:moveTo>
                        <a:pt x="200" y="192"/>
                      </a:moveTo>
                      <a:cubicBezTo>
                        <a:pt x="176" y="192"/>
                        <a:pt x="176" y="192"/>
                        <a:pt x="176" y="192"/>
                      </a:cubicBezTo>
                      <a:cubicBezTo>
                        <a:pt x="176" y="216"/>
                        <a:pt x="176" y="216"/>
                        <a:pt x="176" y="216"/>
                      </a:cubicBezTo>
                      <a:cubicBezTo>
                        <a:pt x="200" y="216"/>
                        <a:pt x="200" y="216"/>
                        <a:pt x="200" y="216"/>
                      </a:cubicBezTo>
                      <a:lnTo>
                        <a:pt x="200" y="192"/>
                      </a:lnTo>
                      <a:close/>
                      <a:moveTo>
                        <a:pt x="160" y="8"/>
                      </a:moveTo>
                      <a:cubicBezTo>
                        <a:pt x="48" y="8"/>
                        <a:pt x="48" y="8"/>
                        <a:pt x="48" y="8"/>
                      </a:cubicBezTo>
                      <a:cubicBezTo>
                        <a:pt x="48" y="60"/>
                        <a:pt x="48" y="60"/>
                        <a:pt x="48" y="60"/>
                      </a:cubicBezTo>
                      <a:cubicBezTo>
                        <a:pt x="160" y="60"/>
                        <a:pt x="160" y="60"/>
                        <a:pt x="160" y="60"/>
                      </a:cubicBezTo>
                      <a:lnTo>
                        <a:pt x="160" y="8"/>
                      </a:lnTo>
                      <a:close/>
                      <a:moveTo>
                        <a:pt x="66" y="36"/>
                      </a:moveTo>
                      <a:cubicBezTo>
                        <a:pt x="69" y="36"/>
                        <a:pt x="72" y="39"/>
                        <a:pt x="72" y="42"/>
                      </a:cubicBezTo>
                      <a:cubicBezTo>
                        <a:pt x="72" y="45"/>
                        <a:pt x="69" y="48"/>
                        <a:pt x="66" y="48"/>
                      </a:cubicBezTo>
                      <a:cubicBezTo>
                        <a:pt x="63" y="48"/>
                        <a:pt x="60" y="45"/>
                        <a:pt x="60" y="42"/>
                      </a:cubicBezTo>
                      <a:cubicBezTo>
                        <a:pt x="60" y="39"/>
                        <a:pt x="63" y="36"/>
                        <a:pt x="66" y="36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43" name="iS1îḓê">
                <a:extLst>
                  <a:ext uri="{FF2B5EF4-FFF2-40B4-BE49-F238E27FC236}">
                    <a16:creationId xmlns:a16="http://schemas.microsoft.com/office/drawing/2014/main" id="{77C0292A-DCC1-4F89-B66F-32056AE0AFF7}"/>
                  </a:ext>
                </a:extLst>
              </p:cNvPr>
              <p:cNvGrpSpPr/>
              <p:nvPr/>
            </p:nvGrpSpPr>
            <p:grpSpPr>
              <a:xfrm>
                <a:off x="5085853" y="5110858"/>
                <a:ext cx="2125552" cy="1035942"/>
                <a:chOff x="7943613" y="2575161"/>
                <a:chExt cx="3575287" cy="1035942"/>
              </a:xfrm>
            </p:grpSpPr>
            <p:sp>
              <p:nvSpPr>
                <p:cNvPr id="144" name="íşľïďè">
                  <a:extLst>
                    <a:ext uri="{FF2B5EF4-FFF2-40B4-BE49-F238E27FC236}">
                      <a16:creationId xmlns:a16="http://schemas.microsoft.com/office/drawing/2014/main" id="{CA1A1677-C3BA-432F-BE35-FBC5EE2B73F9}"/>
                    </a:ext>
                  </a:extLst>
                </p:cNvPr>
                <p:cNvSpPr txBox="1"/>
                <p:nvPr/>
              </p:nvSpPr>
              <p:spPr>
                <a:xfrm flipH="1">
                  <a:off x="7943613" y="3082992"/>
                  <a:ext cx="3575286" cy="528111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  <p:sp>
              <p:nvSpPr>
                <p:cNvPr id="145" name="íšľiḓé">
                  <a:extLst>
                    <a:ext uri="{FF2B5EF4-FFF2-40B4-BE49-F238E27FC236}">
                      <a16:creationId xmlns:a16="http://schemas.microsoft.com/office/drawing/2014/main" id="{D41D107E-34AE-4E8B-B557-3B5F56A54A43}"/>
                    </a:ext>
                  </a:extLst>
                </p:cNvPr>
                <p:cNvSpPr/>
                <p:nvPr/>
              </p:nvSpPr>
              <p:spPr>
                <a:xfrm flipH="1">
                  <a:off x="7943614" y="2575161"/>
                  <a:ext cx="3575286" cy="507831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2000" b="1" dirty="0"/>
                    <a:t>Text here</a:t>
                  </a:r>
                  <a:endParaRPr lang="zh-CN" altLang="en-US" sz="2000" b="1" dirty="0"/>
                </a:p>
              </p:txBody>
            </p:sp>
          </p:grpSp>
        </p:grpSp>
        <p:grpSp>
          <p:nvGrpSpPr>
            <p:cNvPr id="138" name="i$ľíďê">
              <a:extLst>
                <a:ext uri="{FF2B5EF4-FFF2-40B4-BE49-F238E27FC236}">
                  <a16:creationId xmlns:a16="http://schemas.microsoft.com/office/drawing/2014/main" id="{ED64C87E-8FEB-40BD-BFD1-910380DEB57A}"/>
                </a:ext>
              </a:extLst>
            </p:cNvPr>
            <p:cNvGrpSpPr/>
            <p:nvPr/>
          </p:nvGrpSpPr>
          <p:grpSpPr>
            <a:xfrm>
              <a:off x="673100" y="1177098"/>
              <a:ext cx="4479925" cy="2084344"/>
              <a:chOff x="3661181" y="4062456"/>
              <a:chExt cx="4869638" cy="2084344"/>
            </a:xfrm>
          </p:grpSpPr>
          <p:sp>
            <p:nvSpPr>
              <p:cNvPr id="139" name="íśḷiḋé">
                <a:extLst>
                  <a:ext uri="{FF2B5EF4-FFF2-40B4-BE49-F238E27FC236}">
                    <a16:creationId xmlns:a16="http://schemas.microsoft.com/office/drawing/2014/main" id="{2383217E-16C0-490A-91FC-3BE1C6BB5CD8}"/>
                  </a:ext>
                </a:extLst>
              </p:cNvPr>
              <p:cNvSpPr txBox="1"/>
              <p:nvPr/>
            </p:nvSpPr>
            <p:spPr>
              <a:xfrm>
                <a:off x="3661182" y="4062456"/>
                <a:ext cx="4869637" cy="10421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SzPct val="25000"/>
                </a:pPr>
                <a:r>
                  <a:rPr lang="en-US" sz="2800" b="1" dirty="0"/>
                  <a:t>Unified fonts make</a:t>
                </a:r>
              </a:p>
              <a:p>
                <a:pPr>
                  <a:buSzPct val="25000"/>
                </a:pPr>
                <a:r>
                  <a:rPr lang="en-US" sz="2800" b="1" dirty="0"/>
                  <a:t>reading more fluent.</a:t>
                </a:r>
              </a:p>
            </p:txBody>
          </p:sp>
          <p:sp>
            <p:nvSpPr>
              <p:cNvPr id="140" name="iSḷíďe">
                <a:extLst>
                  <a:ext uri="{FF2B5EF4-FFF2-40B4-BE49-F238E27FC236}">
                    <a16:creationId xmlns:a16="http://schemas.microsoft.com/office/drawing/2014/main" id="{60E7B3A5-46B6-4DBA-A5E4-858C46E75CB2}"/>
                  </a:ext>
                </a:extLst>
              </p:cNvPr>
              <p:cNvSpPr txBox="1"/>
              <p:nvPr/>
            </p:nvSpPr>
            <p:spPr>
              <a:xfrm>
                <a:off x="3661181" y="5104628"/>
                <a:ext cx="4869638" cy="10421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Adjust the spacing to adapt to Chinese typesetting, use the reference line in PPT.</a:t>
                </a: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26455783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sp>
        <p:nvSpPr>
          <p:cNvPr id="5" name="ïšḷiďê">
            <a:extLst>
              <a:ext uri="{FF2B5EF4-FFF2-40B4-BE49-F238E27FC236}">
                <a16:creationId xmlns:a16="http://schemas.microsoft.com/office/drawing/2014/main" id="{DF2DA7AE-F8E0-417B-A80C-1BF6F81771B4}"/>
              </a:ext>
            </a:extLst>
          </p:cNvPr>
          <p:cNvSpPr/>
          <p:nvPr/>
        </p:nvSpPr>
        <p:spPr>
          <a:xfrm>
            <a:off x="719137" y="2787975"/>
            <a:ext cx="2153822" cy="3789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/>
              <a:t>6</a:t>
            </a:r>
            <a:r>
              <a:rPr lang="zh-CN" altLang="en-US" sz="1600"/>
              <a:t>月</a:t>
            </a:r>
          </a:p>
        </p:txBody>
      </p:sp>
      <p:sp>
        <p:nvSpPr>
          <p:cNvPr id="6" name="iṩḻîḓê">
            <a:extLst>
              <a:ext uri="{FF2B5EF4-FFF2-40B4-BE49-F238E27FC236}">
                <a16:creationId xmlns:a16="http://schemas.microsoft.com/office/drawing/2014/main" id="{31B89291-5B41-4550-A29F-B9DA4D552D65}"/>
              </a:ext>
            </a:extLst>
          </p:cNvPr>
          <p:cNvSpPr/>
          <p:nvPr/>
        </p:nvSpPr>
        <p:spPr>
          <a:xfrm>
            <a:off x="2872958" y="2787975"/>
            <a:ext cx="2153822" cy="37894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/>
              <a:t>7</a:t>
            </a:r>
            <a:r>
              <a:rPr lang="zh-CN" altLang="en-US" sz="1600"/>
              <a:t>月</a:t>
            </a:r>
          </a:p>
        </p:txBody>
      </p:sp>
      <p:sp>
        <p:nvSpPr>
          <p:cNvPr id="7" name="îṧľide">
            <a:extLst>
              <a:ext uri="{FF2B5EF4-FFF2-40B4-BE49-F238E27FC236}">
                <a16:creationId xmlns:a16="http://schemas.microsoft.com/office/drawing/2014/main" id="{9FD63B04-F722-4777-B9BC-52C935018397}"/>
              </a:ext>
            </a:extLst>
          </p:cNvPr>
          <p:cNvSpPr/>
          <p:nvPr/>
        </p:nvSpPr>
        <p:spPr>
          <a:xfrm>
            <a:off x="5011395" y="2787975"/>
            <a:ext cx="2153822" cy="3789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/>
              <a:t>8</a:t>
            </a:r>
            <a:r>
              <a:rPr lang="zh-CN" altLang="en-US" sz="1600"/>
              <a:t>月</a:t>
            </a:r>
          </a:p>
        </p:txBody>
      </p:sp>
      <p:sp>
        <p:nvSpPr>
          <p:cNvPr id="8" name="isļïdè">
            <a:extLst>
              <a:ext uri="{FF2B5EF4-FFF2-40B4-BE49-F238E27FC236}">
                <a16:creationId xmlns:a16="http://schemas.microsoft.com/office/drawing/2014/main" id="{720FBBC6-4698-4589-8541-91C5F9CEB84D}"/>
              </a:ext>
            </a:extLst>
          </p:cNvPr>
          <p:cNvSpPr/>
          <p:nvPr/>
        </p:nvSpPr>
        <p:spPr>
          <a:xfrm>
            <a:off x="7165216" y="2787975"/>
            <a:ext cx="2153822" cy="37894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/>
              <a:t>9</a:t>
            </a:r>
            <a:r>
              <a:rPr lang="zh-CN" altLang="en-US" sz="1600"/>
              <a:t>月</a:t>
            </a:r>
          </a:p>
        </p:txBody>
      </p:sp>
      <p:sp>
        <p:nvSpPr>
          <p:cNvPr id="9" name="ïṧḻïḍê">
            <a:extLst>
              <a:ext uri="{FF2B5EF4-FFF2-40B4-BE49-F238E27FC236}">
                <a16:creationId xmlns:a16="http://schemas.microsoft.com/office/drawing/2014/main" id="{E65A7E97-D955-4EA3-8865-0EB8D7BFC1D1}"/>
              </a:ext>
            </a:extLst>
          </p:cNvPr>
          <p:cNvSpPr/>
          <p:nvPr/>
        </p:nvSpPr>
        <p:spPr>
          <a:xfrm>
            <a:off x="9319038" y="2787975"/>
            <a:ext cx="2153822" cy="378941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600"/>
              <a:t>10</a:t>
            </a:r>
            <a:r>
              <a:rPr lang="zh-CN" altLang="en-US" sz="1600"/>
              <a:t>月</a:t>
            </a:r>
          </a:p>
        </p:txBody>
      </p:sp>
      <p:sp>
        <p:nvSpPr>
          <p:cNvPr id="10" name="îṡḷíḓê">
            <a:extLst>
              <a:ext uri="{FF2B5EF4-FFF2-40B4-BE49-F238E27FC236}">
                <a16:creationId xmlns:a16="http://schemas.microsoft.com/office/drawing/2014/main" id="{4DA79959-EC45-4B94-AA51-C1555F889BD6}"/>
              </a:ext>
            </a:extLst>
          </p:cNvPr>
          <p:cNvSpPr>
            <a:spLocks/>
          </p:cNvSpPr>
          <p:nvPr/>
        </p:nvSpPr>
        <p:spPr bwMode="gray">
          <a:xfrm>
            <a:off x="1176689" y="3107374"/>
            <a:ext cx="107691" cy="105026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F4838C3D-F72B-4EDE-9836-9CF58D13D7E2}"/>
              </a:ext>
            </a:extLst>
          </p:cNvPr>
          <p:cNvGrpSpPr/>
          <p:nvPr/>
        </p:nvGrpSpPr>
        <p:grpSpPr>
          <a:xfrm>
            <a:off x="7475831" y="3107374"/>
            <a:ext cx="107691" cy="1630385"/>
            <a:chOff x="7475831" y="3107374"/>
            <a:chExt cx="107691" cy="1630385"/>
          </a:xfrm>
        </p:grpSpPr>
        <p:sp>
          <p:nvSpPr>
            <p:cNvPr id="12" name="iṡ1íḋé">
              <a:extLst>
                <a:ext uri="{FF2B5EF4-FFF2-40B4-BE49-F238E27FC236}">
                  <a16:creationId xmlns:a16="http://schemas.microsoft.com/office/drawing/2014/main" id="{0850DC0B-5883-42DF-8419-134BBE21694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75831" y="3107374"/>
              <a:ext cx="107691" cy="105026"/>
            </a:xfrm>
            <a:prstGeom prst="ellipse">
              <a:avLst/>
            </a:prstGeom>
            <a:solidFill>
              <a:schemeClr val="accent3"/>
            </a:solidFill>
            <a:ln w="127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ísļiḓe">
              <a:extLst>
                <a:ext uri="{FF2B5EF4-FFF2-40B4-BE49-F238E27FC236}">
                  <a16:creationId xmlns:a16="http://schemas.microsoft.com/office/drawing/2014/main" id="{4507152D-328E-49B2-8AB0-F2E94509888D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7529677" y="3173829"/>
              <a:ext cx="0" cy="156393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C03C4F5C-ADB9-468E-9357-7313B54A496F}"/>
              </a:ext>
            </a:extLst>
          </p:cNvPr>
          <p:cNvGrpSpPr/>
          <p:nvPr/>
        </p:nvGrpSpPr>
        <p:grpSpPr>
          <a:xfrm>
            <a:off x="3139807" y="3107374"/>
            <a:ext cx="107691" cy="1630385"/>
            <a:chOff x="4436327" y="3107374"/>
            <a:chExt cx="107691" cy="1630385"/>
          </a:xfrm>
        </p:grpSpPr>
        <p:sp>
          <p:nvSpPr>
            <p:cNvPr id="15" name="ïS1idè">
              <a:extLst>
                <a:ext uri="{FF2B5EF4-FFF2-40B4-BE49-F238E27FC236}">
                  <a16:creationId xmlns:a16="http://schemas.microsoft.com/office/drawing/2014/main" id="{DE6FE3B9-A645-4AAE-92E0-BDCCB1B4F396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6327" y="3107374"/>
              <a:ext cx="107691" cy="105026"/>
            </a:xfrm>
            <a:prstGeom prst="ellipse">
              <a:avLst/>
            </a:prstGeom>
            <a:solidFill>
              <a:schemeClr val="accent3"/>
            </a:solidFill>
            <a:ln w="127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šlíḋe">
              <a:extLst>
                <a:ext uri="{FF2B5EF4-FFF2-40B4-BE49-F238E27FC236}">
                  <a16:creationId xmlns:a16="http://schemas.microsoft.com/office/drawing/2014/main" id="{47096B1F-81B1-4654-A6F0-EA0B43A7D462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4490173" y="3173829"/>
              <a:ext cx="0" cy="156393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D8FE40D1-C93E-4897-ACBF-D2F3C9AD4288}"/>
              </a:ext>
            </a:extLst>
          </p:cNvPr>
          <p:cNvGrpSpPr/>
          <p:nvPr/>
        </p:nvGrpSpPr>
        <p:grpSpPr>
          <a:xfrm>
            <a:off x="5165102" y="3107374"/>
            <a:ext cx="107691" cy="324250"/>
            <a:chOff x="5165102" y="3107374"/>
            <a:chExt cx="107691" cy="324250"/>
          </a:xfrm>
        </p:grpSpPr>
        <p:sp>
          <p:nvSpPr>
            <p:cNvPr id="18" name="iṣľïḍè">
              <a:extLst>
                <a:ext uri="{FF2B5EF4-FFF2-40B4-BE49-F238E27FC236}">
                  <a16:creationId xmlns:a16="http://schemas.microsoft.com/office/drawing/2014/main" id="{28262DAA-F598-4D94-A8FE-14B957AD030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5102" y="3107374"/>
              <a:ext cx="107691" cy="105026"/>
            </a:xfrm>
            <a:prstGeom prst="ellipse">
              <a:avLst/>
            </a:prstGeom>
            <a:solidFill>
              <a:schemeClr val="accent1"/>
            </a:solidFill>
            <a:ln w="127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îṣlîḓé">
              <a:extLst>
                <a:ext uri="{FF2B5EF4-FFF2-40B4-BE49-F238E27FC236}">
                  <a16:creationId xmlns:a16="http://schemas.microsoft.com/office/drawing/2014/main" id="{4FFAFD86-2BB5-4479-A312-8C10D757ABD0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5218948" y="3196922"/>
              <a:ext cx="0" cy="234702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0" name="ïṣ1idé">
            <a:extLst>
              <a:ext uri="{FF2B5EF4-FFF2-40B4-BE49-F238E27FC236}">
                <a16:creationId xmlns:a16="http://schemas.microsoft.com/office/drawing/2014/main" id="{D3531B91-8563-4D39-B7C3-E68926961FA5}"/>
              </a:ext>
            </a:extLst>
          </p:cNvPr>
          <p:cNvSpPr>
            <a:spLocks/>
          </p:cNvSpPr>
          <p:nvPr/>
        </p:nvSpPr>
        <p:spPr bwMode="gray">
          <a:xfrm flipV="1">
            <a:off x="1230534" y="3196922"/>
            <a:ext cx="0" cy="234702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9" name="iśḻiḋe">
            <a:extLst>
              <a:ext uri="{FF2B5EF4-FFF2-40B4-BE49-F238E27FC236}">
                <a16:creationId xmlns:a16="http://schemas.microsoft.com/office/drawing/2014/main" id="{C98AC492-06B3-424F-8D10-256A5D98DDD7}"/>
              </a:ext>
            </a:extLst>
          </p:cNvPr>
          <p:cNvSpPr/>
          <p:nvPr/>
        </p:nvSpPr>
        <p:spPr>
          <a:xfrm>
            <a:off x="1555818" y="1975329"/>
            <a:ext cx="480460" cy="523875"/>
          </a:xfrm>
          <a:custGeom>
            <a:avLst/>
            <a:gdLst>
              <a:gd name="T0" fmla="*/ 168 w 208"/>
              <a:gd name="T1" fmla="*/ 0 h 224"/>
              <a:gd name="T2" fmla="*/ 168 w 208"/>
              <a:gd name="T3" fmla="*/ 68 h 224"/>
              <a:gd name="T4" fmla="*/ 108 w 208"/>
              <a:gd name="T5" fmla="*/ 68 h 224"/>
              <a:gd name="T6" fmla="*/ 108 w 208"/>
              <a:gd name="T7" fmla="*/ 124 h 224"/>
              <a:gd name="T8" fmla="*/ 192 w 208"/>
              <a:gd name="T9" fmla="*/ 124 h 224"/>
              <a:gd name="T10" fmla="*/ 192 w 208"/>
              <a:gd name="T11" fmla="*/ 184 h 224"/>
              <a:gd name="T12" fmla="*/ 208 w 208"/>
              <a:gd name="T13" fmla="*/ 184 h 224"/>
              <a:gd name="T14" fmla="*/ 208 w 208"/>
              <a:gd name="T15" fmla="*/ 224 h 224"/>
              <a:gd name="T16" fmla="*/ 168 w 208"/>
              <a:gd name="T17" fmla="*/ 224 h 224"/>
              <a:gd name="T18" fmla="*/ 168 w 208"/>
              <a:gd name="T19" fmla="*/ 184 h 224"/>
              <a:gd name="T20" fmla="*/ 184 w 208"/>
              <a:gd name="T21" fmla="*/ 184 h 224"/>
              <a:gd name="T22" fmla="*/ 184 w 208"/>
              <a:gd name="T23" fmla="*/ 132 h 224"/>
              <a:gd name="T24" fmla="*/ 108 w 208"/>
              <a:gd name="T25" fmla="*/ 132 h 224"/>
              <a:gd name="T26" fmla="*/ 108 w 208"/>
              <a:gd name="T27" fmla="*/ 184 h 224"/>
              <a:gd name="T28" fmla="*/ 124 w 208"/>
              <a:gd name="T29" fmla="*/ 184 h 224"/>
              <a:gd name="T30" fmla="*/ 124 w 208"/>
              <a:gd name="T31" fmla="*/ 224 h 224"/>
              <a:gd name="T32" fmla="*/ 84 w 208"/>
              <a:gd name="T33" fmla="*/ 224 h 224"/>
              <a:gd name="T34" fmla="*/ 84 w 208"/>
              <a:gd name="T35" fmla="*/ 184 h 224"/>
              <a:gd name="T36" fmla="*/ 100 w 208"/>
              <a:gd name="T37" fmla="*/ 184 h 224"/>
              <a:gd name="T38" fmla="*/ 100 w 208"/>
              <a:gd name="T39" fmla="*/ 132 h 224"/>
              <a:gd name="T40" fmla="*/ 24 w 208"/>
              <a:gd name="T41" fmla="*/ 132 h 224"/>
              <a:gd name="T42" fmla="*/ 24 w 208"/>
              <a:gd name="T43" fmla="*/ 184 h 224"/>
              <a:gd name="T44" fmla="*/ 40 w 208"/>
              <a:gd name="T45" fmla="*/ 184 h 224"/>
              <a:gd name="T46" fmla="*/ 40 w 208"/>
              <a:gd name="T47" fmla="*/ 224 h 224"/>
              <a:gd name="T48" fmla="*/ 0 w 208"/>
              <a:gd name="T49" fmla="*/ 224 h 224"/>
              <a:gd name="T50" fmla="*/ 0 w 208"/>
              <a:gd name="T51" fmla="*/ 184 h 224"/>
              <a:gd name="T52" fmla="*/ 16 w 208"/>
              <a:gd name="T53" fmla="*/ 184 h 224"/>
              <a:gd name="T54" fmla="*/ 16 w 208"/>
              <a:gd name="T55" fmla="*/ 124 h 224"/>
              <a:gd name="T56" fmla="*/ 100 w 208"/>
              <a:gd name="T57" fmla="*/ 124 h 224"/>
              <a:gd name="T58" fmla="*/ 100 w 208"/>
              <a:gd name="T59" fmla="*/ 68 h 224"/>
              <a:gd name="T60" fmla="*/ 40 w 208"/>
              <a:gd name="T61" fmla="*/ 68 h 224"/>
              <a:gd name="T62" fmla="*/ 40 w 208"/>
              <a:gd name="T63" fmla="*/ 0 h 224"/>
              <a:gd name="T64" fmla="*/ 168 w 208"/>
              <a:gd name="T65" fmla="*/ 0 h 224"/>
              <a:gd name="T66" fmla="*/ 32 w 208"/>
              <a:gd name="T67" fmla="*/ 192 h 224"/>
              <a:gd name="T68" fmla="*/ 8 w 208"/>
              <a:gd name="T69" fmla="*/ 192 h 224"/>
              <a:gd name="T70" fmla="*/ 8 w 208"/>
              <a:gd name="T71" fmla="*/ 216 h 224"/>
              <a:gd name="T72" fmla="*/ 32 w 208"/>
              <a:gd name="T73" fmla="*/ 216 h 224"/>
              <a:gd name="T74" fmla="*/ 32 w 208"/>
              <a:gd name="T75" fmla="*/ 192 h 224"/>
              <a:gd name="T76" fmla="*/ 116 w 208"/>
              <a:gd name="T77" fmla="*/ 192 h 224"/>
              <a:gd name="T78" fmla="*/ 92 w 208"/>
              <a:gd name="T79" fmla="*/ 192 h 224"/>
              <a:gd name="T80" fmla="*/ 92 w 208"/>
              <a:gd name="T81" fmla="*/ 216 h 224"/>
              <a:gd name="T82" fmla="*/ 116 w 208"/>
              <a:gd name="T83" fmla="*/ 216 h 224"/>
              <a:gd name="T84" fmla="*/ 116 w 208"/>
              <a:gd name="T85" fmla="*/ 192 h 224"/>
              <a:gd name="T86" fmla="*/ 200 w 208"/>
              <a:gd name="T87" fmla="*/ 192 h 224"/>
              <a:gd name="T88" fmla="*/ 176 w 208"/>
              <a:gd name="T89" fmla="*/ 192 h 224"/>
              <a:gd name="T90" fmla="*/ 176 w 208"/>
              <a:gd name="T91" fmla="*/ 216 h 224"/>
              <a:gd name="T92" fmla="*/ 200 w 208"/>
              <a:gd name="T93" fmla="*/ 216 h 224"/>
              <a:gd name="T94" fmla="*/ 200 w 208"/>
              <a:gd name="T95" fmla="*/ 192 h 224"/>
              <a:gd name="T96" fmla="*/ 160 w 208"/>
              <a:gd name="T97" fmla="*/ 8 h 224"/>
              <a:gd name="T98" fmla="*/ 48 w 208"/>
              <a:gd name="T99" fmla="*/ 8 h 224"/>
              <a:gd name="T100" fmla="*/ 48 w 208"/>
              <a:gd name="T101" fmla="*/ 60 h 224"/>
              <a:gd name="T102" fmla="*/ 160 w 208"/>
              <a:gd name="T103" fmla="*/ 60 h 224"/>
              <a:gd name="T104" fmla="*/ 160 w 208"/>
              <a:gd name="T105" fmla="*/ 8 h 224"/>
              <a:gd name="T106" fmla="*/ 66 w 208"/>
              <a:gd name="T107" fmla="*/ 36 h 224"/>
              <a:gd name="T108" fmla="*/ 72 w 208"/>
              <a:gd name="T109" fmla="*/ 42 h 224"/>
              <a:gd name="T110" fmla="*/ 66 w 208"/>
              <a:gd name="T111" fmla="*/ 48 h 224"/>
              <a:gd name="T112" fmla="*/ 60 w 208"/>
              <a:gd name="T113" fmla="*/ 42 h 224"/>
              <a:gd name="T114" fmla="*/ 66 w 208"/>
              <a:gd name="T115" fmla="*/ 3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8" h="224">
                <a:moveTo>
                  <a:pt x="168" y="0"/>
                </a:moveTo>
                <a:cubicBezTo>
                  <a:pt x="168" y="68"/>
                  <a:pt x="168" y="68"/>
                  <a:pt x="168" y="68"/>
                </a:cubicBezTo>
                <a:cubicBezTo>
                  <a:pt x="108" y="68"/>
                  <a:pt x="108" y="68"/>
                  <a:pt x="108" y="68"/>
                </a:cubicBezTo>
                <a:cubicBezTo>
                  <a:pt x="108" y="124"/>
                  <a:pt x="108" y="124"/>
                  <a:pt x="108" y="124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2" y="184"/>
                  <a:pt x="192" y="184"/>
                  <a:pt x="192" y="184"/>
                </a:cubicBezTo>
                <a:cubicBezTo>
                  <a:pt x="208" y="184"/>
                  <a:pt x="208" y="184"/>
                  <a:pt x="208" y="184"/>
                </a:cubicBezTo>
                <a:cubicBezTo>
                  <a:pt x="208" y="224"/>
                  <a:pt x="208" y="224"/>
                  <a:pt x="208" y="224"/>
                </a:cubicBezTo>
                <a:cubicBezTo>
                  <a:pt x="168" y="224"/>
                  <a:pt x="168" y="224"/>
                  <a:pt x="168" y="224"/>
                </a:cubicBezTo>
                <a:cubicBezTo>
                  <a:pt x="168" y="184"/>
                  <a:pt x="168" y="184"/>
                  <a:pt x="168" y="184"/>
                </a:cubicBezTo>
                <a:cubicBezTo>
                  <a:pt x="184" y="184"/>
                  <a:pt x="184" y="184"/>
                  <a:pt x="184" y="184"/>
                </a:cubicBezTo>
                <a:cubicBezTo>
                  <a:pt x="184" y="132"/>
                  <a:pt x="184" y="132"/>
                  <a:pt x="184" y="132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08" y="184"/>
                  <a:pt x="108" y="184"/>
                  <a:pt x="108" y="184"/>
                </a:cubicBezTo>
                <a:cubicBezTo>
                  <a:pt x="124" y="184"/>
                  <a:pt x="124" y="184"/>
                  <a:pt x="124" y="184"/>
                </a:cubicBezTo>
                <a:cubicBezTo>
                  <a:pt x="124" y="224"/>
                  <a:pt x="124" y="224"/>
                  <a:pt x="124" y="224"/>
                </a:cubicBezTo>
                <a:cubicBezTo>
                  <a:pt x="84" y="224"/>
                  <a:pt x="84" y="224"/>
                  <a:pt x="84" y="224"/>
                </a:cubicBezTo>
                <a:cubicBezTo>
                  <a:pt x="84" y="184"/>
                  <a:pt x="84" y="184"/>
                  <a:pt x="84" y="184"/>
                </a:cubicBezTo>
                <a:cubicBezTo>
                  <a:pt x="100" y="184"/>
                  <a:pt x="100" y="184"/>
                  <a:pt x="100" y="184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24" y="132"/>
                  <a:pt x="24" y="132"/>
                  <a:pt x="24" y="132"/>
                </a:cubicBezTo>
                <a:cubicBezTo>
                  <a:pt x="24" y="184"/>
                  <a:pt x="24" y="184"/>
                  <a:pt x="24" y="184"/>
                </a:cubicBezTo>
                <a:cubicBezTo>
                  <a:pt x="40" y="184"/>
                  <a:pt x="40" y="184"/>
                  <a:pt x="40" y="184"/>
                </a:cubicBezTo>
                <a:cubicBezTo>
                  <a:pt x="40" y="224"/>
                  <a:pt x="40" y="224"/>
                  <a:pt x="40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184"/>
                  <a:pt x="0" y="184"/>
                  <a:pt x="0" y="184"/>
                </a:cubicBezTo>
                <a:cubicBezTo>
                  <a:pt x="16" y="184"/>
                  <a:pt x="16" y="184"/>
                  <a:pt x="16" y="184"/>
                </a:cubicBezTo>
                <a:cubicBezTo>
                  <a:pt x="16" y="124"/>
                  <a:pt x="16" y="124"/>
                  <a:pt x="16" y="124"/>
                </a:cubicBezTo>
                <a:cubicBezTo>
                  <a:pt x="100" y="124"/>
                  <a:pt x="100" y="124"/>
                  <a:pt x="100" y="124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0"/>
                  <a:pt x="40" y="0"/>
                  <a:pt x="40" y="0"/>
                </a:cubicBezTo>
                <a:lnTo>
                  <a:pt x="168" y="0"/>
                </a:lnTo>
                <a:close/>
                <a:moveTo>
                  <a:pt x="32" y="192"/>
                </a:moveTo>
                <a:cubicBezTo>
                  <a:pt x="8" y="192"/>
                  <a:pt x="8" y="192"/>
                  <a:pt x="8" y="192"/>
                </a:cubicBezTo>
                <a:cubicBezTo>
                  <a:pt x="8" y="216"/>
                  <a:pt x="8" y="216"/>
                  <a:pt x="8" y="216"/>
                </a:cubicBezTo>
                <a:cubicBezTo>
                  <a:pt x="32" y="216"/>
                  <a:pt x="32" y="216"/>
                  <a:pt x="32" y="216"/>
                </a:cubicBezTo>
                <a:lnTo>
                  <a:pt x="32" y="192"/>
                </a:lnTo>
                <a:close/>
                <a:moveTo>
                  <a:pt x="116" y="192"/>
                </a:moveTo>
                <a:cubicBezTo>
                  <a:pt x="92" y="192"/>
                  <a:pt x="92" y="192"/>
                  <a:pt x="92" y="192"/>
                </a:cubicBezTo>
                <a:cubicBezTo>
                  <a:pt x="92" y="216"/>
                  <a:pt x="92" y="216"/>
                  <a:pt x="92" y="216"/>
                </a:cubicBezTo>
                <a:cubicBezTo>
                  <a:pt x="116" y="216"/>
                  <a:pt x="116" y="216"/>
                  <a:pt x="116" y="216"/>
                </a:cubicBezTo>
                <a:lnTo>
                  <a:pt x="116" y="192"/>
                </a:lnTo>
                <a:close/>
                <a:moveTo>
                  <a:pt x="200" y="192"/>
                </a:moveTo>
                <a:cubicBezTo>
                  <a:pt x="176" y="192"/>
                  <a:pt x="176" y="192"/>
                  <a:pt x="176" y="192"/>
                </a:cubicBezTo>
                <a:cubicBezTo>
                  <a:pt x="176" y="216"/>
                  <a:pt x="176" y="216"/>
                  <a:pt x="176" y="216"/>
                </a:cubicBezTo>
                <a:cubicBezTo>
                  <a:pt x="200" y="216"/>
                  <a:pt x="200" y="216"/>
                  <a:pt x="200" y="216"/>
                </a:cubicBezTo>
                <a:lnTo>
                  <a:pt x="200" y="192"/>
                </a:lnTo>
                <a:close/>
                <a:moveTo>
                  <a:pt x="160" y="8"/>
                </a:moveTo>
                <a:cubicBezTo>
                  <a:pt x="48" y="8"/>
                  <a:pt x="48" y="8"/>
                  <a:pt x="48" y="8"/>
                </a:cubicBezTo>
                <a:cubicBezTo>
                  <a:pt x="48" y="60"/>
                  <a:pt x="48" y="60"/>
                  <a:pt x="48" y="60"/>
                </a:cubicBezTo>
                <a:cubicBezTo>
                  <a:pt x="160" y="60"/>
                  <a:pt x="160" y="60"/>
                  <a:pt x="160" y="60"/>
                </a:cubicBezTo>
                <a:lnTo>
                  <a:pt x="160" y="8"/>
                </a:lnTo>
                <a:close/>
                <a:moveTo>
                  <a:pt x="66" y="36"/>
                </a:moveTo>
                <a:cubicBezTo>
                  <a:pt x="69" y="36"/>
                  <a:pt x="72" y="39"/>
                  <a:pt x="72" y="42"/>
                </a:cubicBezTo>
                <a:cubicBezTo>
                  <a:pt x="72" y="45"/>
                  <a:pt x="69" y="48"/>
                  <a:pt x="66" y="48"/>
                </a:cubicBezTo>
                <a:cubicBezTo>
                  <a:pt x="63" y="48"/>
                  <a:pt x="60" y="45"/>
                  <a:pt x="60" y="42"/>
                </a:cubicBezTo>
                <a:cubicBezTo>
                  <a:pt x="60" y="39"/>
                  <a:pt x="63" y="36"/>
                  <a:pt x="66" y="36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44" name="ïśļïdè">
            <a:extLst>
              <a:ext uri="{FF2B5EF4-FFF2-40B4-BE49-F238E27FC236}">
                <a16:creationId xmlns:a16="http://schemas.microsoft.com/office/drawing/2014/main" id="{96105B18-AE1F-4DE1-A9E5-993F5997A545}"/>
              </a:ext>
            </a:extLst>
          </p:cNvPr>
          <p:cNvSpPr/>
          <p:nvPr/>
        </p:nvSpPr>
        <p:spPr>
          <a:xfrm>
            <a:off x="3709639" y="1975329"/>
            <a:ext cx="480460" cy="523875"/>
          </a:xfrm>
          <a:custGeom>
            <a:avLst/>
            <a:gdLst>
              <a:gd name="T0" fmla="*/ 156 w 208"/>
              <a:gd name="T1" fmla="*/ 0 h 224"/>
              <a:gd name="T2" fmla="*/ 156 w 208"/>
              <a:gd name="T3" fmla="*/ 8 h 224"/>
              <a:gd name="T4" fmla="*/ 144 w 208"/>
              <a:gd name="T5" fmla="*/ 8 h 224"/>
              <a:gd name="T6" fmla="*/ 144 w 208"/>
              <a:gd name="T7" fmla="*/ 59 h 224"/>
              <a:gd name="T8" fmla="*/ 208 w 208"/>
              <a:gd name="T9" fmla="*/ 204 h 224"/>
              <a:gd name="T10" fmla="*/ 201 w 208"/>
              <a:gd name="T11" fmla="*/ 224 h 224"/>
              <a:gd name="T12" fmla="*/ 7 w 208"/>
              <a:gd name="T13" fmla="*/ 224 h 224"/>
              <a:gd name="T14" fmla="*/ 0 w 208"/>
              <a:gd name="T15" fmla="*/ 204 h 224"/>
              <a:gd name="T16" fmla="*/ 64 w 208"/>
              <a:gd name="T17" fmla="*/ 59 h 224"/>
              <a:gd name="T18" fmla="*/ 64 w 208"/>
              <a:gd name="T19" fmla="*/ 8 h 224"/>
              <a:gd name="T20" fmla="*/ 52 w 208"/>
              <a:gd name="T21" fmla="*/ 8 h 224"/>
              <a:gd name="T22" fmla="*/ 52 w 208"/>
              <a:gd name="T23" fmla="*/ 0 h 224"/>
              <a:gd name="T24" fmla="*/ 156 w 208"/>
              <a:gd name="T25" fmla="*/ 0 h 224"/>
              <a:gd name="T26" fmla="*/ 108 w 208"/>
              <a:gd name="T27" fmla="*/ 174 h 224"/>
              <a:gd name="T28" fmla="*/ 106 w 208"/>
              <a:gd name="T29" fmla="*/ 175 h 224"/>
              <a:gd name="T30" fmla="*/ 22 w 208"/>
              <a:gd name="T31" fmla="*/ 174 h 224"/>
              <a:gd name="T32" fmla="*/ 8 w 208"/>
              <a:gd name="T33" fmla="*/ 204 h 224"/>
              <a:gd name="T34" fmla="*/ 13 w 208"/>
              <a:gd name="T35" fmla="*/ 216 h 224"/>
              <a:gd name="T36" fmla="*/ 195 w 208"/>
              <a:gd name="T37" fmla="*/ 216 h 224"/>
              <a:gd name="T38" fmla="*/ 200 w 208"/>
              <a:gd name="T39" fmla="*/ 204 h 224"/>
              <a:gd name="T40" fmla="*/ 185 w 208"/>
              <a:gd name="T41" fmla="*/ 171 h 224"/>
              <a:gd name="T42" fmla="*/ 108 w 208"/>
              <a:gd name="T43" fmla="*/ 174 h 224"/>
              <a:gd name="T44" fmla="*/ 136 w 208"/>
              <a:gd name="T45" fmla="*/ 8 h 224"/>
              <a:gd name="T46" fmla="*/ 72 w 208"/>
              <a:gd name="T47" fmla="*/ 8 h 224"/>
              <a:gd name="T48" fmla="*/ 72 w 208"/>
              <a:gd name="T49" fmla="*/ 61 h 224"/>
              <a:gd name="T50" fmla="*/ 25 w 208"/>
              <a:gd name="T51" fmla="*/ 166 h 224"/>
              <a:gd name="T52" fmla="*/ 101 w 208"/>
              <a:gd name="T53" fmla="*/ 170 h 224"/>
              <a:gd name="T54" fmla="*/ 102 w 208"/>
              <a:gd name="T55" fmla="*/ 169 h 224"/>
              <a:gd name="T56" fmla="*/ 180 w 208"/>
              <a:gd name="T57" fmla="*/ 160 h 224"/>
              <a:gd name="T58" fmla="*/ 136 w 208"/>
              <a:gd name="T59" fmla="*/ 61 h 224"/>
              <a:gd name="T60" fmla="*/ 136 w 208"/>
              <a:gd name="T61" fmla="*/ 8 h 224"/>
              <a:gd name="T62" fmla="*/ 130 w 208"/>
              <a:gd name="T63" fmla="*/ 104 h 224"/>
              <a:gd name="T64" fmla="*/ 148 w 208"/>
              <a:gd name="T65" fmla="*/ 122 h 224"/>
              <a:gd name="T66" fmla="*/ 130 w 208"/>
              <a:gd name="T67" fmla="*/ 140 h 224"/>
              <a:gd name="T68" fmla="*/ 112 w 208"/>
              <a:gd name="T69" fmla="*/ 122 h 224"/>
              <a:gd name="T70" fmla="*/ 130 w 208"/>
              <a:gd name="T71" fmla="*/ 104 h 224"/>
              <a:gd name="T72" fmla="*/ 130 w 208"/>
              <a:gd name="T73" fmla="*/ 112 h 224"/>
              <a:gd name="T74" fmla="*/ 120 w 208"/>
              <a:gd name="T75" fmla="*/ 122 h 224"/>
              <a:gd name="T76" fmla="*/ 130 w 208"/>
              <a:gd name="T77" fmla="*/ 132 h 224"/>
              <a:gd name="T78" fmla="*/ 140 w 208"/>
              <a:gd name="T79" fmla="*/ 122 h 224"/>
              <a:gd name="T80" fmla="*/ 130 w 208"/>
              <a:gd name="T81" fmla="*/ 112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8" h="224">
                <a:moveTo>
                  <a:pt x="156" y="0"/>
                </a:moveTo>
                <a:cubicBezTo>
                  <a:pt x="156" y="8"/>
                  <a:pt x="156" y="8"/>
                  <a:pt x="156" y="8"/>
                </a:cubicBezTo>
                <a:cubicBezTo>
                  <a:pt x="144" y="8"/>
                  <a:pt x="144" y="8"/>
                  <a:pt x="144" y="8"/>
                </a:cubicBezTo>
                <a:cubicBezTo>
                  <a:pt x="144" y="59"/>
                  <a:pt x="144" y="59"/>
                  <a:pt x="144" y="59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1" y="224"/>
                  <a:pt x="201" y="224"/>
                  <a:pt x="201" y="224"/>
                </a:cubicBezTo>
                <a:cubicBezTo>
                  <a:pt x="7" y="224"/>
                  <a:pt x="7" y="224"/>
                  <a:pt x="7" y="224"/>
                </a:cubicBezTo>
                <a:cubicBezTo>
                  <a:pt x="0" y="204"/>
                  <a:pt x="0" y="204"/>
                  <a:pt x="0" y="204"/>
                </a:cubicBezTo>
                <a:cubicBezTo>
                  <a:pt x="64" y="59"/>
                  <a:pt x="64" y="59"/>
                  <a:pt x="64" y="59"/>
                </a:cubicBezTo>
                <a:cubicBezTo>
                  <a:pt x="64" y="8"/>
                  <a:pt x="64" y="8"/>
                  <a:pt x="64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2" y="0"/>
                  <a:pt x="52" y="0"/>
                  <a:pt x="52" y="0"/>
                </a:cubicBezTo>
                <a:lnTo>
                  <a:pt x="156" y="0"/>
                </a:lnTo>
                <a:close/>
                <a:moveTo>
                  <a:pt x="108" y="174"/>
                </a:moveTo>
                <a:cubicBezTo>
                  <a:pt x="106" y="175"/>
                  <a:pt x="106" y="175"/>
                  <a:pt x="106" y="175"/>
                </a:cubicBezTo>
                <a:cubicBezTo>
                  <a:pt x="83" y="192"/>
                  <a:pt x="50" y="191"/>
                  <a:pt x="22" y="174"/>
                </a:cubicBezTo>
                <a:cubicBezTo>
                  <a:pt x="8" y="204"/>
                  <a:pt x="8" y="204"/>
                  <a:pt x="8" y="204"/>
                </a:cubicBezTo>
                <a:cubicBezTo>
                  <a:pt x="13" y="216"/>
                  <a:pt x="13" y="216"/>
                  <a:pt x="13" y="216"/>
                </a:cubicBezTo>
                <a:cubicBezTo>
                  <a:pt x="195" y="216"/>
                  <a:pt x="195" y="216"/>
                  <a:pt x="195" y="216"/>
                </a:cubicBezTo>
                <a:cubicBezTo>
                  <a:pt x="200" y="204"/>
                  <a:pt x="200" y="204"/>
                  <a:pt x="200" y="204"/>
                </a:cubicBezTo>
                <a:cubicBezTo>
                  <a:pt x="185" y="171"/>
                  <a:pt x="185" y="171"/>
                  <a:pt x="185" y="171"/>
                </a:cubicBezTo>
                <a:cubicBezTo>
                  <a:pt x="159" y="159"/>
                  <a:pt x="128" y="160"/>
                  <a:pt x="108" y="174"/>
                </a:cubicBezTo>
                <a:close/>
                <a:moveTo>
                  <a:pt x="136" y="8"/>
                </a:moveTo>
                <a:cubicBezTo>
                  <a:pt x="72" y="8"/>
                  <a:pt x="72" y="8"/>
                  <a:pt x="72" y="8"/>
                </a:cubicBezTo>
                <a:cubicBezTo>
                  <a:pt x="72" y="61"/>
                  <a:pt x="72" y="61"/>
                  <a:pt x="72" y="61"/>
                </a:cubicBezTo>
                <a:cubicBezTo>
                  <a:pt x="25" y="166"/>
                  <a:pt x="25" y="166"/>
                  <a:pt x="25" y="166"/>
                </a:cubicBezTo>
                <a:cubicBezTo>
                  <a:pt x="50" y="182"/>
                  <a:pt x="80" y="183"/>
                  <a:pt x="101" y="170"/>
                </a:cubicBezTo>
                <a:cubicBezTo>
                  <a:pt x="102" y="169"/>
                  <a:pt x="102" y="169"/>
                  <a:pt x="102" y="169"/>
                </a:cubicBezTo>
                <a:cubicBezTo>
                  <a:pt x="123" y="154"/>
                  <a:pt x="153" y="151"/>
                  <a:pt x="180" y="160"/>
                </a:cubicBezTo>
                <a:cubicBezTo>
                  <a:pt x="136" y="61"/>
                  <a:pt x="136" y="61"/>
                  <a:pt x="136" y="61"/>
                </a:cubicBezTo>
                <a:lnTo>
                  <a:pt x="136" y="8"/>
                </a:lnTo>
                <a:close/>
                <a:moveTo>
                  <a:pt x="130" y="104"/>
                </a:moveTo>
                <a:cubicBezTo>
                  <a:pt x="140" y="104"/>
                  <a:pt x="148" y="112"/>
                  <a:pt x="148" y="122"/>
                </a:cubicBezTo>
                <a:cubicBezTo>
                  <a:pt x="148" y="132"/>
                  <a:pt x="140" y="140"/>
                  <a:pt x="130" y="140"/>
                </a:cubicBezTo>
                <a:cubicBezTo>
                  <a:pt x="120" y="140"/>
                  <a:pt x="112" y="132"/>
                  <a:pt x="112" y="122"/>
                </a:cubicBezTo>
                <a:cubicBezTo>
                  <a:pt x="112" y="112"/>
                  <a:pt x="120" y="104"/>
                  <a:pt x="130" y="104"/>
                </a:cubicBezTo>
                <a:close/>
                <a:moveTo>
                  <a:pt x="130" y="112"/>
                </a:moveTo>
                <a:cubicBezTo>
                  <a:pt x="124" y="112"/>
                  <a:pt x="120" y="116"/>
                  <a:pt x="120" y="122"/>
                </a:cubicBezTo>
                <a:cubicBezTo>
                  <a:pt x="120" y="128"/>
                  <a:pt x="124" y="132"/>
                  <a:pt x="130" y="132"/>
                </a:cubicBezTo>
                <a:cubicBezTo>
                  <a:pt x="136" y="132"/>
                  <a:pt x="140" y="128"/>
                  <a:pt x="140" y="122"/>
                </a:cubicBezTo>
                <a:cubicBezTo>
                  <a:pt x="140" y="116"/>
                  <a:pt x="136" y="112"/>
                  <a:pt x="130" y="1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48" name="îSḷídé">
            <a:extLst>
              <a:ext uri="{FF2B5EF4-FFF2-40B4-BE49-F238E27FC236}">
                <a16:creationId xmlns:a16="http://schemas.microsoft.com/office/drawing/2014/main" id="{E142BE92-0B8F-4637-8F49-7445E42B27CA}"/>
              </a:ext>
            </a:extLst>
          </p:cNvPr>
          <p:cNvSpPr/>
          <p:nvPr/>
        </p:nvSpPr>
        <p:spPr>
          <a:xfrm>
            <a:off x="5841752" y="2018619"/>
            <a:ext cx="523875" cy="437295"/>
          </a:xfrm>
          <a:custGeom>
            <a:avLst/>
            <a:gdLst>
              <a:gd name="T0" fmla="*/ 224 w 224"/>
              <a:gd name="T1" fmla="*/ 0 h 184"/>
              <a:gd name="T2" fmla="*/ 224 w 224"/>
              <a:gd name="T3" fmla="*/ 156 h 184"/>
              <a:gd name="T4" fmla="*/ 86 w 224"/>
              <a:gd name="T5" fmla="*/ 156 h 184"/>
              <a:gd name="T6" fmla="*/ 48 w 224"/>
              <a:gd name="T7" fmla="*/ 184 h 184"/>
              <a:gd name="T8" fmla="*/ 48 w 224"/>
              <a:gd name="T9" fmla="*/ 156 h 184"/>
              <a:gd name="T10" fmla="*/ 0 w 224"/>
              <a:gd name="T11" fmla="*/ 156 h 184"/>
              <a:gd name="T12" fmla="*/ 0 w 224"/>
              <a:gd name="T13" fmla="*/ 0 h 184"/>
              <a:gd name="T14" fmla="*/ 224 w 224"/>
              <a:gd name="T15" fmla="*/ 0 h 184"/>
              <a:gd name="T16" fmla="*/ 216 w 224"/>
              <a:gd name="T17" fmla="*/ 8 h 184"/>
              <a:gd name="T18" fmla="*/ 8 w 224"/>
              <a:gd name="T19" fmla="*/ 8 h 184"/>
              <a:gd name="T20" fmla="*/ 8 w 224"/>
              <a:gd name="T21" fmla="*/ 148 h 184"/>
              <a:gd name="T22" fmla="*/ 56 w 224"/>
              <a:gd name="T23" fmla="*/ 148 h 184"/>
              <a:gd name="T24" fmla="*/ 56 w 224"/>
              <a:gd name="T25" fmla="*/ 168 h 184"/>
              <a:gd name="T26" fmla="*/ 83 w 224"/>
              <a:gd name="T27" fmla="*/ 148 h 184"/>
              <a:gd name="T28" fmla="*/ 216 w 224"/>
              <a:gd name="T29" fmla="*/ 148 h 184"/>
              <a:gd name="T30" fmla="*/ 216 w 224"/>
              <a:gd name="T31" fmla="*/ 8 h 184"/>
              <a:gd name="T32" fmla="*/ 56 w 224"/>
              <a:gd name="T33" fmla="*/ 60 h 184"/>
              <a:gd name="T34" fmla="*/ 74 w 224"/>
              <a:gd name="T35" fmla="*/ 78 h 184"/>
              <a:gd name="T36" fmla="*/ 56 w 224"/>
              <a:gd name="T37" fmla="*/ 96 h 184"/>
              <a:gd name="T38" fmla="*/ 38 w 224"/>
              <a:gd name="T39" fmla="*/ 78 h 184"/>
              <a:gd name="T40" fmla="*/ 56 w 224"/>
              <a:gd name="T41" fmla="*/ 60 h 184"/>
              <a:gd name="T42" fmla="*/ 112 w 224"/>
              <a:gd name="T43" fmla="*/ 60 h 184"/>
              <a:gd name="T44" fmla="*/ 130 w 224"/>
              <a:gd name="T45" fmla="*/ 78 h 184"/>
              <a:gd name="T46" fmla="*/ 112 w 224"/>
              <a:gd name="T47" fmla="*/ 96 h 184"/>
              <a:gd name="T48" fmla="*/ 94 w 224"/>
              <a:gd name="T49" fmla="*/ 78 h 184"/>
              <a:gd name="T50" fmla="*/ 112 w 224"/>
              <a:gd name="T51" fmla="*/ 60 h 184"/>
              <a:gd name="T52" fmla="*/ 168 w 224"/>
              <a:gd name="T53" fmla="*/ 60 h 184"/>
              <a:gd name="T54" fmla="*/ 186 w 224"/>
              <a:gd name="T55" fmla="*/ 78 h 184"/>
              <a:gd name="T56" fmla="*/ 168 w 224"/>
              <a:gd name="T57" fmla="*/ 96 h 184"/>
              <a:gd name="T58" fmla="*/ 150 w 224"/>
              <a:gd name="T59" fmla="*/ 78 h 184"/>
              <a:gd name="T60" fmla="*/ 168 w 224"/>
              <a:gd name="T61" fmla="*/ 60 h 184"/>
              <a:gd name="T62" fmla="*/ 56 w 224"/>
              <a:gd name="T63" fmla="*/ 68 h 184"/>
              <a:gd name="T64" fmla="*/ 46 w 224"/>
              <a:gd name="T65" fmla="*/ 78 h 184"/>
              <a:gd name="T66" fmla="*/ 56 w 224"/>
              <a:gd name="T67" fmla="*/ 88 h 184"/>
              <a:gd name="T68" fmla="*/ 66 w 224"/>
              <a:gd name="T69" fmla="*/ 78 h 184"/>
              <a:gd name="T70" fmla="*/ 56 w 224"/>
              <a:gd name="T71" fmla="*/ 68 h 184"/>
              <a:gd name="T72" fmla="*/ 112 w 224"/>
              <a:gd name="T73" fmla="*/ 68 h 184"/>
              <a:gd name="T74" fmla="*/ 102 w 224"/>
              <a:gd name="T75" fmla="*/ 78 h 184"/>
              <a:gd name="T76" fmla="*/ 112 w 224"/>
              <a:gd name="T77" fmla="*/ 88 h 184"/>
              <a:gd name="T78" fmla="*/ 122 w 224"/>
              <a:gd name="T79" fmla="*/ 78 h 184"/>
              <a:gd name="T80" fmla="*/ 112 w 224"/>
              <a:gd name="T81" fmla="*/ 68 h 184"/>
              <a:gd name="T82" fmla="*/ 168 w 224"/>
              <a:gd name="T83" fmla="*/ 68 h 184"/>
              <a:gd name="T84" fmla="*/ 158 w 224"/>
              <a:gd name="T85" fmla="*/ 78 h 184"/>
              <a:gd name="T86" fmla="*/ 168 w 224"/>
              <a:gd name="T87" fmla="*/ 88 h 184"/>
              <a:gd name="T88" fmla="*/ 178 w 224"/>
              <a:gd name="T89" fmla="*/ 78 h 184"/>
              <a:gd name="T90" fmla="*/ 168 w 224"/>
              <a:gd name="T91" fmla="*/ 68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4" h="184">
                <a:moveTo>
                  <a:pt x="224" y="0"/>
                </a:moveTo>
                <a:cubicBezTo>
                  <a:pt x="224" y="156"/>
                  <a:pt x="224" y="156"/>
                  <a:pt x="224" y="156"/>
                </a:cubicBezTo>
                <a:cubicBezTo>
                  <a:pt x="86" y="156"/>
                  <a:pt x="86" y="156"/>
                  <a:pt x="86" y="156"/>
                </a:cubicBezTo>
                <a:cubicBezTo>
                  <a:pt x="48" y="184"/>
                  <a:pt x="48" y="184"/>
                  <a:pt x="48" y="184"/>
                </a:cubicBezTo>
                <a:cubicBezTo>
                  <a:pt x="48" y="156"/>
                  <a:pt x="48" y="156"/>
                  <a:pt x="48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216" y="8"/>
                </a:moveTo>
                <a:cubicBezTo>
                  <a:pt x="8" y="8"/>
                  <a:pt x="8" y="8"/>
                  <a:pt x="8" y="8"/>
                </a:cubicBezTo>
                <a:cubicBezTo>
                  <a:pt x="8" y="148"/>
                  <a:pt x="8" y="148"/>
                  <a:pt x="8" y="148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68"/>
                  <a:pt x="56" y="168"/>
                  <a:pt x="56" y="168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216" y="148"/>
                  <a:pt x="216" y="148"/>
                  <a:pt x="216" y="148"/>
                </a:cubicBezTo>
                <a:lnTo>
                  <a:pt x="216" y="8"/>
                </a:lnTo>
                <a:close/>
                <a:moveTo>
                  <a:pt x="56" y="60"/>
                </a:moveTo>
                <a:cubicBezTo>
                  <a:pt x="66" y="60"/>
                  <a:pt x="74" y="68"/>
                  <a:pt x="74" y="78"/>
                </a:cubicBezTo>
                <a:cubicBezTo>
                  <a:pt x="74" y="88"/>
                  <a:pt x="66" y="96"/>
                  <a:pt x="56" y="96"/>
                </a:cubicBezTo>
                <a:cubicBezTo>
                  <a:pt x="46" y="96"/>
                  <a:pt x="38" y="88"/>
                  <a:pt x="38" y="78"/>
                </a:cubicBezTo>
                <a:cubicBezTo>
                  <a:pt x="38" y="68"/>
                  <a:pt x="46" y="60"/>
                  <a:pt x="56" y="60"/>
                </a:cubicBezTo>
                <a:close/>
                <a:moveTo>
                  <a:pt x="112" y="60"/>
                </a:moveTo>
                <a:cubicBezTo>
                  <a:pt x="122" y="60"/>
                  <a:pt x="130" y="68"/>
                  <a:pt x="130" y="78"/>
                </a:cubicBezTo>
                <a:cubicBezTo>
                  <a:pt x="130" y="88"/>
                  <a:pt x="122" y="96"/>
                  <a:pt x="112" y="96"/>
                </a:cubicBezTo>
                <a:cubicBezTo>
                  <a:pt x="102" y="96"/>
                  <a:pt x="94" y="88"/>
                  <a:pt x="94" y="78"/>
                </a:cubicBezTo>
                <a:cubicBezTo>
                  <a:pt x="94" y="68"/>
                  <a:pt x="102" y="60"/>
                  <a:pt x="112" y="60"/>
                </a:cubicBezTo>
                <a:close/>
                <a:moveTo>
                  <a:pt x="168" y="60"/>
                </a:moveTo>
                <a:cubicBezTo>
                  <a:pt x="178" y="60"/>
                  <a:pt x="186" y="68"/>
                  <a:pt x="186" y="78"/>
                </a:cubicBezTo>
                <a:cubicBezTo>
                  <a:pt x="186" y="88"/>
                  <a:pt x="178" y="96"/>
                  <a:pt x="168" y="96"/>
                </a:cubicBezTo>
                <a:cubicBezTo>
                  <a:pt x="158" y="96"/>
                  <a:pt x="150" y="88"/>
                  <a:pt x="150" y="78"/>
                </a:cubicBezTo>
                <a:cubicBezTo>
                  <a:pt x="150" y="68"/>
                  <a:pt x="158" y="60"/>
                  <a:pt x="168" y="60"/>
                </a:cubicBezTo>
                <a:close/>
                <a:moveTo>
                  <a:pt x="56" y="68"/>
                </a:moveTo>
                <a:cubicBezTo>
                  <a:pt x="50" y="68"/>
                  <a:pt x="46" y="72"/>
                  <a:pt x="46" y="78"/>
                </a:cubicBezTo>
                <a:cubicBezTo>
                  <a:pt x="46" y="84"/>
                  <a:pt x="50" y="88"/>
                  <a:pt x="56" y="88"/>
                </a:cubicBezTo>
                <a:cubicBezTo>
                  <a:pt x="62" y="88"/>
                  <a:pt x="66" y="84"/>
                  <a:pt x="66" y="78"/>
                </a:cubicBezTo>
                <a:cubicBezTo>
                  <a:pt x="66" y="72"/>
                  <a:pt x="62" y="68"/>
                  <a:pt x="56" y="68"/>
                </a:cubicBezTo>
                <a:close/>
                <a:moveTo>
                  <a:pt x="112" y="68"/>
                </a:moveTo>
                <a:cubicBezTo>
                  <a:pt x="106" y="68"/>
                  <a:pt x="102" y="72"/>
                  <a:pt x="102" y="78"/>
                </a:cubicBezTo>
                <a:cubicBezTo>
                  <a:pt x="102" y="84"/>
                  <a:pt x="106" y="88"/>
                  <a:pt x="112" y="88"/>
                </a:cubicBezTo>
                <a:cubicBezTo>
                  <a:pt x="118" y="88"/>
                  <a:pt x="122" y="84"/>
                  <a:pt x="122" y="78"/>
                </a:cubicBezTo>
                <a:cubicBezTo>
                  <a:pt x="122" y="72"/>
                  <a:pt x="118" y="68"/>
                  <a:pt x="112" y="68"/>
                </a:cubicBezTo>
                <a:close/>
                <a:moveTo>
                  <a:pt x="168" y="68"/>
                </a:moveTo>
                <a:cubicBezTo>
                  <a:pt x="162" y="68"/>
                  <a:pt x="158" y="72"/>
                  <a:pt x="158" y="78"/>
                </a:cubicBezTo>
                <a:cubicBezTo>
                  <a:pt x="158" y="84"/>
                  <a:pt x="162" y="88"/>
                  <a:pt x="168" y="88"/>
                </a:cubicBezTo>
                <a:cubicBezTo>
                  <a:pt x="174" y="88"/>
                  <a:pt x="178" y="84"/>
                  <a:pt x="178" y="78"/>
                </a:cubicBezTo>
                <a:cubicBezTo>
                  <a:pt x="178" y="72"/>
                  <a:pt x="174" y="68"/>
                  <a:pt x="168" y="68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51" name="ïṧ1ïḍé">
            <a:extLst>
              <a:ext uri="{FF2B5EF4-FFF2-40B4-BE49-F238E27FC236}">
                <a16:creationId xmlns:a16="http://schemas.microsoft.com/office/drawing/2014/main" id="{E5C992FE-5942-46B0-80C2-941F52078169}"/>
              </a:ext>
            </a:extLst>
          </p:cNvPr>
          <p:cNvSpPr/>
          <p:nvPr/>
        </p:nvSpPr>
        <p:spPr>
          <a:xfrm>
            <a:off x="8063588" y="1975329"/>
            <a:ext cx="387841" cy="523875"/>
          </a:xfrm>
          <a:custGeom>
            <a:avLst/>
            <a:gdLst>
              <a:gd name="T0" fmla="*/ 197 w 268"/>
              <a:gd name="T1" fmla="*/ 0 h 362"/>
              <a:gd name="T2" fmla="*/ 197 w 268"/>
              <a:gd name="T3" fmla="*/ 25 h 362"/>
              <a:gd name="T4" fmla="*/ 268 w 268"/>
              <a:gd name="T5" fmla="*/ 25 h 362"/>
              <a:gd name="T6" fmla="*/ 268 w 268"/>
              <a:gd name="T7" fmla="*/ 362 h 362"/>
              <a:gd name="T8" fmla="*/ 0 w 268"/>
              <a:gd name="T9" fmla="*/ 362 h 362"/>
              <a:gd name="T10" fmla="*/ 0 w 268"/>
              <a:gd name="T11" fmla="*/ 25 h 362"/>
              <a:gd name="T12" fmla="*/ 70 w 268"/>
              <a:gd name="T13" fmla="*/ 25 h 362"/>
              <a:gd name="T14" fmla="*/ 70 w 268"/>
              <a:gd name="T15" fmla="*/ 0 h 362"/>
              <a:gd name="T16" fmla="*/ 197 w 268"/>
              <a:gd name="T17" fmla="*/ 0 h 362"/>
              <a:gd name="T18" fmla="*/ 70 w 268"/>
              <a:gd name="T19" fmla="*/ 38 h 362"/>
              <a:gd name="T20" fmla="*/ 12 w 268"/>
              <a:gd name="T21" fmla="*/ 38 h 362"/>
              <a:gd name="T22" fmla="*/ 12 w 268"/>
              <a:gd name="T23" fmla="*/ 349 h 362"/>
              <a:gd name="T24" fmla="*/ 255 w 268"/>
              <a:gd name="T25" fmla="*/ 349 h 362"/>
              <a:gd name="T26" fmla="*/ 255 w 268"/>
              <a:gd name="T27" fmla="*/ 38 h 362"/>
              <a:gd name="T28" fmla="*/ 197 w 268"/>
              <a:gd name="T29" fmla="*/ 38 h 362"/>
              <a:gd name="T30" fmla="*/ 197 w 268"/>
              <a:gd name="T31" fmla="*/ 64 h 362"/>
              <a:gd name="T32" fmla="*/ 70 w 268"/>
              <a:gd name="T33" fmla="*/ 64 h 362"/>
              <a:gd name="T34" fmla="*/ 70 w 268"/>
              <a:gd name="T35" fmla="*/ 38 h 362"/>
              <a:gd name="T36" fmla="*/ 134 w 268"/>
              <a:gd name="T37" fmla="*/ 233 h 362"/>
              <a:gd name="T38" fmla="*/ 134 w 268"/>
              <a:gd name="T39" fmla="*/ 246 h 362"/>
              <a:gd name="T40" fmla="*/ 57 w 268"/>
              <a:gd name="T41" fmla="*/ 246 h 362"/>
              <a:gd name="T42" fmla="*/ 57 w 268"/>
              <a:gd name="T43" fmla="*/ 233 h 362"/>
              <a:gd name="T44" fmla="*/ 134 w 268"/>
              <a:gd name="T45" fmla="*/ 233 h 362"/>
              <a:gd name="T46" fmla="*/ 210 w 268"/>
              <a:gd name="T47" fmla="*/ 181 h 362"/>
              <a:gd name="T48" fmla="*/ 210 w 268"/>
              <a:gd name="T49" fmla="*/ 194 h 362"/>
              <a:gd name="T50" fmla="*/ 57 w 268"/>
              <a:gd name="T51" fmla="*/ 194 h 362"/>
              <a:gd name="T52" fmla="*/ 57 w 268"/>
              <a:gd name="T53" fmla="*/ 181 h 362"/>
              <a:gd name="T54" fmla="*/ 210 w 268"/>
              <a:gd name="T55" fmla="*/ 181 h 362"/>
              <a:gd name="T56" fmla="*/ 210 w 268"/>
              <a:gd name="T57" fmla="*/ 129 h 362"/>
              <a:gd name="T58" fmla="*/ 210 w 268"/>
              <a:gd name="T59" fmla="*/ 142 h 362"/>
              <a:gd name="T60" fmla="*/ 57 w 268"/>
              <a:gd name="T61" fmla="*/ 142 h 362"/>
              <a:gd name="T62" fmla="*/ 57 w 268"/>
              <a:gd name="T63" fmla="*/ 129 h 362"/>
              <a:gd name="T64" fmla="*/ 210 w 268"/>
              <a:gd name="T65" fmla="*/ 129 h 362"/>
              <a:gd name="T66" fmla="*/ 185 w 268"/>
              <a:gd name="T67" fmla="*/ 12 h 362"/>
              <a:gd name="T68" fmla="*/ 83 w 268"/>
              <a:gd name="T69" fmla="*/ 12 h 362"/>
              <a:gd name="T70" fmla="*/ 83 w 268"/>
              <a:gd name="T71" fmla="*/ 51 h 362"/>
              <a:gd name="T72" fmla="*/ 185 w 268"/>
              <a:gd name="T73" fmla="*/ 51 h 362"/>
              <a:gd name="T74" fmla="*/ 185 w 268"/>
              <a:gd name="T75" fmla="*/ 12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68" h="362">
                <a:moveTo>
                  <a:pt x="197" y="0"/>
                </a:moveTo>
                <a:lnTo>
                  <a:pt x="197" y="25"/>
                </a:lnTo>
                <a:lnTo>
                  <a:pt x="268" y="25"/>
                </a:lnTo>
                <a:lnTo>
                  <a:pt x="268" y="362"/>
                </a:lnTo>
                <a:lnTo>
                  <a:pt x="0" y="362"/>
                </a:lnTo>
                <a:lnTo>
                  <a:pt x="0" y="25"/>
                </a:lnTo>
                <a:lnTo>
                  <a:pt x="70" y="25"/>
                </a:lnTo>
                <a:lnTo>
                  <a:pt x="70" y="0"/>
                </a:lnTo>
                <a:lnTo>
                  <a:pt x="197" y="0"/>
                </a:lnTo>
                <a:close/>
                <a:moveTo>
                  <a:pt x="70" y="38"/>
                </a:moveTo>
                <a:lnTo>
                  <a:pt x="12" y="38"/>
                </a:lnTo>
                <a:lnTo>
                  <a:pt x="12" y="349"/>
                </a:lnTo>
                <a:lnTo>
                  <a:pt x="255" y="349"/>
                </a:lnTo>
                <a:lnTo>
                  <a:pt x="255" y="38"/>
                </a:lnTo>
                <a:lnTo>
                  <a:pt x="197" y="38"/>
                </a:lnTo>
                <a:lnTo>
                  <a:pt x="197" y="64"/>
                </a:lnTo>
                <a:lnTo>
                  <a:pt x="70" y="64"/>
                </a:lnTo>
                <a:lnTo>
                  <a:pt x="70" y="38"/>
                </a:lnTo>
                <a:close/>
                <a:moveTo>
                  <a:pt x="134" y="233"/>
                </a:moveTo>
                <a:lnTo>
                  <a:pt x="134" y="246"/>
                </a:lnTo>
                <a:lnTo>
                  <a:pt x="57" y="246"/>
                </a:lnTo>
                <a:lnTo>
                  <a:pt x="57" y="233"/>
                </a:lnTo>
                <a:lnTo>
                  <a:pt x="134" y="233"/>
                </a:lnTo>
                <a:close/>
                <a:moveTo>
                  <a:pt x="210" y="181"/>
                </a:moveTo>
                <a:lnTo>
                  <a:pt x="210" y="194"/>
                </a:lnTo>
                <a:lnTo>
                  <a:pt x="57" y="194"/>
                </a:lnTo>
                <a:lnTo>
                  <a:pt x="57" y="181"/>
                </a:lnTo>
                <a:lnTo>
                  <a:pt x="210" y="181"/>
                </a:lnTo>
                <a:close/>
                <a:moveTo>
                  <a:pt x="210" y="129"/>
                </a:moveTo>
                <a:lnTo>
                  <a:pt x="210" y="142"/>
                </a:lnTo>
                <a:lnTo>
                  <a:pt x="57" y="142"/>
                </a:lnTo>
                <a:lnTo>
                  <a:pt x="57" y="129"/>
                </a:lnTo>
                <a:lnTo>
                  <a:pt x="210" y="129"/>
                </a:lnTo>
                <a:close/>
                <a:moveTo>
                  <a:pt x="185" y="12"/>
                </a:moveTo>
                <a:lnTo>
                  <a:pt x="83" y="12"/>
                </a:lnTo>
                <a:lnTo>
                  <a:pt x="83" y="51"/>
                </a:lnTo>
                <a:lnTo>
                  <a:pt x="185" y="51"/>
                </a:lnTo>
                <a:lnTo>
                  <a:pt x="185" y="1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53" name="ïṧļîďé">
            <a:extLst>
              <a:ext uri="{FF2B5EF4-FFF2-40B4-BE49-F238E27FC236}">
                <a16:creationId xmlns:a16="http://schemas.microsoft.com/office/drawing/2014/main" id="{73C3DEC5-1B87-46EC-B94B-0FD8FC2FD77D}"/>
              </a:ext>
            </a:extLst>
          </p:cNvPr>
          <p:cNvSpPr/>
          <p:nvPr/>
        </p:nvSpPr>
        <p:spPr>
          <a:xfrm>
            <a:off x="10149393" y="2014107"/>
            <a:ext cx="523875" cy="446318"/>
          </a:xfrm>
          <a:custGeom>
            <a:avLst/>
            <a:gdLst>
              <a:gd name="T0" fmla="*/ 332 w 358"/>
              <a:gd name="T1" fmla="*/ 0 h 305"/>
              <a:gd name="T2" fmla="*/ 332 w 358"/>
              <a:gd name="T3" fmla="*/ 91 h 305"/>
              <a:gd name="T4" fmla="*/ 358 w 358"/>
              <a:gd name="T5" fmla="*/ 91 h 305"/>
              <a:gd name="T6" fmla="*/ 345 w 358"/>
              <a:gd name="T7" fmla="*/ 272 h 305"/>
              <a:gd name="T8" fmla="*/ 306 w 358"/>
              <a:gd name="T9" fmla="*/ 272 h 305"/>
              <a:gd name="T10" fmla="*/ 306 w 358"/>
              <a:gd name="T11" fmla="*/ 305 h 305"/>
              <a:gd name="T12" fmla="*/ 294 w 358"/>
              <a:gd name="T13" fmla="*/ 305 h 305"/>
              <a:gd name="T14" fmla="*/ 294 w 358"/>
              <a:gd name="T15" fmla="*/ 272 h 305"/>
              <a:gd name="T16" fmla="*/ 64 w 358"/>
              <a:gd name="T17" fmla="*/ 272 h 305"/>
              <a:gd name="T18" fmla="*/ 64 w 358"/>
              <a:gd name="T19" fmla="*/ 305 h 305"/>
              <a:gd name="T20" fmla="*/ 51 w 358"/>
              <a:gd name="T21" fmla="*/ 305 h 305"/>
              <a:gd name="T22" fmla="*/ 51 w 358"/>
              <a:gd name="T23" fmla="*/ 272 h 305"/>
              <a:gd name="T24" fmla="*/ 13 w 358"/>
              <a:gd name="T25" fmla="*/ 272 h 305"/>
              <a:gd name="T26" fmla="*/ 0 w 358"/>
              <a:gd name="T27" fmla="*/ 91 h 305"/>
              <a:gd name="T28" fmla="*/ 32 w 358"/>
              <a:gd name="T29" fmla="*/ 91 h 305"/>
              <a:gd name="T30" fmla="*/ 32 w 358"/>
              <a:gd name="T31" fmla="*/ 0 h 305"/>
              <a:gd name="T32" fmla="*/ 332 w 358"/>
              <a:gd name="T33" fmla="*/ 0 h 305"/>
              <a:gd name="T34" fmla="*/ 59 w 358"/>
              <a:gd name="T35" fmla="*/ 104 h 305"/>
              <a:gd name="T36" fmla="*/ 13 w 358"/>
              <a:gd name="T37" fmla="*/ 104 h 305"/>
              <a:gd name="T38" fmla="*/ 26 w 358"/>
              <a:gd name="T39" fmla="*/ 259 h 305"/>
              <a:gd name="T40" fmla="*/ 332 w 358"/>
              <a:gd name="T41" fmla="*/ 259 h 305"/>
              <a:gd name="T42" fmla="*/ 345 w 358"/>
              <a:gd name="T43" fmla="*/ 104 h 305"/>
              <a:gd name="T44" fmla="*/ 298 w 358"/>
              <a:gd name="T45" fmla="*/ 104 h 305"/>
              <a:gd name="T46" fmla="*/ 279 w 358"/>
              <a:gd name="T47" fmla="*/ 208 h 305"/>
              <a:gd name="T48" fmla="*/ 78 w 358"/>
              <a:gd name="T49" fmla="*/ 208 h 305"/>
              <a:gd name="T50" fmla="*/ 59 w 358"/>
              <a:gd name="T51" fmla="*/ 104 h 305"/>
              <a:gd name="T52" fmla="*/ 319 w 358"/>
              <a:gd name="T53" fmla="*/ 13 h 305"/>
              <a:gd name="T54" fmla="*/ 45 w 358"/>
              <a:gd name="T55" fmla="*/ 13 h 305"/>
              <a:gd name="T56" fmla="*/ 45 w 358"/>
              <a:gd name="T57" fmla="*/ 91 h 305"/>
              <a:gd name="T58" fmla="*/ 69 w 358"/>
              <a:gd name="T59" fmla="*/ 91 h 305"/>
              <a:gd name="T60" fmla="*/ 88 w 358"/>
              <a:gd name="T61" fmla="*/ 195 h 305"/>
              <a:gd name="T62" fmla="*/ 270 w 358"/>
              <a:gd name="T63" fmla="*/ 195 h 305"/>
              <a:gd name="T64" fmla="*/ 289 w 358"/>
              <a:gd name="T65" fmla="*/ 91 h 305"/>
              <a:gd name="T66" fmla="*/ 319 w 358"/>
              <a:gd name="T67" fmla="*/ 91 h 305"/>
              <a:gd name="T68" fmla="*/ 319 w 358"/>
              <a:gd name="T69" fmla="*/ 13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58" h="305">
                <a:moveTo>
                  <a:pt x="332" y="0"/>
                </a:moveTo>
                <a:lnTo>
                  <a:pt x="332" y="91"/>
                </a:lnTo>
                <a:lnTo>
                  <a:pt x="358" y="91"/>
                </a:lnTo>
                <a:lnTo>
                  <a:pt x="345" y="272"/>
                </a:lnTo>
                <a:lnTo>
                  <a:pt x="306" y="272"/>
                </a:lnTo>
                <a:lnTo>
                  <a:pt x="306" y="305"/>
                </a:lnTo>
                <a:lnTo>
                  <a:pt x="294" y="305"/>
                </a:lnTo>
                <a:lnTo>
                  <a:pt x="294" y="272"/>
                </a:lnTo>
                <a:lnTo>
                  <a:pt x="64" y="272"/>
                </a:lnTo>
                <a:lnTo>
                  <a:pt x="64" y="305"/>
                </a:lnTo>
                <a:lnTo>
                  <a:pt x="51" y="305"/>
                </a:lnTo>
                <a:lnTo>
                  <a:pt x="51" y="272"/>
                </a:lnTo>
                <a:lnTo>
                  <a:pt x="13" y="272"/>
                </a:lnTo>
                <a:lnTo>
                  <a:pt x="0" y="91"/>
                </a:lnTo>
                <a:lnTo>
                  <a:pt x="32" y="91"/>
                </a:lnTo>
                <a:lnTo>
                  <a:pt x="32" y="0"/>
                </a:lnTo>
                <a:lnTo>
                  <a:pt x="332" y="0"/>
                </a:lnTo>
                <a:close/>
                <a:moveTo>
                  <a:pt x="59" y="104"/>
                </a:moveTo>
                <a:lnTo>
                  <a:pt x="13" y="104"/>
                </a:lnTo>
                <a:lnTo>
                  <a:pt x="26" y="259"/>
                </a:lnTo>
                <a:lnTo>
                  <a:pt x="332" y="259"/>
                </a:lnTo>
                <a:lnTo>
                  <a:pt x="345" y="104"/>
                </a:lnTo>
                <a:lnTo>
                  <a:pt x="298" y="104"/>
                </a:lnTo>
                <a:lnTo>
                  <a:pt x="279" y="208"/>
                </a:lnTo>
                <a:lnTo>
                  <a:pt x="78" y="208"/>
                </a:lnTo>
                <a:lnTo>
                  <a:pt x="59" y="104"/>
                </a:lnTo>
                <a:close/>
                <a:moveTo>
                  <a:pt x="319" y="13"/>
                </a:moveTo>
                <a:lnTo>
                  <a:pt x="45" y="13"/>
                </a:lnTo>
                <a:lnTo>
                  <a:pt x="45" y="91"/>
                </a:lnTo>
                <a:lnTo>
                  <a:pt x="69" y="91"/>
                </a:lnTo>
                <a:lnTo>
                  <a:pt x="88" y="195"/>
                </a:lnTo>
                <a:lnTo>
                  <a:pt x="270" y="195"/>
                </a:lnTo>
                <a:lnTo>
                  <a:pt x="289" y="91"/>
                </a:lnTo>
                <a:lnTo>
                  <a:pt x="319" y="91"/>
                </a:lnTo>
                <a:lnTo>
                  <a:pt x="319" y="13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6" name="í$ľíḍè">
            <a:extLst>
              <a:ext uri="{FF2B5EF4-FFF2-40B4-BE49-F238E27FC236}">
                <a16:creationId xmlns:a16="http://schemas.microsoft.com/office/drawing/2014/main" id="{45BA1F07-2BD1-4DDA-BF7A-923CDD0B24C2}"/>
              </a:ext>
            </a:extLst>
          </p:cNvPr>
          <p:cNvSpPr txBox="1"/>
          <p:nvPr/>
        </p:nvSpPr>
        <p:spPr>
          <a:xfrm>
            <a:off x="1044440" y="3418193"/>
            <a:ext cx="1679509" cy="408161"/>
          </a:xfrm>
          <a:prstGeom prst="rect">
            <a:avLst/>
          </a:prstGeom>
          <a:noFill/>
        </p:spPr>
        <p:txBody>
          <a:bodyPr wrap="none" lIns="90000" tIns="46800" rIns="90000" bIns="46800" rtlCol="0" anchor="b" anchorCtr="0">
            <a:normAutofit/>
          </a:bodyPr>
          <a:lstStyle/>
          <a:p>
            <a:r>
              <a:rPr lang="en-US" altLang="zh-CN" sz="1600" b="1" dirty="0"/>
              <a:t>Text here</a:t>
            </a:r>
          </a:p>
        </p:txBody>
      </p:sp>
      <p:sp>
        <p:nvSpPr>
          <p:cNvPr id="27" name="ïsļïḓê">
            <a:extLst>
              <a:ext uri="{FF2B5EF4-FFF2-40B4-BE49-F238E27FC236}">
                <a16:creationId xmlns:a16="http://schemas.microsoft.com/office/drawing/2014/main" id="{AC84A615-03AD-4966-AB63-192FDF868F2B}"/>
              </a:ext>
            </a:extLst>
          </p:cNvPr>
          <p:cNvSpPr txBox="1"/>
          <p:nvPr/>
        </p:nvSpPr>
        <p:spPr>
          <a:xfrm>
            <a:off x="1044440" y="3826357"/>
            <a:ext cx="1679509" cy="661627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……</a:t>
            </a:r>
          </a:p>
        </p:txBody>
      </p:sp>
      <p:sp>
        <p:nvSpPr>
          <p:cNvPr id="28" name="í$ľíḍè">
            <a:extLst>
              <a:ext uri="{FF2B5EF4-FFF2-40B4-BE49-F238E27FC236}">
                <a16:creationId xmlns:a16="http://schemas.microsoft.com/office/drawing/2014/main" id="{8124C32B-35C9-40AF-8B14-5657D500AFB3}"/>
              </a:ext>
            </a:extLst>
          </p:cNvPr>
          <p:cNvSpPr txBox="1"/>
          <p:nvPr/>
        </p:nvSpPr>
        <p:spPr>
          <a:xfrm>
            <a:off x="5023577" y="3316240"/>
            <a:ext cx="1679509" cy="408161"/>
          </a:xfrm>
          <a:prstGeom prst="rect">
            <a:avLst/>
          </a:prstGeom>
          <a:noFill/>
        </p:spPr>
        <p:txBody>
          <a:bodyPr wrap="none" lIns="90000" tIns="46800" rIns="90000" bIns="46800" rtlCol="0" anchor="b" anchorCtr="0">
            <a:normAutofit/>
          </a:bodyPr>
          <a:lstStyle/>
          <a:p>
            <a:r>
              <a:rPr lang="en-US" altLang="zh-CN" sz="1600" b="1" dirty="0"/>
              <a:t>Text here</a:t>
            </a:r>
          </a:p>
        </p:txBody>
      </p:sp>
      <p:sp>
        <p:nvSpPr>
          <p:cNvPr id="29" name="ïsļïḓê">
            <a:extLst>
              <a:ext uri="{FF2B5EF4-FFF2-40B4-BE49-F238E27FC236}">
                <a16:creationId xmlns:a16="http://schemas.microsoft.com/office/drawing/2014/main" id="{74254804-FEB6-4257-8D30-C3A6BD18C087}"/>
              </a:ext>
            </a:extLst>
          </p:cNvPr>
          <p:cNvSpPr txBox="1"/>
          <p:nvPr/>
        </p:nvSpPr>
        <p:spPr>
          <a:xfrm>
            <a:off x="5001997" y="3724404"/>
            <a:ext cx="1679509" cy="661627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……</a:t>
            </a:r>
          </a:p>
        </p:txBody>
      </p:sp>
      <p:sp>
        <p:nvSpPr>
          <p:cNvPr id="30" name="í$ľíḍè">
            <a:extLst>
              <a:ext uri="{FF2B5EF4-FFF2-40B4-BE49-F238E27FC236}">
                <a16:creationId xmlns:a16="http://schemas.microsoft.com/office/drawing/2014/main" id="{161B8B3B-E081-4225-B698-E9281AFA32B0}"/>
              </a:ext>
            </a:extLst>
          </p:cNvPr>
          <p:cNvSpPr txBox="1"/>
          <p:nvPr/>
        </p:nvSpPr>
        <p:spPr>
          <a:xfrm>
            <a:off x="3198934" y="3840965"/>
            <a:ext cx="1679509" cy="408161"/>
          </a:xfrm>
          <a:prstGeom prst="rect">
            <a:avLst/>
          </a:prstGeom>
          <a:noFill/>
        </p:spPr>
        <p:txBody>
          <a:bodyPr wrap="none" lIns="90000" tIns="46800" rIns="90000" bIns="46800" rtlCol="0" anchor="b" anchorCtr="0">
            <a:normAutofit/>
          </a:bodyPr>
          <a:lstStyle/>
          <a:p>
            <a:r>
              <a:rPr lang="en-US" altLang="zh-CN" sz="1600" b="1" dirty="0"/>
              <a:t>Text here</a:t>
            </a:r>
          </a:p>
        </p:txBody>
      </p:sp>
      <p:sp>
        <p:nvSpPr>
          <p:cNvPr id="31" name="ïsļïḓê">
            <a:extLst>
              <a:ext uri="{FF2B5EF4-FFF2-40B4-BE49-F238E27FC236}">
                <a16:creationId xmlns:a16="http://schemas.microsoft.com/office/drawing/2014/main" id="{EF9B8832-57DD-48C8-83ED-4C875EEE8827}"/>
              </a:ext>
            </a:extLst>
          </p:cNvPr>
          <p:cNvSpPr txBox="1"/>
          <p:nvPr/>
        </p:nvSpPr>
        <p:spPr>
          <a:xfrm>
            <a:off x="3198934" y="4249129"/>
            <a:ext cx="1679509" cy="661627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……</a:t>
            </a:r>
          </a:p>
        </p:txBody>
      </p:sp>
      <p:sp>
        <p:nvSpPr>
          <p:cNvPr id="32" name="í$ľíḍè">
            <a:extLst>
              <a:ext uri="{FF2B5EF4-FFF2-40B4-BE49-F238E27FC236}">
                <a16:creationId xmlns:a16="http://schemas.microsoft.com/office/drawing/2014/main" id="{CC57EC72-38E2-4BF1-A359-E1F4B46E880D}"/>
              </a:ext>
            </a:extLst>
          </p:cNvPr>
          <p:cNvSpPr txBox="1"/>
          <p:nvPr/>
        </p:nvSpPr>
        <p:spPr>
          <a:xfrm>
            <a:off x="7534957" y="3840965"/>
            <a:ext cx="1679509" cy="408161"/>
          </a:xfrm>
          <a:prstGeom prst="rect">
            <a:avLst/>
          </a:prstGeom>
          <a:noFill/>
        </p:spPr>
        <p:txBody>
          <a:bodyPr wrap="none" lIns="90000" tIns="46800" rIns="90000" bIns="46800" rtlCol="0" anchor="b" anchorCtr="0">
            <a:normAutofit/>
          </a:bodyPr>
          <a:lstStyle/>
          <a:p>
            <a:r>
              <a:rPr lang="en-US" altLang="zh-CN" sz="1600" b="1" dirty="0"/>
              <a:t>Text here</a:t>
            </a:r>
          </a:p>
        </p:txBody>
      </p:sp>
      <p:sp>
        <p:nvSpPr>
          <p:cNvPr id="33" name="ïsļïḓê">
            <a:extLst>
              <a:ext uri="{FF2B5EF4-FFF2-40B4-BE49-F238E27FC236}">
                <a16:creationId xmlns:a16="http://schemas.microsoft.com/office/drawing/2014/main" id="{5E885D02-2C29-4EFA-99A4-D438249F2D2D}"/>
              </a:ext>
            </a:extLst>
          </p:cNvPr>
          <p:cNvSpPr txBox="1"/>
          <p:nvPr/>
        </p:nvSpPr>
        <p:spPr>
          <a:xfrm>
            <a:off x="7534957" y="4249129"/>
            <a:ext cx="1679509" cy="661627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……</a:t>
            </a: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E5A8D8F9-FAB8-4916-B32E-B0EA61B01209}"/>
              </a:ext>
            </a:extLst>
          </p:cNvPr>
          <p:cNvGrpSpPr/>
          <p:nvPr/>
        </p:nvGrpSpPr>
        <p:grpSpPr>
          <a:xfrm>
            <a:off x="9919495" y="3107374"/>
            <a:ext cx="107691" cy="324250"/>
            <a:chOff x="5165102" y="3107374"/>
            <a:chExt cx="107691" cy="324250"/>
          </a:xfrm>
        </p:grpSpPr>
        <p:sp>
          <p:nvSpPr>
            <p:cNvPr id="35" name="iṣľïḍè">
              <a:extLst>
                <a:ext uri="{FF2B5EF4-FFF2-40B4-BE49-F238E27FC236}">
                  <a16:creationId xmlns:a16="http://schemas.microsoft.com/office/drawing/2014/main" id="{321AF93F-C3A0-439A-BA22-8285E4954F6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5102" y="3107374"/>
              <a:ext cx="107691" cy="105026"/>
            </a:xfrm>
            <a:prstGeom prst="ellipse">
              <a:avLst/>
            </a:prstGeom>
            <a:solidFill>
              <a:schemeClr val="accent1"/>
            </a:solidFill>
            <a:ln w="127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îṣlîḓé">
              <a:extLst>
                <a:ext uri="{FF2B5EF4-FFF2-40B4-BE49-F238E27FC236}">
                  <a16:creationId xmlns:a16="http://schemas.microsoft.com/office/drawing/2014/main" id="{DF47BD46-CDC0-4F95-AE9C-7F31D8577188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5218948" y="3196922"/>
              <a:ext cx="0" cy="234702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37" name="í$ľíḍè">
            <a:extLst>
              <a:ext uri="{FF2B5EF4-FFF2-40B4-BE49-F238E27FC236}">
                <a16:creationId xmlns:a16="http://schemas.microsoft.com/office/drawing/2014/main" id="{63A05138-567D-4C02-A94E-C985CB89A749}"/>
              </a:ext>
            </a:extLst>
          </p:cNvPr>
          <p:cNvSpPr txBox="1"/>
          <p:nvPr/>
        </p:nvSpPr>
        <p:spPr>
          <a:xfrm>
            <a:off x="9777970" y="3316240"/>
            <a:ext cx="1679509" cy="408161"/>
          </a:xfrm>
          <a:prstGeom prst="rect">
            <a:avLst/>
          </a:prstGeom>
          <a:noFill/>
        </p:spPr>
        <p:txBody>
          <a:bodyPr wrap="none" lIns="90000" tIns="46800" rIns="90000" bIns="46800" rtlCol="0" anchor="b" anchorCtr="0">
            <a:normAutofit/>
          </a:bodyPr>
          <a:lstStyle/>
          <a:p>
            <a:r>
              <a:rPr lang="en-US" altLang="zh-CN" sz="1600" b="1" dirty="0"/>
              <a:t>Text here</a:t>
            </a:r>
          </a:p>
        </p:txBody>
      </p:sp>
      <p:sp>
        <p:nvSpPr>
          <p:cNvPr id="38" name="ïsļïḓê">
            <a:extLst>
              <a:ext uri="{FF2B5EF4-FFF2-40B4-BE49-F238E27FC236}">
                <a16:creationId xmlns:a16="http://schemas.microsoft.com/office/drawing/2014/main" id="{7F9D9526-5E1F-437F-892D-8B11C2B48392}"/>
              </a:ext>
            </a:extLst>
          </p:cNvPr>
          <p:cNvSpPr txBox="1"/>
          <p:nvPr/>
        </p:nvSpPr>
        <p:spPr>
          <a:xfrm>
            <a:off x="9777970" y="3724404"/>
            <a:ext cx="1679509" cy="661627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……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66938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67A6967-3245-46EB-98F2-AA477C236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C0A9304-7145-44F5-9357-2F04485BE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4F38A0E-4911-4C29-AF2B-F843C9D32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A5765C81-D75C-41FA-9654-A198F987BA8F}"/>
              </a:ext>
            </a:extLst>
          </p:cNvPr>
          <p:cNvCxnSpPr>
            <a:cxnSpLocks/>
          </p:cNvCxnSpPr>
          <p:nvPr/>
        </p:nvCxnSpPr>
        <p:spPr>
          <a:xfrm>
            <a:off x="2904477" y="3512079"/>
            <a:ext cx="86160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îṡ1îďê">
            <a:extLst>
              <a:ext uri="{FF2B5EF4-FFF2-40B4-BE49-F238E27FC236}">
                <a16:creationId xmlns:a16="http://schemas.microsoft.com/office/drawing/2014/main" id="{BF98FE43-6F5B-4F2B-9735-F79750023AC4}"/>
              </a:ext>
            </a:extLst>
          </p:cNvPr>
          <p:cNvSpPr/>
          <p:nvPr/>
        </p:nvSpPr>
        <p:spPr bwMode="auto">
          <a:xfrm>
            <a:off x="669925" y="2189482"/>
            <a:ext cx="2511848" cy="2501877"/>
          </a:xfrm>
          <a:custGeom>
            <a:avLst/>
            <a:gdLst/>
            <a:ahLst/>
            <a:cxnLst>
              <a:cxn ang="0">
                <a:pos x="67" y="239"/>
              </a:cxn>
              <a:cxn ang="0">
                <a:pos x="6" y="131"/>
              </a:cxn>
              <a:cxn ang="0">
                <a:pos x="131" y="5"/>
              </a:cxn>
              <a:cxn ang="0">
                <a:pos x="241" y="69"/>
              </a:cxn>
              <a:cxn ang="0">
                <a:pos x="257" y="131"/>
              </a:cxn>
              <a:cxn ang="0">
                <a:pos x="132" y="257"/>
              </a:cxn>
              <a:cxn ang="0">
                <a:pos x="67" y="239"/>
              </a:cxn>
              <a:cxn ang="0">
                <a:pos x="132" y="0"/>
              </a:cxn>
              <a:cxn ang="0">
                <a:pos x="0" y="131"/>
              </a:cxn>
              <a:cxn ang="0">
                <a:pos x="132" y="262"/>
              </a:cxn>
              <a:cxn ang="0">
                <a:pos x="263" y="131"/>
              </a:cxn>
              <a:cxn ang="0">
                <a:pos x="132" y="0"/>
              </a:cxn>
            </a:cxnLst>
            <a:rect l="0" t="0" r="r" b="b"/>
            <a:pathLst>
              <a:path w="263" h="262">
                <a:moveTo>
                  <a:pt x="67" y="239"/>
                </a:moveTo>
                <a:cubicBezTo>
                  <a:pt x="30" y="217"/>
                  <a:pt x="6" y="177"/>
                  <a:pt x="6" y="131"/>
                </a:cubicBezTo>
                <a:cubicBezTo>
                  <a:pt x="6" y="61"/>
                  <a:pt x="62" y="5"/>
                  <a:pt x="131" y="5"/>
                </a:cubicBezTo>
                <a:cubicBezTo>
                  <a:pt x="179" y="5"/>
                  <a:pt x="220" y="31"/>
                  <a:pt x="241" y="69"/>
                </a:cubicBezTo>
                <a:cubicBezTo>
                  <a:pt x="252" y="88"/>
                  <a:pt x="257" y="109"/>
                  <a:pt x="257" y="131"/>
                </a:cubicBezTo>
                <a:cubicBezTo>
                  <a:pt x="257" y="200"/>
                  <a:pt x="201" y="257"/>
                  <a:pt x="132" y="257"/>
                </a:cubicBezTo>
                <a:cubicBezTo>
                  <a:pt x="108" y="257"/>
                  <a:pt x="86" y="250"/>
                  <a:pt x="67" y="239"/>
                </a:cubicBezTo>
                <a:moveTo>
                  <a:pt x="132" y="0"/>
                </a:moveTo>
                <a:cubicBezTo>
                  <a:pt x="59" y="0"/>
                  <a:pt x="0" y="58"/>
                  <a:pt x="0" y="131"/>
                </a:cubicBezTo>
                <a:cubicBezTo>
                  <a:pt x="0" y="204"/>
                  <a:pt x="59" y="262"/>
                  <a:pt x="132" y="262"/>
                </a:cubicBezTo>
                <a:cubicBezTo>
                  <a:pt x="204" y="262"/>
                  <a:pt x="263" y="204"/>
                  <a:pt x="263" y="131"/>
                </a:cubicBezTo>
                <a:cubicBezTo>
                  <a:pt x="263" y="58"/>
                  <a:pt x="204" y="0"/>
                  <a:pt x="132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39" name="îs1ïḓê">
            <a:extLst>
              <a:ext uri="{FF2B5EF4-FFF2-40B4-BE49-F238E27FC236}">
                <a16:creationId xmlns:a16="http://schemas.microsoft.com/office/drawing/2014/main" id="{49A31B0F-11A4-4AE2-B207-4CA35F3F60E0}"/>
              </a:ext>
            </a:extLst>
          </p:cNvPr>
          <p:cNvSpPr/>
          <p:nvPr/>
        </p:nvSpPr>
        <p:spPr bwMode="auto">
          <a:xfrm>
            <a:off x="727253" y="2237462"/>
            <a:ext cx="2397190" cy="2396566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0" y="126"/>
              </a:cxn>
              <a:cxn ang="0">
                <a:pos x="61" y="234"/>
              </a:cxn>
              <a:cxn ang="0">
                <a:pos x="125" y="251"/>
              </a:cxn>
              <a:cxn ang="0">
                <a:pos x="146" y="250"/>
              </a:cxn>
              <a:cxn ang="0">
                <a:pos x="71" y="188"/>
              </a:cxn>
              <a:cxn ang="0">
                <a:pos x="92" y="175"/>
              </a:cxn>
              <a:cxn ang="0">
                <a:pos x="122" y="50"/>
              </a:cxn>
              <a:cxn ang="0">
                <a:pos x="248" y="155"/>
              </a:cxn>
              <a:cxn ang="0">
                <a:pos x="251" y="126"/>
              </a:cxn>
              <a:cxn ang="0">
                <a:pos x="235" y="64"/>
              </a:cxn>
              <a:cxn ang="0">
                <a:pos x="126" y="0"/>
              </a:cxn>
            </a:cxnLst>
            <a:rect l="0" t="0" r="r" b="b"/>
            <a:pathLst>
              <a:path w="251" h="251">
                <a:moveTo>
                  <a:pt x="126" y="0"/>
                </a:moveTo>
                <a:cubicBezTo>
                  <a:pt x="56" y="0"/>
                  <a:pt x="0" y="57"/>
                  <a:pt x="0" y="126"/>
                </a:cubicBezTo>
                <a:cubicBezTo>
                  <a:pt x="0" y="172"/>
                  <a:pt x="25" y="212"/>
                  <a:pt x="61" y="234"/>
                </a:cubicBezTo>
                <a:cubicBezTo>
                  <a:pt x="80" y="245"/>
                  <a:pt x="102" y="251"/>
                  <a:pt x="125" y="251"/>
                </a:cubicBezTo>
                <a:cubicBezTo>
                  <a:pt x="132" y="251"/>
                  <a:pt x="139" y="251"/>
                  <a:pt x="146" y="250"/>
                </a:cubicBezTo>
                <a:cubicBezTo>
                  <a:pt x="71" y="188"/>
                  <a:pt x="71" y="188"/>
                  <a:pt x="71" y="188"/>
                </a:cubicBezTo>
                <a:cubicBezTo>
                  <a:pt x="92" y="175"/>
                  <a:pt x="92" y="175"/>
                  <a:pt x="92" y="175"/>
                </a:cubicBezTo>
                <a:cubicBezTo>
                  <a:pt x="122" y="50"/>
                  <a:pt x="122" y="50"/>
                  <a:pt x="122" y="50"/>
                </a:cubicBezTo>
                <a:cubicBezTo>
                  <a:pt x="248" y="155"/>
                  <a:pt x="248" y="155"/>
                  <a:pt x="248" y="155"/>
                </a:cubicBezTo>
                <a:cubicBezTo>
                  <a:pt x="250" y="146"/>
                  <a:pt x="251" y="136"/>
                  <a:pt x="251" y="126"/>
                </a:cubicBezTo>
                <a:cubicBezTo>
                  <a:pt x="251" y="103"/>
                  <a:pt x="245" y="83"/>
                  <a:pt x="235" y="64"/>
                </a:cubicBezTo>
                <a:cubicBezTo>
                  <a:pt x="214" y="26"/>
                  <a:pt x="173" y="0"/>
                  <a:pt x="126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40" name="iš1ïḑê">
            <a:extLst>
              <a:ext uri="{FF2B5EF4-FFF2-40B4-BE49-F238E27FC236}">
                <a16:creationId xmlns:a16="http://schemas.microsoft.com/office/drawing/2014/main" id="{CD1CB376-B14C-4F98-81A7-2BF0ED1F5A2B}"/>
              </a:ext>
            </a:extLst>
          </p:cNvPr>
          <p:cNvSpPr/>
          <p:nvPr/>
        </p:nvSpPr>
        <p:spPr bwMode="auto">
          <a:xfrm>
            <a:off x="727253" y="2237462"/>
            <a:ext cx="2244524" cy="2234553"/>
          </a:xfrm>
          <a:custGeom>
            <a:avLst/>
            <a:gdLst/>
            <a:ahLst/>
            <a:cxnLst>
              <a:cxn ang="0">
                <a:pos x="125" y="0"/>
              </a:cxn>
              <a:cxn ang="0">
                <a:pos x="0" y="126"/>
              </a:cxn>
              <a:cxn ang="0">
                <a:pos x="61" y="234"/>
              </a:cxn>
              <a:cxn ang="0">
                <a:pos x="0" y="126"/>
              </a:cxn>
              <a:cxn ang="0">
                <a:pos x="126" y="0"/>
              </a:cxn>
              <a:cxn ang="0">
                <a:pos x="235" y="64"/>
              </a:cxn>
              <a:cxn ang="0">
                <a:pos x="125" y="0"/>
              </a:cxn>
            </a:cxnLst>
            <a:rect l="0" t="0" r="r" b="b"/>
            <a:pathLst>
              <a:path w="235" h="234">
                <a:moveTo>
                  <a:pt x="125" y="0"/>
                </a:moveTo>
                <a:cubicBezTo>
                  <a:pt x="56" y="0"/>
                  <a:pt x="0" y="56"/>
                  <a:pt x="0" y="126"/>
                </a:cubicBezTo>
                <a:cubicBezTo>
                  <a:pt x="0" y="172"/>
                  <a:pt x="24" y="212"/>
                  <a:pt x="61" y="234"/>
                </a:cubicBezTo>
                <a:cubicBezTo>
                  <a:pt x="25" y="212"/>
                  <a:pt x="0" y="172"/>
                  <a:pt x="0" y="126"/>
                </a:cubicBezTo>
                <a:cubicBezTo>
                  <a:pt x="0" y="57"/>
                  <a:pt x="56" y="0"/>
                  <a:pt x="126" y="0"/>
                </a:cubicBezTo>
                <a:cubicBezTo>
                  <a:pt x="173" y="0"/>
                  <a:pt x="214" y="26"/>
                  <a:pt x="235" y="64"/>
                </a:cubicBezTo>
                <a:cubicBezTo>
                  <a:pt x="214" y="26"/>
                  <a:pt x="173" y="0"/>
                  <a:pt x="125" y="0"/>
                </a:cubicBezTo>
              </a:path>
            </a:pathLst>
          </a:custGeom>
          <a:solidFill>
            <a:srgbClr val="DC3B3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41" name="iS1îḍè">
            <a:extLst>
              <a:ext uri="{FF2B5EF4-FFF2-40B4-BE49-F238E27FC236}">
                <a16:creationId xmlns:a16="http://schemas.microsoft.com/office/drawing/2014/main" id="{95C243B3-9EE4-4AA6-8CD0-1D2B51B339A7}"/>
              </a:ext>
            </a:extLst>
          </p:cNvPr>
          <p:cNvSpPr/>
          <p:nvPr/>
        </p:nvSpPr>
        <p:spPr bwMode="auto">
          <a:xfrm>
            <a:off x="2121824" y="3717402"/>
            <a:ext cx="973957" cy="907281"/>
          </a:xfrm>
          <a:custGeom>
            <a:avLst/>
            <a:gdLst/>
            <a:ahLst/>
            <a:cxnLst>
              <a:cxn ang="0">
                <a:pos x="102" y="0"/>
              </a:cxn>
              <a:cxn ang="0">
                <a:pos x="0" y="95"/>
              </a:cxn>
              <a:cxn ang="0">
                <a:pos x="0" y="95"/>
              </a:cxn>
              <a:cxn ang="0">
                <a:pos x="102" y="0"/>
              </a:cxn>
              <a:cxn ang="0">
                <a:pos x="102" y="0"/>
              </a:cxn>
            </a:cxnLst>
            <a:rect l="0" t="0" r="r" b="b"/>
            <a:pathLst>
              <a:path w="102" h="95">
                <a:moveTo>
                  <a:pt x="102" y="0"/>
                </a:moveTo>
                <a:cubicBezTo>
                  <a:pt x="90" y="49"/>
                  <a:pt x="50" y="87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50" y="87"/>
                  <a:pt x="90" y="49"/>
                  <a:pt x="102" y="0"/>
                </a:cubicBezTo>
                <a:cubicBezTo>
                  <a:pt x="102" y="0"/>
                  <a:pt x="102" y="0"/>
                  <a:pt x="102" y="0"/>
                </a:cubicBezTo>
              </a:path>
            </a:pathLst>
          </a:custGeom>
          <a:solidFill>
            <a:srgbClr val="BB3A3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42" name="îṩļîḍé">
            <a:extLst>
              <a:ext uri="{FF2B5EF4-FFF2-40B4-BE49-F238E27FC236}">
                <a16:creationId xmlns:a16="http://schemas.microsoft.com/office/drawing/2014/main" id="{3CDC6ADC-FC81-4369-AF4B-C648A1037F85}"/>
              </a:ext>
            </a:extLst>
          </p:cNvPr>
          <p:cNvSpPr/>
          <p:nvPr/>
        </p:nvSpPr>
        <p:spPr bwMode="auto">
          <a:xfrm>
            <a:off x="1405222" y="2714781"/>
            <a:ext cx="1690559" cy="1909901"/>
          </a:xfrm>
          <a:custGeom>
            <a:avLst/>
            <a:gdLst/>
            <a:ahLst/>
            <a:cxnLst>
              <a:cxn ang="0">
                <a:pos x="51" y="0"/>
              </a:cxn>
              <a:cxn ang="0">
                <a:pos x="21" y="125"/>
              </a:cxn>
              <a:cxn ang="0">
                <a:pos x="0" y="138"/>
              </a:cxn>
              <a:cxn ang="0">
                <a:pos x="75" y="200"/>
              </a:cxn>
              <a:cxn ang="0">
                <a:pos x="177" y="105"/>
              </a:cxn>
              <a:cxn ang="0">
                <a:pos x="51" y="0"/>
              </a:cxn>
            </a:cxnLst>
            <a:rect l="0" t="0" r="r" b="b"/>
            <a:pathLst>
              <a:path w="177" h="200">
                <a:moveTo>
                  <a:pt x="51" y="0"/>
                </a:moveTo>
                <a:cubicBezTo>
                  <a:pt x="21" y="125"/>
                  <a:pt x="21" y="125"/>
                  <a:pt x="21" y="125"/>
                </a:cubicBezTo>
                <a:cubicBezTo>
                  <a:pt x="0" y="138"/>
                  <a:pt x="0" y="138"/>
                  <a:pt x="0" y="138"/>
                </a:cubicBezTo>
                <a:cubicBezTo>
                  <a:pt x="75" y="200"/>
                  <a:pt x="75" y="200"/>
                  <a:pt x="75" y="200"/>
                </a:cubicBezTo>
                <a:cubicBezTo>
                  <a:pt x="125" y="192"/>
                  <a:pt x="165" y="154"/>
                  <a:pt x="177" y="105"/>
                </a:cubicBezTo>
                <a:cubicBezTo>
                  <a:pt x="51" y="0"/>
                  <a:pt x="51" y="0"/>
                  <a:pt x="51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43" name="iSḻîḍe">
            <a:extLst>
              <a:ext uri="{FF2B5EF4-FFF2-40B4-BE49-F238E27FC236}">
                <a16:creationId xmlns:a16="http://schemas.microsoft.com/office/drawing/2014/main" id="{FD7B96BE-9EBE-4A7A-81EF-650A3687029E}"/>
              </a:ext>
            </a:extLst>
          </p:cNvPr>
          <p:cNvSpPr/>
          <p:nvPr/>
        </p:nvSpPr>
        <p:spPr bwMode="auto">
          <a:xfrm>
            <a:off x="2446476" y="4280715"/>
            <a:ext cx="362663" cy="888586"/>
          </a:xfrm>
          <a:custGeom>
            <a:avLst/>
            <a:gdLst/>
            <a:ahLst/>
            <a:cxnLst>
              <a:cxn ang="0">
                <a:pos x="27" y="9"/>
              </a:cxn>
              <a:cxn ang="0">
                <a:pos x="26" y="41"/>
              </a:cxn>
              <a:cxn ang="0">
                <a:pos x="34" y="75"/>
              </a:cxn>
              <a:cxn ang="0">
                <a:pos x="22" y="74"/>
              </a:cxn>
              <a:cxn ang="0">
                <a:pos x="7" y="54"/>
              </a:cxn>
              <a:cxn ang="0">
                <a:pos x="7" y="37"/>
              </a:cxn>
              <a:cxn ang="0">
                <a:pos x="8" y="0"/>
              </a:cxn>
              <a:cxn ang="0">
                <a:pos x="27" y="9"/>
              </a:cxn>
            </a:cxnLst>
            <a:rect l="0" t="0" r="r" b="b"/>
            <a:pathLst>
              <a:path w="38" h="93">
                <a:moveTo>
                  <a:pt x="27" y="9"/>
                </a:moveTo>
                <a:cubicBezTo>
                  <a:pt x="26" y="41"/>
                  <a:pt x="26" y="41"/>
                  <a:pt x="26" y="41"/>
                </a:cubicBezTo>
                <a:cubicBezTo>
                  <a:pt x="34" y="75"/>
                  <a:pt x="34" y="75"/>
                  <a:pt x="34" y="75"/>
                </a:cubicBezTo>
                <a:cubicBezTo>
                  <a:pt x="34" y="75"/>
                  <a:pt x="38" y="93"/>
                  <a:pt x="22" y="74"/>
                </a:cubicBezTo>
                <a:cubicBezTo>
                  <a:pt x="10" y="58"/>
                  <a:pt x="12" y="60"/>
                  <a:pt x="7" y="54"/>
                </a:cubicBezTo>
                <a:cubicBezTo>
                  <a:pt x="0" y="45"/>
                  <a:pt x="3" y="43"/>
                  <a:pt x="7" y="37"/>
                </a:cubicBezTo>
                <a:cubicBezTo>
                  <a:pt x="12" y="31"/>
                  <a:pt x="8" y="0"/>
                  <a:pt x="8" y="0"/>
                </a:cubicBezTo>
                <a:lnTo>
                  <a:pt x="27" y="9"/>
                </a:lnTo>
                <a:close/>
              </a:path>
            </a:pathLst>
          </a:custGeom>
          <a:solidFill>
            <a:srgbClr val="F4CDB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44" name="iṡľiḓè">
            <a:extLst>
              <a:ext uri="{FF2B5EF4-FFF2-40B4-BE49-F238E27FC236}">
                <a16:creationId xmlns:a16="http://schemas.microsoft.com/office/drawing/2014/main" id="{9A94DEC9-6F97-433D-A1F8-C44E93311A0A}"/>
              </a:ext>
            </a:extLst>
          </p:cNvPr>
          <p:cNvSpPr/>
          <p:nvPr/>
        </p:nvSpPr>
        <p:spPr bwMode="auto">
          <a:xfrm>
            <a:off x="2446476" y="4615335"/>
            <a:ext cx="362663" cy="572659"/>
          </a:xfrm>
          <a:custGeom>
            <a:avLst/>
            <a:gdLst/>
            <a:ahLst/>
            <a:cxnLst>
              <a:cxn ang="0">
                <a:pos x="23" y="40"/>
              </a:cxn>
              <a:cxn ang="0">
                <a:pos x="6" y="18"/>
              </a:cxn>
              <a:cxn ang="0">
                <a:pos x="8" y="0"/>
              </a:cxn>
              <a:cxn ang="0">
                <a:pos x="33" y="36"/>
              </a:cxn>
              <a:cxn ang="0">
                <a:pos x="35" y="41"/>
              </a:cxn>
              <a:cxn ang="0">
                <a:pos x="23" y="40"/>
              </a:cxn>
            </a:cxnLst>
            <a:rect l="0" t="0" r="r" b="b"/>
            <a:pathLst>
              <a:path w="38" h="60">
                <a:moveTo>
                  <a:pt x="23" y="40"/>
                </a:moveTo>
                <a:cubicBezTo>
                  <a:pt x="10" y="23"/>
                  <a:pt x="11" y="25"/>
                  <a:pt x="6" y="18"/>
                </a:cubicBezTo>
                <a:cubicBezTo>
                  <a:pt x="0" y="9"/>
                  <a:pt x="3" y="7"/>
                  <a:pt x="8" y="0"/>
                </a:cubicBezTo>
                <a:cubicBezTo>
                  <a:pt x="9" y="0"/>
                  <a:pt x="22" y="25"/>
                  <a:pt x="33" y="36"/>
                </a:cubicBezTo>
                <a:cubicBezTo>
                  <a:pt x="35" y="41"/>
                  <a:pt x="35" y="41"/>
                  <a:pt x="35" y="41"/>
                </a:cubicBezTo>
                <a:cubicBezTo>
                  <a:pt x="35" y="41"/>
                  <a:pt x="38" y="60"/>
                  <a:pt x="23" y="40"/>
                </a:cubicBezTo>
                <a:close/>
              </a:path>
            </a:pathLst>
          </a:custGeom>
          <a:solidFill>
            <a:srgbClr val="282828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45" name="îṥ1ïḋé">
            <a:extLst>
              <a:ext uri="{FF2B5EF4-FFF2-40B4-BE49-F238E27FC236}">
                <a16:creationId xmlns:a16="http://schemas.microsoft.com/office/drawing/2014/main" id="{D85A1ABF-93F2-4FBC-92E3-A3AED7CF85F4}"/>
              </a:ext>
            </a:extLst>
          </p:cNvPr>
          <p:cNvSpPr/>
          <p:nvPr/>
        </p:nvSpPr>
        <p:spPr bwMode="auto">
          <a:xfrm>
            <a:off x="1806518" y="3994696"/>
            <a:ext cx="66675" cy="381980"/>
          </a:xfrm>
          <a:custGeom>
            <a:avLst/>
            <a:gdLst/>
            <a:ahLst/>
            <a:cxnLst>
              <a:cxn ang="0">
                <a:pos x="0" y="38"/>
              </a:cxn>
              <a:cxn ang="0">
                <a:pos x="2" y="40"/>
              </a:cxn>
              <a:cxn ang="0">
                <a:pos x="5" y="40"/>
              </a:cxn>
              <a:cxn ang="0">
                <a:pos x="7" y="38"/>
              </a:cxn>
              <a:cxn ang="0">
                <a:pos x="7" y="1"/>
              </a:cxn>
              <a:cxn ang="0">
                <a:pos x="5" y="0"/>
              </a:cxn>
              <a:cxn ang="0">
                <a:pos x="2" y="0"/>
              </a:cxn>
              <a:cxn ang="0">
                <a:pos x="0" y="1"/>
              </a:cxn>
              <a:cxn ang="0">
                <a:pos x="0" y="38"/>
              </a:cxn>
            </a:cxnLst>
            <a:rect l="0" t="0" r="r" b="b"/>
            <a:pathLst>
              <a:path w="7" h="40">
                <a:moveTo>
                  <a:pt x="0" y="38"/>
                </a:moveTo>
                <a:cubicBezTo>
                  <a:pt x="0" y="39"/>
                  <a:pt x="1" y="40"/>
                  <a:pt x="2" y="40"/>
                </a:cubicBezTo>
                <a:cubicBezTo>
                  <a:pt x="5" y="40"/>
                  <a:pt x="5" y="40"/>
                  <a:pt x="5" y="40"/>
                </a:cubicBezTo>
                <a:cubicBezTo>
                  <a:pt x="6" y="40"/>
                  <a:pt x="7" y="39"/>
                  <a:pt x="7" y="38"/>
                </a:cubicBezTo>
                <a:cubicBezTo>
                  <a:pt x="7" y="1"/>
                  <a:pt x="7" y="1"/>
                  <a:pt x="7" y="1"/>
                </a:cubicBezTo>
                <a:cubicBezTo>
                  <a:pt x="7" y="0"/>
                  <a:pt x="6" y="0"/>
                  <a:pt x="5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0"/>
                  <a:pt x="0" y="1"/>
                </a:cubicBezTo>
                <a:lnTo>
                  <a:pt x="0" y="38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46" name="íṡļïḋe">
            <a:extLst>
              <a:ext uri="{FF2B5EF4-FFF2-40B4-BE49-F238E27FC236}">
                <a16:creationId xmlns:a16="http://schemas.microsoft.com/office/drawing/2014/main" id="{3E4E610D-2B17-48A0-A127-ED6FA30DAFA9}"/>
              </a:ext>
            </a:extLst>
          </p:cNvPr>
          <p:cNvSpPr/>
          <p:nvPr/>
        </p:nvSpPr>
        <p:spPr bwMode="auto">
          <a:xfrm>
            <a:off x="1386527" y="3870069"/>
            <a:ext cx="983303" cy="162638"/>
          </a:xfrm>
          <a:custGeom>
            <a:avLst/>
            <a:gdLst/>
            <a:ahLst/>
            <a:cxnLst>
              <a:cxn ang="0">
                <a:pos x="0" y="15"/>
              </a:cxn>
              <a:cxn ang="0">
                <a:pos x="2" y="17"/>
              </a:cxn>
              <a:cxn ang="0">
                <a:pos x="101" y="17"/>
              </a:cxn>
              <a:cxn ang="0">
                <a:pos x="103" y="15"/>
              </a:cxn>
              <a:cxn ang="0">
                <a:pos x="103" y="2"/>
              </a:cxn>
              <a:cxn ang="0">
                <a:pos x="101" y="0"/>
              </a:cxn>
              <a:cxn ang="0">
                <a:pos x="2" y="0"/>
              </a:cxn>
              <a:cxn ang="0">
                <a:pos x="0" y="2"/>
              </a:cxn>
              <a:cxn ang="0">
                <a:pos x="0" y="15"/>
              </a:cxn>
            </a:cxnLst>
            <a:rect l="0" t="0" r="r" b="b"/>
            <a:pathLst>
              <a:path w="103" h="17">
                <a:moveTo>
                  <a:pt x="0" y="15"/>
                </a:moveTo>
                <a:cubicBezTo>
                  <a:pt x="0" y="16"/>
                  <a:pt x="1" y="17"/>
                  <a:pt x="2" y="17"/>
                </a:cubicBezTo>
                <a:cubicBezTo>
                  <a:pt x="101" y="17"/>
                  <a:pt x="101" y="17"/>
                  <a:pt x="101" y="17"/>
                </a:cubicBezTo>
                <a:cubicBezTo>
                  <a:pt x="102" y="17"/>
                  <a:pt x="103" y="16"/>
                  <a:pt x="103" y="15"/>
                </a:cubicBezTo>
                <a:cubicBezTo>
                  <a:pt x="103" y="2"/>
                  <a:pt x="103" y="2"/>
                  <a:pt x="103" y="2"/>
                </a:cubicBezTo>
                <a:cubicBezTo>
                  <a:pt x="103" y="1"/>
                  <a:pt x="102" y="0"/>
                  <a:pt x="101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lnTo>
                  <a:pt x="0" y="15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endParaRPr lang="zh-CN" altLang="en-US"/>
          </a:p>
        </p:txBody>
      </p:sp>
      <p:sp>
        <p:nvSpPr>
          <p:cNvPr id="47" name="íSḻïdè">
            <a:extLst>
              <a:ext uri="{FF2B5EF4-FFF2-40B4-BE49-F238E27FC236}">
                <a16:creationId xmlns:a16="http://schemas.microsoft.com/office/drawing/2014/main" id="{E13BF015-BF43-4409-AB1B-241BE57B0AF9}"/>
              </a:ext>
            </a:extLst>
          </p:cNvPr>
          <p:cNvSpPr/>
          <p:nvPr/>
        </p:nvSpPr>
        <p:spPr bwMode="auto">
          <a:xfrm>
            <a:off x="1787202" y="4271367"/>
            <a:ext cx="95963" cy="353316"/>
          </a:xfrm>
          <a:prstGeom prst="rect">
            <a:avLst/>
          </a:prstGeom>
          <a:solidFill>
            <a:srgbClr val="D8D2CA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endParaRPr lang="zh-CN" altLang="en-US"/>
          </a:p>
        </p:txBody>
      </p:sp>
      <p:sp>
        <p:nvSpPr>
          <p:cNvPr id="48" name="í$ḷíďé">
            <a:extLst>
              <a:ext uri="{FF2B5EF4-FFF2-40B4-BE49-F238E27FC236}">
                <a16:creationId xmlns:a16="http://schemas.microsoft.com/office/drawing/2014/main" id="{0B9E77D0-36E5-47C8-B63F-22A4AE36C74C}"/>
              </a:ext>
            </a:extLst>
          </p:cNvPr>
          <p:cNvSpPr/>
          <p:nvPr/>
        </p:nvSpPr>
        <p:spPr bwMode="auto">
          <a:xfrm>
            <a:off x="1844530" y="4558007"/>
            <a:ext cx="363286" cy="391327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38" y="27"/>
              </a:cxn>
              <a:cxn ang="0">
                <a:pos x="38" y="41"/>
              </a:cxn>
              <a:cxn ang="0">
                <a:pos x="32" y="41"/>
              </a:cxn>
              <a:cxn ang="0">
                <a:pos x="32" y="29"/>
              </a:cxn>
              <a:cxn ang="0">
                <a:pos x="0" y="10"/>
              </a:cxn>
              <a:cxn ang="0">
                <a:pos x="0" y="1"/>
              </a:cxn>
              <a:cxn ang="0">
                <a:pos x="5" y="0"/>
              </a:cxn>
            </a:cxnLst>
            <a:rect l="0" t="0" r="r" b="b"/>
            <a:pathLst>
              <a:path w="38" h="41">
                <a:moveTo>
                  <a:pt x="5" y="0"/>
                </a:moveTo>
                <a:cubicBezTo>
                  <a:pt x="8" y="3"/>
                  <a:pt x="38" y="26"/>
                  <a:pt x="38" y="27"/>
                </a:cubicBezTo>
                <a:cubicBezTo>
                  <a:pt x="38" y="29"/>
                  <a:pt x="38" y="41"/>
                  <a:pt x="38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2" y="29"/>
                  <a:pt x="32" y="29"/>
                  <a:pt x="32" y="2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1"/>
                  <a:pt x="0" y="1"/>
                  <a:pt x="0" y="1"/>
                </a:cubicBezTo>
                <a:lnTo>
                  <a:pt x="5" y="0"/>
                </a:lnTo>
                <a:close/>
              </a:path>
            </a:pathLst>
          </a:custGeom>
          <a:solidFill>
            <a:srgbClr val="D8D2C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49" name="iṣľïďe">
            <a:extLst>
              <a:ext uri="{FF2B5EF4-FFF2-40B4-BE49-F238E27FC236}">
                <a16:creationId xmlns:a16="http://schemas.microsoft.com/office/drawing/2014/main" id="{E70BD114-2042-4CDB-8939-CD30FF935C78}"/>
              </a:ext>
            </a:extLst>
          </p:cNvPr>
          <p:cNvSpPr/>
          <p:nvPr/>
        </p:nvSpPr>
        <p:spPr bwMode="auto">
          <a:xfrm>
            <a:off x="1501185" y="4548038"/>
            <a:ext cx="353316" cy="391950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0" y="27"/>
              </a:cxn>
              <a:cxn ang="0">
                <a:pos x="0" y="41"/>
              </a:cxn>
              <a:cxn ang="0">
                <a:pos x="5" y="41"/>
              </a:cxn>
              <a:cxn ang="0">
                <a:pos x="5" y="29"/>
              </a:cxn>
              <a:cxn ang="0">
                <a:pos x="37" y="10"/>
              </a:cxn>
              <a:cxn ang="0">
                <a:pos x="37" y="1"/>
              </a:cxn>
              <a:cxn ang="0">
                <a:pos x="33" y="0"/>
              </a:cxn>
            </a:cxnLst>
            <a:rect l="0" t="0" r="r" b="b"/>
            <a:pathLst>
              <a:path w="37" h="41">
                <a:moveTo>
                  <a:pt x="33" y="0"/>
                </a:moveTo>
                <a:cubicBezTo>
                  <a:pt x="29" y="3"/>
                  <a:pt x="0" y="26"/>
                  <a:pt x="0" y="27"/>
                </a:cubicBezTo>
                <a:cubicBezTo>
                  <a:pt x="0" y="29"/>
                  <a:pt x="0" y="41"/>
                  <a:pt x="0" y="41"/>
                </a:cubicBezTo>
                <a:cubicBezTo>
                  <a:pt x="5" y="41"/>
                  <a:pt x="5" y="41"/>
                  <a:pt x="5" y="41"/>
                </a:cubicBezTo>
                <a:cubicBezTo>
                  <a:pt x="5" y="29"/>
                  <a:pt x="5" y="29"/>
                  <a:pt x="5" y="29"/>
                </a:cubicBezTo>
                <a:cubicBezTo>
                  <a:pt x="37" y="10"/>
                  <a:pt x="37" y="10"/>
                  <a:pt x="37" y="10"/>
                </a:cubicBezTo>
                <a:cubicBezTo>
                  <a:pt x="37" y="1"/>
                  <a:pt x="37" y="1"/>
                  <a:pt x="37" y="1"/>
                </a:cubicBezTo>
                <a:lnTo>
                  <a:pt x="33" y="0"/>
                </a:lnTo>
                <a:close/>
              </a:path>
            </a:pathLst>
          </a:custGeom>
          <a:solidFill>
            <a:srgbClr val="D8D2C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50" name="îşľîďê">
            <a:extLst>
              <a:ext uri="{FF2B5EF4-FFF2-40B4-BE49-F238E27FC236}">
                <a16:creationId xmlns:a16="http://schemas.microsoft.com/office/drawing/2014/main" id="{D541A59C-9EE1-4EE7-BD5D-D579546CE536}"/>
              </a:ext>
            </a:extLst>
          </p:cNvPr>
          <p:cNvSpPr/>
          <p:nvPr/>
        </p:nvSpPr>
        <p:spPr bwMode="auto">
          <a:xfrm>
            <a:off x="1395875" y="4548038"/>
            <a:ext cx="419991" cy="229312"/>
          </a:xfrm>
          <a:custGeom>
            <a:avLst/>
            <a:gdLst/>
            <a:ahLst/>
            <a:cxnLst>
              <a:cxn ang="0">
                <a:pos x="674" y="0"/>
              </a:cxn>
              <a:cxn ang="0">
                <a:pos x="0" y="184"/>
              </a:cxn>
              <a:cxn ang="0">
                <a:pos x="0" y="368"/>
              </a:cxn>
              <a:cxn ang="0">
                <a:pos x="61" y="368"/>
              </a:cxn>
              <a:cxn ang="0">
                <a:pos x="61" y="276"/>
              </a:cxn>
              <a:cxn ang="0">
                <a:pos x="628" y="138"/>
              </a:cxn>
              <a:cxn ang="0">
                <a:pos x="674" y="0"/>
              </a:cxn>
            </a:cxnLst>
            <a:rect l="0" t="0" r="r" b="b"/>
            <a:pathLst>
              <a:path w="674" h="368">
                <a:moveTo>
                  <a:pt x="674" y="0"/>
                </a:moveTo>
                <a:lnTo>
                  <a:pt x="0" y="184"/>
                </a:lnTo>
                <a:lnTo>
                  <a:pt x="0" y="368"/>
                </a:lnTo>
                <a:lnTo>
                  <a:pt x="61" y="368"/>
                </a:lnTo>
                <a:lnTo>
                  <a:pt x="61" y="276"/>
                </a:lnTo>
                <a:lnTo>
                  <a:pt x="628" y="138"/>
                </a:lnTo>
                <a:lnTo>
                  <a:pt x="674" y="0"/>
                </a:lnTo>
                <a:close/>
              </a:path>
            </a:pathLst>
          </a:custGeom>
          <a:solidFill>
            <a:srgbClr val="D8D2C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62500" lnSpcReduction="20000"/>
          </a:bodyPr>
          <a:lstStyle/>
          <a:p>
            <a:endParaRPr lang="zh-CN" altLang="en-US"/>
          </a:p>
        </p:txBody>
      </p:sp>
      <p:sp>
        <p:nvSpPr>
          <p:cNvPr id="51" name="išlidê">
            <a:extLst>
              <a:ext uri="{FF2B5EF4-FFF2-40B4-BE49-F238E27FC236}">
                <a16:creationId xmlns:a16="http://schemas.microsoft.com/office/drawing/2014/main" id="{96083954-C15E-4D20-8FDE-ABB83856CF01}"/>
              </a:ext>
            </a:extLst>
          </p:cNvPr>
          <p:cNvSpPr/>
          <p:nvPr/>
        </p:nvSpPr>
        <p:spPr bwMode="auto">
          <a:xfrm>
            <a:off x="1873194" y="4548038"/>
            <a:ext cx="420614" cy="22931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75" y="184"/>
              </a:cxn>
              <a:cxn ang="0">
                <a:pos x="675" y="368"/>
              </a:cxn>
              <a:cxn ang="0">
                <a:pos x="613" y="368"/>
              </a:cxn>
              <a:cxn ang="0">
                <a:pos x="613" y="276"/>
              </a:cxn>
              <a:cxn ang="0">
                <a:pos x="46" y="138"/>
              </a:cxn>
              <a:cxn ang="0">
                <a:pos x="0" y="0"/>
              </a:cxn>
            </a:cxnLst>
            <a:rect l="0" t="0" r="r" b="b"/>
            <a:pathLst>
              <a:path w="675" h="368">
                <a:moveTo>
                  <a:pt x="0" y="0"/>
                </a:moveTo>
                <a:lnTo>
                  <a:pt x="675" y="184"/>
                </a:lnTo>
                <a:lnTo>
                  <a:pt x="675" y="368"/>
                </a:lnTo>
                <a:lnTo>
                  <a:pt x="613" y="368"/>
                </a:lnTo>
                <a:lnTo>
                  <a:pt x="613" y="276"/>
                </a:lnTo>
                <a:lnTo>
                  <a:pt x="46" y="138"/>
                </a:lnTo>
                <a:lnTo>
                  <a:pt x="0" y="0"/>
                </a:lnTo>
                <a:close/>
              </a:path>
            </a:pathLst>
          </a:custGeom>
          <a:solidFill>
            <a:srgbClr val="D8D2C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62500" lnSpcReduction="20000"/>
          </a:bodyPr>
          <a:lstStyle/>
          <a:p>
            <a:endParaRPr lang="zh-CN" altLang="en-US"/>
          </a:p>
        </p:txBody>
      </p:sp>
      <p:sp>
        <p:nvSpPr>
          <p:cNvPr id="52" name="iśḷîdè">
            <a:extLst>
              <a:ext uri="{FF2B5EF4-FFF2-40B4-BE49-F238E27FC236}">
                <a16:creationId xmlns:a16="http://schemas.microsoft.com/office/drawing/2014/main" id="{B33223B2-559E-498A-8100-09AA1B0EFC47}"/>
              </a:ext>
            </a:extLst>
          </p:cNvPr>
          <p:cNvSpPr/>
          <p:nvPr/>
        </p:nvSpPr>
        <p:spPr bwMode="auto">
          <a:xfrm>
            <a:off x="1577206" y="3545418"/>
            <a:ext cx="1251251" cy="1021937"/>
          </a:xfrm>
          <a:custGeom>
            <a:avLst/>
            <a:gdLst/>
            <a:ahLst/>
            <a:cxnLst>
              <a:cxn ang="0">
                <a:pos x="45" y="0"/>
              </a:cxn>
              <a:cxn ang="0">
                <a:pos x="125" y="14"/>
              </a:cxn>
              <a:cxn ang="0">
                <a:pos x="131" y="25"/>
              </a:cxn>
              <a:cxn ang="0">
                <a:pos x="119" y="107"/>
              </a:cxn>
              <a:cxn ang="0">
                <a:pos x="97" y="103"/>
              </a:cxn>
              <a:cxn ang="0">
                <a:pos x="100" y="37"/>
              </a:cxn>
              <a:cxn ang="0">
                <a:pos x="0" y="31"/>
              </a:cxn>
              <a:cxn ang="0">
                <a:pos x="45" y="0"/>
              </a:cxn>
            </a:cxnLst>
            <a:rect l="0" t="0" r="r" b="b"/>
            <a:pathLst>
              <a:path w="131" h="107">
                <a:moveTo>
                  <a:pt x="45" y="0"/>
                </a:moveTo>
                <a:cubicBezTo>
                  <a:pt x="50" y="1"/>
                  <a:pt x="122" y="13"/>
                  <a:pt x="125" y="14"/>
                </a:cubicBezTo>
                <a:cubicBezTo>
                  <a:pt x="130" y="16"/>
                  <a:pt x="131" y="22"/>
                  <a:pt x="131" y="25"/>
                </a:cubicBezTo>
                <a:cubicBezTo>
                  <a:pt x="130" y="27"/>
                  <a:pt x="119" y="107"/>
                  <a:pt x="119" y="107"/>
                </a:cubicBezTo>
                <a:cubicBezTo>
                  <a:pt x="97" y="103"/>
                  <a:pt x="97" y="103"/>
                  <a:pt x="97" y="103"/>
                </a:cubicBezTo>
                <a:cubicBezTo>
                  <a:pt x="97" y="103"/>
                  <a:pt x="93" y="73"/>
                  <a:pt x="100" y="37"/>
                </a:cubicBezTo>
                <a:cubicBezTo>
                  <a:pt x="100" y="37"/>
                  <a:pt x="0" y="44"/>
                  <a:pt x="0" y="31"/>
                </a:cubicBezTo>
                <a:cubicBezTo>
                  <a:pt x="0" y="18"/>
                  <a:pt x="45" y="0"/>
                  <a:pt x="45" y="0"/>
                </a:cubicBezTo>
                <a:close/>
              </a:path>
            </a:pathLst>
          </a:custGeom>
          <a:solidFill>
            <a:srgbClr val="282828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53" name="iśľïďé">
            <a:extLst>
              <a:ext uri="{FF2B5EF4-FFF2-40B4-BE49-F238E27FC236}">
                <a16:creationId xmlns:a16="http://schemas.microsoft.com/office/drawing/2014/main" id="{6F162C63-BEA8-419D-9F77-F537F1196E5C}"/>
              </a:ext>
            </a:extLst>
          </p:cNvPr>
          <p:cNvSpPr/>
          <p:nvPr/>
        </p:nvSpPr>
        <p:spPr bwMode="auto">
          <a:xfrm>
            <a:off x="1567859" y="3602746"/>
            <a:ext cx="1193921" cy="955262"/>
          </a:xfrm>
          <a:custGeom>
            <a:avLst/>
            <a:gdLst/>
            <a:ahLst/>
            <a:cxnLst>
              <a:cxn ang="0">
                <a:pos x="101" y="31"/>
              </a:cxn>
              <a:cxn ang="0">
                <a:pos x="0" y="25"/>
              </a:cxn>
              <a:cxn ang="0">
                <a:pos x="23" y="0"/>
              </a:cxn>
              <a:cxn ang="0">
                <a:pos x="119" y="15"/>
              </a:cxn>
              <a:cxn ang="0">
                <a:pos x="122" y="19"/>
              </a:cxn>
              <a:cxn ang="0">
                <a:pos x="115" y="100"/>
              </a:cxn>
              <a:cxn ang="0">
                <a:pos x="98" y="97"/>
              </a:cxn>
              <a:cxn ang="0">
                <a:pos x="101" y="31"/>
              </a:cxn>
            </a:cxnLst>
            <a:rect l="0" t="0" r="r" b="b"/>
            <a:pathLst>
              <a:path w="125" h="100">
                <a:moveTo>
                  <a:pt x="101" y="31"/>
                </a:moveTo>
                <a:cubicBezTo>
                  <a:pt x="101" y="31"/>
                  <a:pt x="0" y="38"/>
                  <a:pt x="0" y="25"/>
                </a:cubicBezTo>
                <a:cubicBezTo>
                  <a:pt x="0" y="17"/>
                  <a:pt x="9" y="6"/>
                  <a:pt x="23" y="0"/>
                </a:cubicBezTo>
                <a:cubicBezTo>
                  <a:pt x="43" y="3"/>
                  <a:pt x="100" y="8"/>
                  <a:pt x="119" y="15"/>
                </a:cubicBezTo>
                <a:cubicBezTo>
                  <a:pt x="122" y="16"/>
                  <a:pt x="121" y="18"/>
                  <a:pt x="122" y="19"/>
                </a:cubicBezTo>
                <a:cubicBezTo>
                  <a:pt x="125" y="25"/>
                  <a:pt x="117" y="85"/>
                  <a:pt x="115" y="100"/>
                </a:cubicBezTo>
                <a:cubicBezTo>
                  <a:pt x="98" y="97"/>
                  <a:pt x="98" y="97"/>
                  <a:pt x="98" y="97"/>
                </a:cubicBezTo>
                <a:cubicBezTo>
                  <a:pt x="98" y="97"/>
                  <a:pt x="94" y="67"/>
                  <a:pt x="101" y="31"/>
                </a:cubicBez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54" name="î$ḷíḓé">
            <a:extLst>
              <a:ext uri="{FF2B5EF4-FFF2-40B4-BE49-F238E27FC236}">
                <a16:creationId xmlns:a16="http://schemas.microsoft.com/office/drawing/2014/main" id="{58DA4C54-8DEF-4BFB-8443-8312AD3908BE}"/>
              </a:ext>
            </a:extLst>
          </p:cNvPr>
          <p:cNvSpPr/>
          <p:nvPr/>
        </p:nvSpPr>
        <p:spPr bwMode="auto">
          <a:xfrm>
            <a:off x="2522499" y="3182755"/>
            <a:ext cx="467972" cy="114656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5" y="2"/>
              </a:cxn>
              <a:cxn ang="0">
                <a:pos x="33" y="0"/>
              </a:cxn>
              <a:cxn ang="0">
                <a:pos x="48" y="7"/>
              </a:cxn>
              <a:cxn ang="0">
                <a:pos x="43" y="9"/>
              </a:cxn>
              <a:cxn ang="0">
                <a:pos x="24" y="10"/>
              </a:cxn>
              <a:cxn ang="0">
                <a:pos x="15" y="10"/>
              </a:cxn>
              <a:cxn ang="0">
                <a:pos x="2" y="11"/>
              </a:cxn>
              <a:cxn ang="0">
                <a:pos x="0" y="2"/>
              </a:cxn>
            </a:cxnLst>
            <a:rect l="0" t="0" r="r" b="b"/>
            <a:pathLst>
              <a:path w="49" h="12">
                <a:moveTo>
                  <a:pt x="0" y="2"/>
                </a:moveTo>
                <a:cubicBezTo>
                  <a:pt x="5" y="1"/>
                  <a:pt x="13" y="2"/>
                  <a:pt x="15" y="2"/>
                </a:cubicBezTo>
                <a:cubicBezTo>
                  <a:pt x="17" y="2"/>
                  <a:pt x="31" y="0"/>
                  <a:pt x="33" y="0"/>
                </a:cubicBezTo>
                <a:cubicBezTo>
                  <a:pt x="35" y="1"/>
                  <a:pt x="45" y="5"/>
                  <a:pt x="48" y="7"/>
                </a:cubicBezTo>
                <a:cubicBezTo>
                  <a:pt x="48" y="7"/>
                  <a:pt x="49" y="12"/>
                  <a:pt x="43" y="9"/>
                </a:cubicBezTo>
                <a:cubicBezTo>
                  <a:pt x="33" y="6"/>
                  <a:pt x="29" y="9"/>
                  <a:pt x="24" y="10"/>
                </a:cubicBezTo>
                <a:cubicBezTo>
                  <a:pt x="19" y="11"/>
                  <a:pt x="17" y="10"/>
                  <a:pt x="15" y="10"/>
                </a:cubicBezTo>
                <a:cubicBezTo>
                  <a:pt x="13" y="10"/>
                  <a:pt x="2" y="11"/>
                  <a:pt x="2" y="11"/>
                </a:cubicBezTo>
                <a:lnTo>
                  <a:pt x="0" y="2"/>
                </a:lnTo>
                <a:close/>
              </a:path>
            </a:pathLst>
          </a:custGeom>
          <a:solidFill>
            <a:srgbClr val="F4CDB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endParaRPr lang="zh-CN" altLang="en-US"/>
          </a:p>
        </p:txBody>
      </p:sp>
      <p:sp>
        <p:nvSpPr>
          <p:cNvPr id="55" name="iṥľíḋè">
            <a:extLst>
              <a:ext uri="{FF2B5EF4-FFF2-40B4-BE49-F238E27FC236}">
                <a16:creationId xmlns:a16="http://schemas.microsoft.com/office/drawing/2014/main" id="{867F94F2-4D22-4D69-A42E-5ED75A20C801}"/>
              </a:ext>
            </a:extLst>
          </p:cNvPr>
          <p:cNvSpPr/>
          <p:nvPr/>
        </p:nvSpPr>
        <p:spPr bwMode="auto">
          <a:xfrm>
            <a:off x="2541815" y="3182755"/>
            <a:ext cx="57328" cy="15266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7" y="0"/>
              </a:cxn>
              <a:cxn ang="0">
                <a:pos x="92" y="245"/>
              </a:cxn>
              <a:cxn ang="0">
                <a:pos x="15" y="245"/>
              </a:cxn>
              <a:cxn ang="0">
                <a:pos x="0" y="0"/>
              </a:cxn>
            </a:cxnLst>
            <a:rect l="0" t="0" r="r" b="b"/>
            <a:pathLst>
              <a:path w="92" h="245">
                <a:moveTo>
                  <a:pt x="0" y="0"/>
                </a:moveTo>
                <a:lnTo>
                  <a:pt x="77" y="0"/>
                </a:lnTo>
                <a:lnTo>
                  <a:pt x="92" y="245"/>
                </a:lnTo>
                <a:lnTo>
                  <a:pt x="15" y="245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endParaRPr lang="zh-CN" altLang="en-US"/>
          </a:p>
        </p:txBody>
      </p:sp>
      <p:sp>
        <p:nvSpPr>
          <p:cNvPr id="56" name="îš1iḑe">
            <a:extLst>
              <a:ext uri="{FF2B5EF4-FFF2-40B4-BE49-F238E27FC236}">
                <a16:creationId xmlns:a16="http://schemas.microsoft.com/office/drawing/2014/main" id="{01CF27CA-6632-4122-A4E9-091EC23A6586}"/>
              </a:ext>
            </a:extLst>
          </p:cNvPr>
          <p:cNvSpPr/>
          <p:nvPr/>
        </p:nvSpPr>
        <p:spPr bwMode="auto">
          <a:xfrm>
            <a:off x="1691862" y="2628789"/>
            <a:ext cx="869270" cy="754613"/>
          </a:xfrm>
          <a:custGeom>
            <a:avLst/>
            <a:gdLst/>
            <a:ahLst/>
            <a:cxnLst>
              <a:cxn ang="0">
                <a:pos x="26" y="13"/>
              </a:cxn>
              <a:cxn ang="0">
                <a:pos x="44" y="51"/>
              </a:cxn>
              <a:cxn ang="0">
                <a:pos x="91" y="57"/>
              </a:cxn>
              <a:cxn ang="0">
                <a:pos x="91" y="77"/>
              </a:cxn>
              <a:cxn ang="0">
                <a:pos x="32" y="74"/>
              </a:cxn>
              <a:cxn ang="0">
                <a:pos x="4" y="15"/>
              </a:cxn>
              <a:cxn ang="0">
                <a:pos x="26" y="13"/>
              </a:cxn>
            </a:cxnLst>
            <a:rect l="0" t="0" r="r" b="b"/>
            <a:pathLst>
              <a:path w="91" h="79">
                <a:moveTo>
                  <a:pt x="26" y="13"/>
                </a:moveTo>
                <a:cubicBezTo>
                  <a:pt x="31" y="20"/>
                  <a:pt x="41" y="48"/>
                  <a:pt x="44" y="51"/>
                </a:cubicBezTo>
                <a:cubicBezTo>
                  <a:pt x="52" y="58"/>
                  <a:pt x="91" y="57"/>
                  <a:pt x="91" y="57"/>
                </a:cubicBezTo>
                <a:cubicBezTo>
                  <a:pt x="91" y="77"/>
                  <a:pt x="91" y="77"/>
                  <a:pt x="91" y="77"/>
                </a:cubicBezTo>
                <a:cubicBezTo>
                  <a:pt x="91" y="77"/>
                  <a:pt x="44" y="79"/>
                  <a:pt x="32" y="74"/>
                </a:cubicBezTo>
                <a:cubicBezTo>
                  <a:pt x="24" y="71"/>
                  <a:pt x="0" y="29"/>
                  <a:pt x="4" y="15"/>
                </a:cubicBezTo>
                <a:cubicBezTo>
                  <a:pt x="9" y="0"/>
                  <a:pt x="26" y="13"/>
                  <a:pt x="26" y="1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57" name="i$1ïḋé">
            <a:extLst>
              <a:ext uri="{FF2B5EF4-FFF2-40B4-BE49-F238E27FC236}">
                <a16:creationId xmlns:a16="http://schemas.microsoft.com/office/drawing/2014/main" id="{B1C1AE8A-2FFA-4813-944A-0C094D6648B4}"/>
              </a:ext>
            </a:extLst>
          </p:cNvPr>
          <p:cNvSpPr/>
          <p:nvPr/>
        </p:nvSpPr>
        <p:spPr bwMode="auto">
          <a:xfrm>
            <a:off x="1319230" y="2886767"/>
            <a:ext cx="410644" cy="839982"/>
          </a:xfrm>
          <a:custGeom>
            <a:avLst/>
            <a:gdLst/>
            <a:ahLst/>
            <a:cxnLst>
              <a:cxn ang="0">
                <a:pos x="2" y="72"/>
              </a:cxn>
              <a:cxn ang="0">
                <a:pos x="18" y="88"/>
              </a:cxn>
              <a:cxn ang="0">
                <a:pos x="29" y="88"/>
              </a:cxn>
              <a:cxn ang="0">
                <a:pos x="43" y="71"/>
              </a:cxn>
              <a:cxn ang="0">
                <a:pos x="41" y="16"/>
              </a:cxn>
              <a:cxn ang="0">
                <a:pos x="25" y="0"/>
              </a:cxn>
              <a:cxn ang="0">
                <a:pos x="14" y="1"/>
              </a:cxn>
              <a:cxn ang="0">
                <a:pos x="0" y="18"/>
              </a:cxn>
              <a:cxn ang="0">
                <a:pos x="2" y="72"/>
              </a:cxn>
            </a:cxnLst>
            <a:rect l="0" t="0" r="r" b="b"/>
            <a:pathLst>
              <a:path w="43" h="88">
                <a:moveTo>
                  <a:pt x="2" y="72"/>
                </a:moveTo>
                <a:cubicBezTo>
                  <a:pt x="3" y="81"/>
                  <a:pt x="10" y="88"/>
                  <a:pt x="18" y="88"/>
                </a:cubicBezTo>
                <a:cubicBezTo>
                  <a:pt x="29" y="88"/>
                  <a:pt x="29" y="88"/>
                  <a:pt x="29" y="88"/>
                </a:cubicBezTo>
                <a:cubicBezTo>
                  <a:pt x="37" y="87"/>
                  <a:pt x="43" y="80"/>
                  <a:pt x="43" y="71"/>
                </a:cubicBezTo>
                <a:cubicBezTo>
                  <a:pt x="41" y="16"/>
                  <a:pt x="41" y="16"/>
                  <a:pt x="41" y="16"/>
                </a:cubicBezTo>
                <a:cubicBezTo>
                  <a:pt x="40" y="7"/>
                  <a:pt x="33" y="0"/>
                  <a:pt x="25" y="0"/>
                </a:cubicBezTo>
                <a:cubicBezTo>
                  <a:pt x="14" y="1"/>
                  <a:pt x="14" y="1"/>
                  <a:pt x="14" y="1"/>
                </a:cubicBezTo>
                <a:cubicBezTo>
                  <a:pt x="6" y="1"/>
                  <a:pt x="0" y="9"/>
                  <a:pt x="0" y="18"/>
                </a:cubicBezTo>
                <a:lnTo>
                  <a:pt x="2" y="72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58" name="ïṡļïḑé">
            <a:extLst>
              <a:ext uri="{FF2B5EF4-FFF2-40B4-BE49-F238E27FC236}">
                <a16:creationId xmlns:a16="http://schemas.microsoft.com/office/drawing/2014/main" id="{A5556D6A-45D1-4FA8-B4A3-F018545536E9}"/>
              </a:ext>
            </a:extLst>
          </p:cNvPr>
          <p:cNvSpPr/>
          <p:nvPr/>
        </p:nvSpPr>
        <p:spPr bwMode="auto">
          <a:xfrm>
            <a:off x="2322472" y="3459426"/>
            <a:ext cx="1059949" cy="105310"/>
          </a:xfrm>
          <a:prstGeom prst="rect">
            <a:avLst/>
          </a:prstGeom>
          <a:solidFill>
            <a:srgbClr val="D8D2CA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endParaRPr lang="zh-CN" altLang="en-US"/>
          </a:p>
        </p:txBody>
      </p:sp>
      <p:sp>
        <p:nvSpPr>
          <p:cNvPr id="59" name="îṣ1ïďé">
            <a:extLst>
              <a:ext uri="{FF2B5EF4-FFF2-40B4-BE49-F238E27FC236}">
                <a16:creationId xmlns:a16="http://schemas.microsoft.com/office/drawing/2014/main" id="{40CCD1C8-CCDC-48AD-823A-52A8C79E3D3D}"/>
              </a:ext>
            </a:extLst>
          </p:cNvPr>
          <p:cNvSpPr/>
          <p:nvPr/>
        </p:nvSpPr>
        <p:spPr bwMode="auto">
          <a:xfrm>
            <a:off x="2484487" y="3354739"/>
            <a:ext cx="668621" cy="8599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endParaRPr lang="zh-CN" altLang="en-US"/>
          </a:p>
        </p:txBody>
      </p:sp>
      <p:sp>
        <p:nvSpPr>
          <p:cNvPr id="60" name="iṧ1îďé">
            <a:extLst>
              <a:ext uri="{FF2B5EF4-FFF2-40B4-BE49-F238E27FC236}">
                <a16:creationId xmlns:a16="http://schemas.microsoft.com/office/drawing/2014/main" id="{1056E9C3-A322-4F0F-BA30-FE0170CCED63}"/>
              </a:ext>
            </a:extLst>
          </p:cNvPr>
          <p:cNvSpPr/>
          <p:nvPr/>
        </p:nvSpPr>
        <p:spPr bwMode="auto">
          <a:xfrm>
            <a:off x="3067115" y="2772111"/>
            <a:ext cx="248007" cy="668621"/>
          </a:xfrm>
          <a:custGeom>
            <a:avLst/>
            <a:gdLst/>
            <a:ahLst/>
            <a:cxnLst>
              <a:cxn ang="0">
                <a:pos x="138" y="1073"/>
              </a:cxn>
              <a:cxn ang="0">
                <a:pos x="398" y="31"/>
              </a:cxn>
              <a:cxn ang="0">
                <a:pos x="260" y="0"/>
              </a:cxn>
              <a:cxn ang="0">
                <a:pos x="0" y="1027"/>
              </a:cxn>
              <a:cxn ang="0">
                <a:pos x="138" y="1073"/>
              </a:cxn>
            </a:cxnLst>
            <a:rect l="0" t="0" r="r" b="b"/>
            <a:pathLst>
              <a:path w="398" h="1073">
                <a:moveTo>
                  <a:pt x="138" y="1073"/>
                </a:moveTo>
                <a:lnTo>
                  <a:pt x="398" y="31"/>
                </a:lnTo>
                <a:lnTo>
                  <a:pt x="260" y="0"/>
                </a:lnTo>
                <a:lnTo>
                  <a:pt x="0" y="1027"/>
                </a:lnTo>
                <a:lnTo>
                  <a:pt x="138" y="1073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61" name="îŝ1îďe">
            <a:extLst>
              <a:ext uri="{FF2B5EF4-FFF2-40B4-BE49-F238E27FC236}">
                <a16:creationId xmlns:a16="http://schemas.microsoft.com/office/drawing/2014/main" id="{FF6A5C6D-73F1-4412-A993-892A3BE01EDC}"/>
              </a:ext>
            </a:extLst>
          </p:cNvPr>
          <p:cNvSpPr/>
          <p:nvPr/>
        </p:nvSpPr>
        <p:spPr bwMode="auto">
          <a:xfrm>
            <a:off x="1539195" y="2638137"/>
            <a:ext cx="496636" cy="1231933"/>
          </a:xfrm>
          <a:custGeom>
            <a:avLst/>
            <a:gdLst/>
            <a:ahLst/>
            <a:cxnLst>
              <a:cxn ang="0">
                <a:pos x="1" y="27"/>
              </a:cxn>
              <a:cxn ang="0">
                <a:pos x="13" y="0"/>
              </a:cxn>
              <a:cxn ang="0">
                <a:pos x="31" y="3"/>
              </a:cxn>
              <a:cxn ang="0">
                <a:pos x="50" y="70"/>
              </a:cxn>
              <a:cxn ang="0">
                <a:pos x="49" y="95"/>
              </a:cxn>
              <a:cxn ang="0">
                <a:pos x="1" y="129"/>
              </a:cxn>
              <a:cxn ang="0">
                <a:pos x="1" y="88"/>
              </a:cxn>
              <a:cxn ang="0">
                <a:pos x="1" y="27"/>
              </a:cxn>
            </a:cxnLst>
            <a:rect l="0" t="0" r="r" b="b"/>
            <a:pathLst>
              <a:path w="52" h="129">
                <a:moveTo>
                  <a:pt x="1" y="27"/>
                </a:moveTo>
                <a:cubicBezTo>
                  <a:pt x="1" y="4"/>
                  <a:pt x="12" y="0"/>
                  <a:pt x="13" y="0"/>
                </a:cubicBezTo>
                <a:cubicBezTo>
                  <a:pt x="31" y="3"/>
                  <a:pt x="31" y="3"/>
                  <a:pt x="31" y="3"/>
                </a:cubicBezTo>
                <a:cubicBezTo>
                  <a:pt x="36" y="5"/>
                  <a:pt x="52" y="61"/>
                  <a:pt x="50" y="70"/>
                </a:cubicBezTo>
                <a:cubicBezTo>
                  <a:pt x="51" y="81"/>
                  <a:pt x="48" y="90"/>
                  <a:pt x="49" y="95"/>
                </a:cubicBezTo>
                <a:cubicBezTo>
                  <a:pt x="44" y="95"/>
                  <a:pt x="1" y="129"/>
                  <a:pt x="1" y="129"/>
                </a:cubicBezTo>
                <a:cubicBezTo>
                  <a:pt x="1" y="129"/>
                  <a:pt x="1" y="104"/>
                  <a:pt x="1" y="88"/>
                </a:cubicBezTo>
                <a:cubicBezTo>
                  <a:pt x="2" y="73"/>
                  <a:pt x="0" y="52"/>
                  <a:pt x="1" y="27"/>
                </a:cubicBezTo>
                <a:close/>
              </a:path>
            </a:pathLst>
          </a:custGeom>
          <a:solidFill>
            <a:srgbClr val="D8D2C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62" name="í$ḷiḓé">
            <a:extLst>
              <a:ext uri="{FF2B5EF4-FFF2-40B4-BE49-F238E27FC236}">
                <a16:creationId xmlns:a16="http://schemas.microsoft.com/office/drawing/2014/main" id="{9BEBE6E8-A160-4295-B8DA-3414AC97617A}"/>
              </a:ext>
            </a:extLst>
          </p:cNvPr>
          <p:cNvSpPr/>
          <p:nvPr/>
        </p:nvSpPr>
        <p:spPr bwMode="auto">
          <a:xfrm>
            <a:off x="1634534" y="2648107"/>
            <a:ext cx="401298" cy="1011966"/>
          </a:xfrm>
          <a:custGeom>
            <a:avLst/>
            <a:gdLst/>
            <a:ahLst/>
            <a:cxnLst>
              <a:cxn ang="0">
                <a:pos x="337" y="0"/>
              </a:cxn>
              <a:cxn ang="0">
                <a:pos x="491" y="168"/>
              </a:cxn>
              <a:cxn ang="0">
                <a:pos x="644" y="628"/>
              </a:cxn>
              <a:cxn ang="0">
                <a:pos x="598" y="1440"/>
              </a:cxn>
              <a:cxn ang="0">
                <a:pos x="291" y="1624"/>
              </a:cxn>
              <a:cxn ang="0">
                <a:pos x="0" y="138"/>
              </a:cxn>
              <a:cxn ang="0">
                <a:pos x="153" y="0"/>
              </a:cxn>
              <a:cxn ang="0">
                <a:pos x="337" y="0"/>
              </a:cxn>
            </a:cxnLst>
            <a:rect l="0" t="0" r="r" b="b"/>
            <a:pathLst>
              <a:path w="644" h="1624">
                <a:moveTo>
                  <a:pt x="337" y="0"/>
                </a:moveTo>
                <a:lnTo>
                  <a:pt x="491" y="168"/>
                </a:lnTo>
                <a:lnTo>
                  <a:pt x="644" y="628"/>
                </a:lnTo>
                <a:lnTo>
                  <a:pt x="598" y="1440"/>
                </a:lnTo>
                <a:lnTo>
                  <a:pt x="291" y="1624"/>
                </a:lnTo>
                <a:lnTo>
                  <a:pt x="0" y="138"/>
                </a:lnTo>
                <a:lnTo>
                  <a:pt x="153" y="0"/>
                </a:lnTo>
                <a:lnTo>
                  <a:pt x="337" y="0"/>
                </a:lnTo>
                <a:close/>
              </a:path>
            </a:pathLst>
          </a:custGeom>
          <a:solidFill>
            <a:srgbClr val="D8D2C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63" name="íşḻiḍè">
            <a:extLst>
              <a:ext uri="{FF2B5EF4-FFF2-40B4-BE49-F238E27FC236}">
                <a16:creationId xmlns:a16="http://schemas.microsoft.com/office/drawing/2014/main" id="{69A2EFC3-2D16-459D-8249-FE9A8F16EB4D}"/>
              </a:ext>
            </a:extLst>
          </p:cNvPr>
          <p:cNvSpPr/>
          <p:nvPr/>
        </p:nvSpPr>
        <p:spPr bwMode="auto">
          <a:xfrm>
            <a:off x="2407841" y="3220766"/>
            <a:ext cx="496636" cy="114656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6" y="2"/>
              </a:cxn>
              <a:cxn ang="0">
                <a:pos x="35" y="0"/>
              </a:cxn>
              <a:cxn ang="0">
                <a:pos x="51" y="7"/>
              </a:cxn>
              <a:cxn ang="0">
                <a:pos x="46" y="10"/>
              </a:cxn>
              <a:cxn ang="0">
                <a:pos x="26" y="11"/>
              </a:cxn>
              <a:cxn ang="0">
                <a:pos x="16" y="11"/>
              </a:cxn>
              <a:cxn ang="0">
                <a:pos x="2" y="12"/>
              </a:cxn>
              <a:cxn ang="0">
                <a:pos x="0" y="2"/>
              </a:cxn>
            </a:cxnLst>
            <a:rect l="0" t="0" r="r" b="b"/>
            <a:pathLst>
              <a:path w="52" h="12">
                <a:moveTo>
                  <a:pt x="0" y="2"/>
                </a:moveTo>
                <a:cubicBezTo>
                  <a:pt x="5" y="1"/>
                  <a:pt x="14" y="2"/>
                  <a:pt x="16" y="2"/>
                </a:cubicBezTo>
                <a:cubicBezTo>
                  <a:pt x="18" y="2"/>
                  <a:pt x="33" y="0"/>
                  <a:pt x="35" y="0"/>
                </a:cubicBezTo>
                <a:cubicBezTo>
                  <a:pt x="37" y="1"/>
                  <a:pt x="48" y="5"/>
                  <a:pt x="51" y="7"/>
                </a:cubicBezTo>
                <a:cubicBezTo>
                  <a:pt x="51" y="7"/>
                  <a:pt x="52" y="12"/>
                  <a:pt x="46" y="10"/>
                </a:cubicBezTo>
                <a:cubicBezTo>
                  <a:pt x="35" y="7"/>
                  <a:pt x="31" y="10"/>
                  <a:pt x="26" y="11"/>
                </a:cubicBezTo>
                <a:cubicBezTo>
                  <a:pt x="21" y="12"/>
                  <a:pt x="18" y="11"/>
                  <a:pt x="16" y="11"/>
                </a:cubicBezTo>
                <a:cubicBezTo>
                  <a:pt x="14" y="11"/>
                  <a:pt x="2" y="12"/>
                  <a:pt x="2" y="12"/>
                </a:cubicBezTo>
                <a:lnTo>
                  <a:pt x="0" y="2"/>
                </a:lnTo>
                <a:close/>
              </a:path>
            </a:pathLst>
          </a:custGeom>
          <a:solidFill>
            <a:srgbClr val="FFEAD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endParaRPr lang="zh-CN" altLang="en-US"/>
          </a:p>
        </p:txBody>
      </p:sp>
      <p:sp>
        <p:nvSpPr>
          <p:cNvPr id="64" name="isḻïḑé">
            <a:extLst>
              <a:ext uri="{FF2B5EF4-FFF2-40B4-BE49-F238E27FC236}">
                <a16:creationId xmlns:a16="http://schemas.microsoft.com/office/drawing/2014/main" id="{EC7BFAED-9F32-4BC8-909B-0F53E4684C4F}"/>
              </a:ext>
            </a:extLst>
          </p:cNvPr>
          <p:cNvSpPr/>
          <p:nvPr/>
        </p:nvSpPr>
        <p:spPr bwMode="auto">
          <a:xfrm>
            <a:off x="1653851" y="2208798"/>
            <a:ext cx="286640" cy="534647"/>
          </a:xfrm>
          <a:custGeom>
            <a:avLst/>
            <a:gdLst/>
            <a:ahLst/>
            <a:cxnLst>
              <a:cxn ang="0">
                <a:pos x="30" y="30"/>
              </a:cxn>
              <a:cxn ang="0">
                <a:pos x="23" y="49"/>
              </a:cxn>
              <a:cxn ang="0">
                <a:pos x="13" y="52"/>
              </a:cxn>
              <a:cxn ang="0">
                <a:pos x="0" y="45"/>
              </a:cxn>
              <a:cxn ang="0">
                <a:pos x="5" y="11"/>
              </a:cxn>
              <a:cxn ang="0">
                <a:pos x="30" y="30"/>
              </a:cxn>
            </a:cxnLst>
            <a:rect l="0" t="0" r="r" b="b"/>
            <a:pathLst>
              <a:path w="30" h="56">
                <a:moveTo>
                  <a:pt x="30" y="30"/>
                </a:moveTo>
                <a:cubicBezTo>
                  <a:pt x="23" y="36"/>
                  <a:pt x="22" y="45"/>
                  <a:pt x="23" y="49"/>
                </a:cubicBezTo>
                <a:cubicBezTo>
                  <a:pt x="24" y="55"/>
                  <a:pt x="22" y="56"/>
                  <a:pt x="13" y="52"/>
                </a:cubicBezTo>
                <a:cubicBezTo>
                  <a:pt x="6" y="48"/>
                  <a:pt x="5" y="47"/>
                  <a:pt x="0" y="45"/>
                </a:cubicBezTo>
                <a:cubicBezTo>
                  <a:pt x="3" y="42"/>
                  <a:pt x="8" y="23"/>
                  <a:pt x="5" y="11"/>
                </a:cubicBezTo>
                <a:cubicBezTo>
                  <a:pt x="3" y="0"/>
                  <a:pt x="30" y="30"/>
                  <a:pt x="30" y="30"/>
                </a:cubicBezTo>
                <a:close/>
              </a:path>
            </a:pathLst>
          </a:custGeom>
          <a:solidFill>
            <a:srgbClr val="FFEAD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65" name="iš1íďé">
            <a:extLst>
              <a:ext uri="{FF2B5EF4-FFF2-40B4-BE49-F238E27FC236}">
                <a16:creationId xmlns:a16="http://schemas.microsoft.com/office/drawing/2014/main" id="{DB6C9477-6640-4EC5-A49C-E16E895BD8CF}"/>
              </a:ext>
            </a:extLst>
          </p:cNvPr>
          <p:cNvSpPr/>
          <p:nvPr/>
        </p:nvSpPr>
        <p:spPr bwMode="auto">
          <a:xfrm>
            <a:off x="1653851" y="2246810"/>
            <a:ext cx="324652" cy="429962"/>
          </a:xfrm>
          <a:custGeom>
            <a:avLst/>
            <a:gdLst/>
            <a:ahLst/>
            <a:cxnLst>
              <a:cxn ang="0">
                <a:pos x="6" y="6"/>
              </a:cxn>
              <a:cxn ang="0">
                <a:pos x="34" y="24"/>
              </a:cxn>
              <a:cxn ang="0">
                <a:pos x="10" y="45"/>
              </a:cxn>
              <a:cxn ang="0">
                <a:pos x="0" y="40"/>
              </a:cxn>
              <a:cxn ang="0">
                <a:pos x="6" y="6"/>
              </a:cxn>
            </a:cxnLst>
            <a:rect l="0" t="0" r="r" b="b"/>
            <a:pathLst>
              <a:path w="34" h="45">
                <a:moveTo>
                  <a:pt x="6" y="6"/>
                </a:moveTo>
                <a:cubicBezTo>
                  <a:pt x="4" y="0"/>
                  <a:pt x="27" y="17"/>
                  <a:pt x="34" y="24"/>
                </a:cubicBezTo>
                <a:cubicBezTo>
                  <a:pt x="10" y="45"/>
                  <a:pt x="10" y="45"/>
                  <a:pt x="10" y="45"/>
                </a:cubicBezTo>
                <a:cubicBezTo>
                  <a:pt x="6" y="43"/>
                  <a:pt x="4" y="41"/>
                  <a:pt x="0" y="40"/>
                </a:cubicBezTo>
                <a:cubicBezTo>
                  <a:pt x="3" y="37"/>
                  <a:pt x="8" y="18"/>
                  <a:pt x="6" y="6"/>
                </a:cubicBezTo>
                <a:close/>
              </a:path>
            </a:pathLst>
          </a:custGeom>
          <a:solidFill>
            <a:srgbClr val="F4CDB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66" name="iṥlîḋé">
            <a:extLst>
              <a:ext uri="{FF2B5EF4-FFF2-40B4-BE49-F238E27FC236}">
                <a16:creationId xmlns:a16="http://schemas.microsoft.com/office/drawing/2014/main" id="{2F9CAE43-278F-4888-8D51-4D5575098C32}"/>
              </a:ext>
            </a:extLst>
          </p:cNvPr>
          <p:cNvSpPr/>
          <p:nvPr/>
        </p:nvSpPr>
        <p:spPr bwMode="auto">
          <a:xfrm>
            <a:off x="1663198" y="1922158"/>
            <a:ext cx="544618" cy="668621"/>
          </a:xfrm>
          <a:custGeom>
            <a:avLst/>
            <a:gdLst/>
            <a:ahLst/>
            <a:cxnLst>
              <a:cxn ang="0">
                <a:pos x="4" y="25"/>
              </a:cxn>
              <a:cxn ang="0">
                <a:pos x="24" y="67"/>
              </a:cxn>
              <a:cxn ang="0">
                <a:pos x="53" y="38"/>
              </a:cxn>
              <a:cxn ang="0">
                <a:pos x="36" y="3"/>
              </a:cxn>
              <a:cxn ang="0">
                <a:pos x="4" y="25"/>
              </a:cxn>
            </a:cxnLst>
            <a:rect l="0" t="0" r="r" b="b"/>
            <a:pathLst>
              <a:path w="57" h="70">
                <a:moveTo>
                  <a:pt x="4" y="25"/>
                </a:moveTo>
                <a:cubicBezTo>
                  <a:pt x="0" y="43"/>
                  <a:pt x="10" y="64"/>
                  <a:pt x="24" y="67"/>
                </a:cubicBezTo>
                <a:cubicBezTo>
                  <a:pt x="39" y="70"/>
                  <a:pt x="49" y="57"/>
                  <a:pt x="53" y="38"/>
                </a:cubicBezTo>
                <a:cubicBezTo>
                  <a:pt x="57" y="20"/>
                  <a:pt x="51" y="6"/>
                  <a:pt x="36" y="3"/>
                </a:cubicBezTo>
                <a:cubicBezTo>
                  <a:pt x="22" y="0"/>
                  <a:pt x="8" y="6"/>
                  <a:pt x="4" y="25"/>
                </a:cubicBezTo>
                <a:close/>
              </a:path>
            </a:pathLst>
          </a:custGeom>
          <a:solidFill>
            <a:srgbClr val="FFEAD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67" name="íṡľíḑè">
            <a:extLst>
              <a:ext uri="{FF2B5EF4-FFF2-40B4-BE49-F238E27FC236}">
                <a16:creationId xmlns:a16="http://schemas.microsoft.com/office/drawing/2014/main" id="{D9AC6A6D-DD51-42CC-9F66-EB8418AA484A}"/>
              </a:ext>
            </a:extLst>
          </p:cNvPr>
          <p:cNvSpPr/>
          <p:nvPr/>
        </p:nvSpPr>
        <p:spPr bwMode="auto">
          <a:xfrm>
            <a:off x="2045178" y="2266126"/>
            <a:ext cx="114656" cy="200648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1" y="18"/>
              </a:cxn>
              <a:cxn ang="0">
                <a:pos x="1" y="19"/>
              </a:cxn>
              <a:cxn ang="0">
                <a:pos x="12" y="0"/>
              </a:cxn>
            </a:cxnLst>
            <a:rect l="0" t="0" r="r" b="b"/>
            <a:pathLst>
              <a:path w="12" h="21">
                <a:moveTo>
                  <a:pt x="12" y="0"/>
                </a:moveTo>
                <a:cubicBezTo>
                  <a:pt x="12" y="4"/>
                  <a:pt x="9" y="7"/>
                  <a:pt x="11" y="18"/>
                </a:cubicBezTo>
                <a:cubicBezTo>
                  <a:pt x="10" y="21"/>
                  <a:pt x="3" y="19"/>
                  <a:pt x="1" y="19"/>
                </a:cubicBezTo>
                <a:cubicBezTo>
                  <a:pt x="0" y="19"/>
                  <a:pt x="12" y="0"/>
                  <a:pt x="12" y="0"/>
                </a:cubicBezTo>
                <a:close/>
              </a:path>
            </a:pathLst>
          </a:custGeom>
          <a:solidFill>
            <a:srgbClr val="FFEAD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40000" lnSpcReduction="20000"/>
          </a:bodyPr>
          <a:lstStyle/>
          <a:p>
            <a:endParaRPr lang="zh-CN" altLang="en-US"/>
          </a:p>
        </p:txBody>
      </p:sp>
      <p:sp>
        <p:nvSpPr>
          <p:cNvPr id="68" name="ïṩḷíḑê">
            <a:extLst>
              <a:ext uri="{FF2B5EF4-FFF2-40B4-BE49-F238E27FC236}">
                <a16:creationId xmlns:a16="http://schemas.microsoft.com/office/drawing/2014/main" id="{F904B5F7-8D5D-4150-8C00-5AC575B78FC9}"/>
              </a:ext>
            </a:extLst>
          </p:cNvPr>
          <p:cNvSpPr/>
          <p:nvPr/>
        </p:nvSpPr>
        <p:spPr bwMode="auto">
          <a:xfrm>
            <a:off x="1643882" y="2580809"/>
            <a:ext cx="239283" cy="200648"/>
          </a:xfrm>
          <a:custGeom>
            <a:avLst/>
            <a:gdLst/>
            <a:ahLst/>
            <a:cxnLst>
              <a:cxn ang="0">
                <a:pos x="384" y="169"/>
              </a:cxn>
              <a:cxn ang="0">
                <a:pos x="31" y="0"/>
              </a:cxn>
              <a:cxn ang="0">
                <a:pos x="0" y="108"/>
              </a:cxn>
              <a:cxn ang="0">
                <a:pos x="384" y="322"/>
              </a:cxn>
              <a:cxn ang="0">
                <a:pos x="384" y="169"/>
              </a:cxn>
            </a:cxnLst>
            <a:rect l="0" t="0" r="r" b="b"/>
            <a:pathLst>
              <a:path w="384" h="322">
                <a:moveTo>
                  <a:pt x="384" y="169"/>
                </a:moveTo>
                <a:lnTo>
                  <a:pt x="31" y="0"/>
                </a:lnTo>
                <a:lnTo>
                  <a:pt x="0" y="108"/>
                </a:lnTo>
                <a:lnTo>
                  <a:pt x="384" y="322"/>
                </a:lnTo>
                <a:lnTo>
                  <a:pt x="384" y="169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40000" lnSpcReduction="20000"/>
          </a:bodyPr>
          <a:lstStyle/>
          <a:p>
            <a:endParaRPr lang="zh-CN" altLang="en-US"/>
          </a:p>
        </p:txBody>
      </p:sp>
      <p:sp>
        <p:nvSpPr>
          <p:cNvPr id="69" name="îSľîḑê">
            <a:extLst>
              <a:ext uri="{FF2B5EF4-FFF2-40B4-BE49-F238E27FC236}">
                <a16:creationId xmlns:a16="http://schemas.microsoft.com/office/drawing/2014/main" id="{50765CEA-2E9B-4375-AC81-DE02485EF84A}"/>
              </a:ext>
            </a:extLst>
          </p:cNvPr>
          <p:cNvSpPr/>
          <p:nvPr/>
        </p:nvSpPr>
        <p:spPr bwMode="auto">
          <a:xfrm>
            <a:off x="1663198" y="1922158"/>
            <a:ext cx="372634" cy="639957"/>
          </a:xfrm>
          <a:custGeom>
            <a:avLst/>
            <a:gdLst/>
            <a:ahLst/>
            <a:cxnLst>
              <a:cxn ang="0">
                <a:pos x="24" y="67"/>
              </a:cxn>
              <a:cxn ang="0">
                <a:pos x="29" y="67"/>
              </a:cxn>
              <a:cxn ang="0">
                <a:pos x="32" y="12"/>
              </a:cxn>
              <a:cxn ang="0">
                <a:pos x="36" y="3"/>
              </a:cxn>
              <a:cxn ang="0">
                <a:pos x="4" y="25"/>
              </a:cxn>
              <a:cxn ang="0">
                <a:pos x="24" y="67"/>
              </a:cxn>
            </a:cxnLst>
            <a:rect l="0" t="0" r="r" b="b"/>
            <a:pathLst>
              <a:path w="39" h="67">
                <a:moveTo>
                  <a:pt x="24" y="67"/>
                </a:moveTo>
                <a:cubicBezTo>
                  <a:pt x="25" y="67"/>
                  <a:pt x="27" y="67"/>
                  <a:pt x="29" y="67"/>
                </a:cubicBezTo>
                <a:cubicBezTo>
                  <a:pt x="15" y="59"/>
                  <a:pt x="28" y="18"/>
                  <a:pt x="32" y="12"/>
                </a:cubicBezTo>
                <a:cubicBezTo>
                  <a:pt x="30" y="11"/>
                  <a:pt x="39" y="4"/>
                  <a:pt x="36" y="3"/>
                </a:cubicBezTo>
                <a:cubicBezTo>
                  <a:pt x="21" y="0"/>
                  <a:pt x="8" y="6"/>
                  <a:pt x="4" y="25"/>
                </a:cubicBezTo>
                <a:cubicBezTo>
                  <a:pt x="0" y="43"/>
                  <a:pt x="9" y="64"/>
                  <a:pt x="24" y="67"/>
                </a:cubicBezTo>
                <a:close/>
              </a:path>
            </a:pathLst>
          </a:custGeom>
          <a:solidFill>
            <a:srgbClr val="F4CDB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70" name="îŝ1íḋe">
            <a:extLst>
              <a:ext uri="{FF2B5EF4-FFF2-40B4-BE49-F238E27FC236}">
                <a16:creationId xmlns:a16="http://schemas.microsoft.com/office/drawing/2014/main" id="{06F6C1FA-AC83-4A55-8AC3-65389187B6A3}"/>
              </a:ext>
            </a:extLst>
          </p:cNvPr>
          <p:cNvSpPr/>
          <p:nvPr/>
        </p:nvSpPr>
        <p:spPr bwMode="auto">
          <a:xfrm>
            <a:off x="1643882" y="1922158"/>
            <a:ext cx="553964" cy="525301"/>
          </a:xfrm>
          <a:custGeom>
            <a:avLst/>
            <a:gdLst/>
            <a:ahLst/>
            <a:cxnLst>
              <a:cxn ang="0">
                <a:pos x="39" y="25"/>
              </a:cxn>
              <a:cxn ang="0">
                <a:pos x="56" y="22"/>
              </a:cxn>
              <a:cxn ang="0">
                <a:pos x="31" y="2"/>
              </a:cxn>
              <a:cxn ang="0">
                <a:pos x="3" y="21"/>
              </a:cxn>
              <a:cxn ang="0">
                <a:pos x="7" y="55"/>
              </a:cxn>
              <a:cxn ang="0">
                <a:pos x="22" y="43"/>
              </a:cxn>
              <a:cxn ang="0">
                <a:pos x="23" y="31"/>
              </a:cxn>
              <a:cxn ang="0">
                <a:pos x="26" y="34"/>
              </a:cxn>
              <a:cxn ang="0">
                <a:pos x="39" y="25"/>
              </a:cxn>
            </a:cxnLst>
            <a:rect l="0" t="0" r="r" b="b"/>
            <a:pathLst>
              <a:path w="58" h="55">
                <a:moveTo>
                  <a:pt x="39" y="25"/>
                </a:moveTo>
                <a:cubicBezTo>
                  <a:pt x="56" y="22"/>
                  <a:pt x="56" y="22"/>
                  <a:pt x="56" y="22"/>
                </a:cubicBezTo>
                <a:cubicBezTo>
                  <a:pt x="58" y="19"/>
                  <a:pt x="54" y="4"/>
                  <a:pt x="31" y="2"/>
                </a:cubicBezTo>
                <a:cubicBezTo>
                  <a:pt x="11" y="0"/>
                  <a:pt x="6" y="9"/>
                  <a:pt x="3" y="21"/>
                </a:cubicBezTo>
                <a:cubicBezTo>
                  <a:pt x="0" y="33"/>
                  <a:pt x="7" y="55"/>
                  <a:pt x="7" y="55"/>
                </a:cubicBezTo>
                <a:cubicBezTo>
                  <a:pt x="7" y="55"/>
                  <a:pt x="24" y="47"/>
                  <a:pt x="22" y="43"/>
                </a:cubicBezTo>
                <a:cubicBezTo>
                  <a:pt x="20" y="40"/>
                  <a:pt x="19" y="31"/>
                  <a:pt x="23" y="31"/>
                </a:cubicBezTo>
                <a:cubicBezTo>
                  <a:pt x="25" y="31"/>
                  <a:pt x="26" y="34"/>
                  <a:pt x="26" y="34"/>
                </a:cubicBezTo>
                <a:lnTo>
                  <a:pt x="39" y="25"/>
                </a:lnTo>
                <a:close/>
              </a:path>
            </a:pathLst>
          </a:custGeom>
          <a:solidFill>
            <a:srgbClr val="5E201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71" name="iSľïde">
            <a:extLst>
              <a:ext uri="{FF2B5EF4-FFF2-40B4-BE49-F238E27FC236}">
                <a16:creationId xmlns:a16="http://schemas.microsoft.com/office/drawing/2014/main" id="{7D402C48-4686-435A-A11E-50EEF3311783}"/>
              </a:ext>
            </a:extLst>
          </p:cNvPr>
          <p:cNvSpPr/>
          <p:nvPr/>
        </p:nvSpPr>
        <p:spPr bwMode="auto">
          <a:xfrm>
            <a:off x="1462550" y="1836166"/>
            <a:ext cx="267324" cy="630610"/>
          </a:xfrm>
          <a:custGeom>
            <a:avLst/>
            <a:gdLst/>
            <a:ahLst/>
            <a:cxnLst>
              <a:cxn ang="0">
                <a:pos x="28" y="19"/>
              </a:cxn>
              <a:cxn ang="0">
                <a:pos x="8" y="19"/>
              </a:cxn>
              <a:cxn ang="0">
                <a:pos x="7" y="57"/>
              </a:cxn>
              <a:cxn ang="0">
                <a:pos x="1" y="62"/>
              </a:cxn>
              <a:cxn ang="0">
                <a:pos x="15" y="59"/>
              </a:cxn>
              <a:cxn ang="0">
                <a:pos x="22" y="27"/>
              </a:cxn>
              <a:cxn ang="0">
                <a:pos x="28" y="25"/>
              </a:cxn>
              <a:cxn ang="0">
                <a:pos x="28" y="19"/>
              </a:cxn>
            </a:cxnLst>
            <a:rect l="0" t="0" r="r" b="b"/>
            <a:pathLst>
              <a:path w="28" h="66">
                <a:moveTo>
                  <a:pt x="28" y="19"/>
                </a:moveTo>
                <a:cubicBezTo>
                  <a:pt x="25" y="14"/>
                  <a:pt x="17" y="0"/>
                  <a:pt x="8" y="19"/>
                </a:cubicBezTo>
                <a:cubicBezTo>
                  <a:pt x="1" y="36"/>
                  <a:pt x="7" y="51"/>
                  <a:pt x="7" y="57"/>
                </a:cubicBezTo>
                <a:cubicBezTo>
                  <a:pt x="7" y="60"/>
                  <a:pt x="3" y="62"/>
                  <a:pt x="1" y="62"/>
                </a:cubicBezTo>
                <a:cubicBezTo>
                  <a:pt x="0" y="62"/>
                  <a:pt x="9" y="66"/>
                  <a:pt x="15" y="59"/>
                </a:cubicBezTo>
                <a:cubicBezTo>
                  <a:pt x="22" y="53"/>
                  <a:pt x="17" y="31"/>
                  <a:pt x="22" y="27"/>
                </a:cubicBezTo>
                <a:cubicBezTo>
                  <a:pt x="24" y="26"/>
                  <a:pt x="28" y="25"/>
                  <a:pt x="28" y="25"/>
                </a:cubicBezTo>
                <a:lnTo>
                  <a:pt x="28" y="19"/>
                </a:lnTo>
                <a:close/>
              </a:path>
            </a:pathLst>
          </a:custGeom>
          <a:solidFill>
            <a:srgbClr val="5E201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72" name="íŝļíḑe">
            <a:extLst>
              <a:ext uri="{FF2B5EF4-FFF2-40B4-BE49-F238E27FC236}">
                <a16:creationId xmlns:a16="http://schemas.microsoft.com/office/drawing/2014/main" id="{4A92873D-A54C-416D-A351-D01105F64EAF}"/>
              </a:ext>
            </a:extLst>
          </p:cNvPr>
          <p:cNvSpPr/>
          <p:nvPr/>
        </p:nvSpPr>
        <p:spPr bwMode="auto">
          <a:xfrm>
            <a:off x="1959186" y="2122806"/>
            <a:ext cx="295988" cy="133351"/>
          </a:xfrm>
          <a:custGeom>
            <a:avLst/>
            <a:gdLst/>
            <a:ahLst/>
            <a:cxnLst>
              <a:cxn ang="0">
                <a:pos x="23" y="0"/>
              </a:cxn>
              <a:cxn ang="0">
                <a:pos x="26" y="14"/>
              </a:cxn>
              <a:cxn ang="0">
                <a:pos x="0" y="6"/>
              </a:cxn>
              <a:cxn ang="0">
                <a:pos x="8" y="0"/>
              </a:cxn>
              <a:cxn ang="0">
                <a:pos x="23" y="0"/>
              </a:cxn>
            </a:cxnLst>
            <a:rect l="0" t="0" r="r" b="b"/>
            <a:pathLst>
              <a:path w="31" h="14">
                <a:moveTo>
                  <a:pt x="23" y="0"/>
                </a:moveTo>
                <a:cubicBezTo>
                  <a:pt x="25" y="0"/>
                  <a:pt x="31" y="6"/>
                  <a:pt x="26" y="14"/>
                </a:cubicBezTo>
                <a:cubicBezTo>
                  <a:pt x="19" y="12"/>
                  <a:pt x="0" y="6"/>
                  <a:pt x="0" y="6"/>
                </a:cubicBezTo>
                <a:cubicBezTo>
                  <a:pt x="8" y="0"/>
                  <a:pt x="8" y="0"/>
                  <a:pt x="8" y="0"/>
                </a:cubicBezTo>
                <a:lnTo>
                  <a:pt x="23" y="0"/>
                </a:lnTo>
                <a:close/>
              </a:path>
            </a:pathLst>
          </a:custGeom>
          <a:solidFill>
            <a:srgbClr val="5E201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endParaRPr lang="zh-CN" altLang="en-US"/>
          </a:p>
        </p:txBody>
      </p:sp>
      <p:sp>
        <p:nvSpPr>
          <p:cNvPr id="73" name="iŝľíďe">
            <a:extLst>
              <a:ext uri="{FF2B5EF4-FFF2-40B4-BE49-F238E27FC236}">
                <a16:creationId xmlns:a16="http://schemas.microsoft.com/office/drawing/2014/main" id="{B2EAB6CF-9C47-4EBB-A2F1-F9D00C161C92}"/>
              </a:ext>
            </a:extLst>
          </p:cNvPr>
          <p:cNvSpPr/>
          <p:nvPr/>
        </p:nvSpPr>
        <p:spPr bwMode="auto">
          <a:xfrm>
            <a:off x="2446476" y="3220766"/>
            <a:ext cx="57328" cy="15266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6" y="16"/>
              </a:cxn>
              <a:cxn ang="0">
                <a:pos x="92" y="245"/>
              </a:cxn>
              <a:cxn ang="0">
                <a:pos x="0" y="245"/>
              </a:cxn>
              <a:cxn ang="0">
                <a:pos x="0" y="0"/>
              </a:cxn>
            </a:cxnLst>
            <a:rect l="0" t="0" r="r" b="b"/>
            <a:pathLst>
              <a:path w="92" h="245">
                <a:moveTo>
                  <a:pt x="0" y="0"/>
                </a:moveTo>
                <a:lnTo>
                  <a:pt x="76" y="16"/>
                </a:lnTo>
                <a:lnTo>
                  <a:pt x="92" y="245"/>
                </a:lnTo>
                <a:lnTo>
                  <a:pt x="0" y="245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endParaRPr lang="zh-CN" altLang="en-US"/>
          </a:p>
        </p:txBody>
      </p:sp>
      <p:sp>
        <p:nvSpPr>
          <p:cNvPr id="74" name="ïṧľiḑê">
            <a:extLst>
              <a:ext uri="{FF2B5EF4-FFF2-40B4-BE49-F238E27FC236}">
                <a16:creationId xmlns:a16="http://schemas.microsoft.com/office/drawing/2014/main" id="{7C5DAD4D-C36E-488F-84AE-A08439A6BD4D}"/>
              </a:ext>
            </a:extLst>
          </p:cNvPr>
          <p:cNvSpPr/>
          <p:nvPr/>
        </p:nvSpPr>
        <p:spPr bwMode="auto">
          <a:xfrm>
            <a:off x="1539195" y="2628789"/>
            <a:ext cx="916627" cy="801972"/>
          </a:xfrm>
          <a:custGeom>
            <a:avLst/>
            <a:gdLst/>
            <a:ahLst/>
            <a:cxnLst>
              <a:cxn ang="0">
                <a:pos x="25" y="14"/>
              </a:cxn>
              <a:cxn ang="0">
                <a:pos x="46" y="55"/>
              </a:cxn>
              <a:cxn ang="0">
                <a:pos x="95" y="60"/>
              </a:cxn>
              <a:cxn ang="0">
                <a:pos x="96" y="81"/>
              </a:cxn>
              <a:cxn ang="0">
                <a:pos x="32" y="79"/>
              </a:cxn>
              <a:cxn ang="0">
                <a:pos x="4" y="16"/>
              </a:cxn>
              <a:cxn ang="0">
                <a:pos x="25" y="14"/>
              </a:cxn>
            </a:cxnLst>
            <a:rect l="0" t="0" r="r" b="b"/>
            <a:pathLst>
              <a:path w="96" h="84">
                <a:moveTo>
                  <a:pt x="25" y="14"/>
                </a:moveTo>
                <a:cubicBezTo>
                  <a:pt x="30" y="21"/>
                  <a:pt x="42" y="52"/>
                  <a:pt x="46" y="55"/>
                </a:cubicBezTo>
                <a:cubicBezTo>
                  <a:pt x="54" y="62"/>
                  <a:pt x="95" y="60"/>
                  <a:pt x="95" y="60"/>
                </a:cubicBezTo>
                <a:cubicBezTo>
                  <a:pt x="96" y="81"/>
                  <a:pt x="96" y="81"/>
                  <a:pt x="96" y="81"/>
                </a:cubicBezTo>
                <a:cubicBezTo>
                  <a:pt x="96" y="81"/>
                  <a:pt x="45" y="84"/>
                  <a:pt x="32" y="79"/>
                </a:cubicBezTo>
                <a:cubicBezTo>
                  <a:pt x="24" y="76"/>
                  <a:pt x="0" y="31"/>
                  <a:pt x="4" y="16"/>
                </a:cubicBezTo>
                <a:cubicBezTo>
                  <a:pt x="9" y="0"/>
                  <a:pt x="25" y="14"/>
                  <a:pt x="25" y="14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75" name="íṩ1ídé">
            <a:extLst>
              <a:ext uri="{FF2B5EF4-FFF2-40B4-BE49-F238E27FC236}">
                <a16:creationId xmlns:a16="http://schemas.microsoft.com/office/drawing/2014/main" id="{C5262DE9-CC9D-4D7C-8F1C-1AF55F65849B}"/>
              </a:ext>
            </a:extLst>
          </p:cNvPr>
          <p:cNvSpPr/>
          <p:nvPr/>
        </p:nvSpPr>
        <p:spPr bwMode="auto">
          <a:xfrm>
            <a:off x="1462550" y="1845512"/>
            <a:ext cx="449278" cy="621264"/>
          </a:xfrm>
          <a:custGeom>
            <a:avLst/>
            <a:gdLst/>
            <a:ahLst/>
            <a:cxnLst>
              <a:cxn ang="0">
                <a:pos x="16" y="58"/>
              </a:cxn>
              <a:cxn ang="0">
                <a:pos x="22" y="26"/>
              </a:cxn>
              <a:cxn ang="0">
                <a:pos x="24" y="25"/>
              </a:cxn>
              <a:cxn ang="0">
                <a:pos x="22" y="29"/>
              </a:cxn>
              <a:cxn ang="0">
                <a:pos x="26" y="63"/>
              </a:cxn>
              <a:cxn ang="0">
                <a:pos x="41" y="51"/>
              </a:cxn>
              <a:cxn ang="0">
                <a:pos x="42" y="39"/>
              </a:cxn>
              <a:cxn ang="0">
                <a:pos x="45" y="42"/>
              </a:cxn>
              <a:cxn ang="0">
                <a:pos x="43" y="10"/>
              </a:cxn>
              <a:cxn ang="0">
                <a:pos x="27" y="17"/>
              </a:cxn>
              <a:cxn ang="0">
                <a:pos x="8" y="18"/>
              </a:cxn>
              <a:cxn ang="0">
                <a:pos x="7" y="56"/>
              </a:cxn>
              <a:cxn ang="0">
                <a:pos x="1" y="61"/>
              </a:cxn>
              <a:cxn ang="0">
                <a:pos x="16" y="58"/>
              </a:cxn>
            </a:cxnLst>
            <a:rect l="0" t="0" r="r" b="b"/>
            <a:pathLst>
              <a:path w="47" h="65">
                <a:moveTo>
                  <a:pt x="16" y="58"/>
                </a:moveTo>
                <a:cubicBezTo>
                  <a:pt x="22" y="52"/>
                  <a:pt x="17" y="30"/>
                  <a:pt x="22" y="26"/>
                </a:cubicBezTo>
                <a:cubicBezTo>
                  <a:pt x="23" y="26"/>
                  <a:pt x="23" y="25"/>
                  <a:pt x="24" y="25"/>
                </a:cubicBezTo>
                <a:cubicBezTo>
                  <a:pt x="23" y="26"/>
                  <a:pt x="23" y="28"/>
                  <a:pt x="22" y="29"/>
                </a:cubicBezTo>
                <a:cubicBezTo>
                  <a:pt x="19" y="41"/>
                  <a:pt x="26" y="63"/>
                  <a:pt x="26" y="63"/>
                </a:cubicBezTo>
                <a:cubicBezTo>
                  <a:pt x="26" y="63"/>
                  <a:pt x="43" y="55"/>
                  <a:pt x="41" y="51"/>
                </a:cubicBezTo>
                <a:cubicBezTo>
                  <a:pt x="39" y="48"/>
                  <a:pt x="38" y="39"/>
                  <a:pt x="42" y="39"/>
                </a:cubicBezTo>
                <a:cubicBezTo>
                  <a:pt x="43" y="39"/>
                  <a:pt x="45" y="41"/>
                  <a:pt x="45" y="42"/>
                </a:cubicBezTo>
                <a:cubicBezTo>
                  <a:pt x="47" y="24"/>
                  <a:pt x="45" y="10"/>
                  <a:pt x="43" y="10"/>
                </a:cubicBezTo>
                <a:cubicBezTo>
                  <a:pt x="35" y="10"/>
                  <a:pt x="30" y="13"/>
                  <a:pt x="27" y="17"/>
                </a:cubicBezTo>
                <a:cubicBezTo>
                  <a:pt x="24" y="11"/>
                  <a:pt x="17" y="0"/>
                  <a:pt x="8" y="18"/>
                </a:cubicBezTo>
                <a:cubicBezTo>
                  <a:pt x="1" y="35"/>
                  <a:pt x="7" y="50"/>
                  <a:pt x="7" y="56"/>
                </a:cubicBezTo>
                <a:cubicBezTo>
                  <a:pt x="7" y="59"/>
                  <a:pt x="3" y="61"/>
                  <a:pt x="1" y="61"/>
                </a:cubicBezTo>
                <a:cubicBezTo>
                  <a:pt x="0" y="61"/>
                  <a:pt x="9" y="65"/>
                  <a:pt x="16" y="58"/>
                </a:cubicBezTo>
                <a:close/>
              </a:path>
            </a:pathLst>
          </a:custGeom>
          <a:solidFill>
            <a:srgbClr val="30090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76" name="íS1íḋé">
            <a:extLst>
              <a:ext uri="{FF2B5EF4-FFF2-40B4-BE49-F238E27FC236}">
                <a16:creationId xmlns:a16="http://schemas.microsoft.com/office/drawing/2014/main" id="{084D9276-AF1B-4946-89F9-80A6BB39889C}"/>
              </a:ext>
            </a:extLst>
          </p:cNvPr>
          <p:cNvSpPr/>
          <p:nvPr/>
        </p:nvSpPr>
        <p:spPr>
          <a:xfrm>
            <a:off x="4458692" y="1444585"/>
            <a:ext cx="449610" cy="490238"/>
          </a:xfrm>
          <a:custGeom>
            <a:avLst/>
            <a:gdLst>
              <a:gd name="T0" fmla="*/ 168 w 208"/>
              <a:gd name="T1" fmla="*/ 0 h 224"/>
              <a:gd name="T2" fmla="*/ 168 w 208"/>
              <a:gd name="T3" fmla="*/ 68 h 224"/>
              <a:gd name="T4" fmla="*/ 108 w 208"/>
              <a:gd name="T5" fmla="*/ 68 h 224"/>
              <a:gd name="T6" fmla="*/ 108 w 208"/>
              <a:gd name="T7" fmla="*/ 124 h 224"/>
              <a:gd name="T8" fmla="*/ 192 w 208"/>
              <a:gd name="T9" fmla="*/ 124 h 224"/>
              <a:gd name="T10" fmla="*/ 192 w 208"/>
              <a:gd name="T11" fmla="*/ 184 h 224"/>
              <a:gd name="T12" fmla="*/ 208 w 208"/>
              <a:gd name="T13" fmla="*/ 184 h 224"/>
              <a:gd name="T14" fmla="*/ 208 w 208"/>
              <a:gd name="T15" fmla="*/ 224 h 224"/>
              <a:gd name="T16" fmla="*/ 168 w 208"/>
              <a:gd name="T17" fmla="*/ 224 h 224"/>
              <a:gd name="T18" fmla="*/ 168 w 208"/>
              <a:gd name="T19" fmla="*/ 184 h 224"/>
              <a:gd name="T20" fmla="*/ 184 w 208"/>
              <a:gd name="T21" fmla="*/ 184 h 224"/>
              <a:gd name="T22" fmla="*/ 184 w 208"/>
              <a:gd name="T23" fmla="*/ 132 h 224"/>
              <a:gd name="T24" fmla="*/ 108 w 208"/>
              <a:gd name="T25" fmla="*/ 132 h 224"/>
              <a:gd name="T26" fmla="*/ 108 w 208"/>
              <a:gd name="T27" fmla="*/ 184 h 224"/>
              <a:gd name="T28" fmla="*/ 124 w 208"/>
              <a:gd name="T29" fmla="*/ 184 h 224"/>
              <a:gd name="T30" fmla="*/ 124 w 208"/>
              <a:gd name="T31" fmla="*/ 224 h 224"/>
              <a:gd name="T32" fmla="*/ 84 w 208"/>
              <a:gd name="T33" fmla="*/ 224 h 224"/>
              <a:gd name="T34" fmla="*/ 84 w 208"/>
              <a:gd name="T35" fmla="*/ 184 h 224"/>
              <a:gd name="T36" fmla="*/ 100 w 208"/>
              <a:gd name="T37" fmla="*/ 184 h 224"/>
              <a:gd name="T38" fmla="*/ 100 w 208"/>
              <a:gd name="T39" fmla="*/ 132 h 224"/>
              <a:gd name="T40" fmla="*/ 24 w 208"/>
              <a:gd name="T41" fmla="*/ 132 h 224"/>
              <a:gd name="T42" fmla="*/ 24 w 208"/>
              <a:gd name="T43" fmla="*/ 184 h 224"/>
              <a:gd name="T44" fmla="*/ 40 w 208"/>
              <a:gd name="T45" fmla="*/ 184 h 224"/>
              <a:gd name="T46" fmla="*/ 40 w 208"/>
              <a:gd name="T47" fmla="*/ 224 h 224"/>
              <a:gd name="T48" fmla="*/ 0 w 208"/>
              <a:gd name="T49" fmla="*/ 224 h 224"/>
              <a:gd name="T50" fmla="*/ 0 w 208"/>
              <a:gd name="T51" fmla="*/ 184 h 224"/>
              <a:gd name="T52" fmla="*/ 16 w 208"/>
              <a:gd name="T53" fmla="*/ 184 h 224"/>
              <a:gd name="T54" fmla="*/ 16 w 208"/>
              <a:gd name="T55" fmla="*/ 124 h 224"/>
              <a:gd name="T56" fmla="*/ 100 w 208"/>
              <a:gd name="T57" fmla="*/ 124 h 224"/>
              <a:gd name="T58" fmla="*/ 100 w 208"/>
              <a:gd name="T59" fmla="*/ 68 h 224"/>
              <a:gd name="T60" fmla="*/ 40 w 208"/>
              <a:gd name="T61" fmla="*/ 68 h 224"/>
              <a:gd name="T62" fmla="*/ 40 w 208"/>
              <a:gd name="T63" fmla="*/ 0 h 224"/>
              <a:gd name="T64" fmla="*/ 168 w 208"/>
              <a:gd name="T65" fmla="*/ 0 h 224"/>
              <a:gd name="T66" fmla="*/ 32 w 208"/>
              <a:gd name="T67" fmla="*/ 192 h 224"/>
              <a:gd name="T68" fmla="*/ 8 w 208"/>
              <a:gd name="T69" fmla="*/ 192 h 224"/>
              <a:gd name="T70" fmla="*/ 8 w 208"/>
              <a:gd name="T71" fmla="*/ 216 h 224"/>
              <a:gd name="T72" fmla="*/ 32 w 208"/>
              <a:gd name="T73" fmla="*/ 216 h 224"/>
              <a:gd name="T74" fmla="*/ 32 w 208"/>
              <a:gd name="T75" fmla="*/ 192 h 224"/>
              <a:gd name="T76" fmla="*/ 116 w 208"/>
              <a:gd name="T77" fmla="*/ 192 h 224"/>
              <a:gd name="T78" fmla="*/ 92 w 208"/>
              <a:gd name="T79" fmla="*/ 192 h 224"/>
              <a:gd name="T80" fmla="*/ 92 w 208"/>
              <a:gd name="T81" fmla="*/ 216 h 224"/>
              <a:gd name="T82" fmla="*/ 116 w 208"/>
              <a:gd name="T83" fmla="*/ 216 h 224"/>
              <a:gd name="T84" fmla="*/ 116 w 208"/>
              <a:gd name="T85" fmla="*/ 192 h 224"/>
              <a:gd name="T86" fmla="*/ 200 w 208"/>
              <a:gd name="T87" fmla="*/ 192 h 224"/>
              <a:gd name="T88" fmla="*/ 176 w 208"/>
              <a:gd name="T89" fmla="*/ 192 h 224"/>
              <a:gd name="T90" fmla="*/ 176 w 208"/>
              <a:gd name="T91" fmla="*/ 216 h 224"/>
              <a:gd name="T92" fmla="*/ 200 w 208"/>
              <a:gd name="T93" fmla="*/ 216 h 224"/>
              <a:gd name="T94" fmla="*/ 200 w 208"/>
              <a:gd name="T95" fmla="*/ 192 h 224"/>
              <a:gd name="T96" fmla="*/ 160 w 208"/>
              <a:gd name="T97" fmla="*/ 8 h 224"/>
              <a:gd name="T98" fmla="*/ 48 w 208"/>
              <a:gd name="T99" fmla="*/ 8 h 224"/>
              <a:gd name="T100" fmla="*/ 48 w 208"/>
              <a:gd name="T101" fmla="*/ 60 h 224"/>
              <a:gd name="T102" fmla="*/ 160 w 208"/>
              <a:gd name="T103" fmla="*/ 60 h 224"/>
              <a:gd name="T104" fmla="*/ 160 w 208"/>
              <a:gd name="T105" fmla="*/ 8 h 224"/>
              <a:gd name="T106" fmla="*/ 66 w 208"/>
              <a:gd name="T107" fmla="*/ 36 h 224"/>
              <a:gd name="T108" fmla="*/ 72 w 208"/>
              <a:gd name="T109" fmla="*/ 42 h 224"/>
              <a:gd name="T110" fmla="*/ 66 w 208"/>
              <a:gd name="T111" fmla="*/ 48 h 224"/>
              <a:gd name="T112" fmla="*/ 60 w 208"/>
              <a:gd name="T113" fmla="*/ 42 h 224"/>
              <a:gd name="T114" fmla="*/ 66 w 208"/>
              <a:gd name="T115" fmla="*/ 3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8" h="224">
                <a:moveTo>
                  <a:pt x="168" y="0"/>
                </a:moveTo>
                <a:cubicBezTo>
                  <a:pt x="168" y="68"/>
                  <a:pt x="168" y="68"/>
                  <a:pt x="168" y="68"/>
                </a:cubicBezTo>
                <a:cubicBezTo>
                  <a:pt x="108" y="68"/>
                  <a:pt x="108" y="68"/>
                  <a:pt x="108" y="68"/>
                </a:cubicBezTo>
                <a:cubicBezTo>
                  <a:pt x="108" y="124"/>
                  <a:pt x="108" y="124"/>
                  <a:pt x="108" y="124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2" y="184"/>
                  <a:pt x="192" y="184"/>
                  <a:pt x="192" y="184"/>
                </a:cubicBezTo>
                <a:cubicBezTo>
                  <a:pt x="208" y="184"/>
                  <a:pt x="208" y="184"/>
                  <a:pt x="208" y="184"/>
                </a:cubicBezTo>
                <a:cubicBezTo>
                  <a:pt x="208" y="224"/>
                  <a:pt x="208" y="224"/>
                  <a:pt x="208" y="224"/>
                </a:cubicBezTo>
                <a:cubicBezTo>
                  <a:pt x="168" y="224"/>
                  <a:pt x="168" y="224"/>
                  <a:pt x="168" y="224"/>
                </a:cubicBezTo>
                <a:cubicBezTo>
                  <a:pt x="168" y="184"/>
                  <a:pt x="168" y="184"/>
                  <a:pt x="168" y="184"/>
                </a:cubicBezTo>
                <a:cubicBezTo>
                  <a:pt x="184" y="184"/>
                  <a:pt x="184" y="184"/>
                  <a:pt x="184" y="184"/>
                </a:cubicBezTo>
                <a:cubicBezTo>
                  <a:pt x="184" y="132"/>
                  <a:pt x="184" y="132"/>
                  <a:pt x="184" y="132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08" y="184"/>
                  <a:pt x="108" y="184"/>
                  <a:pt x="108" y="184"/>
                </a:cubicBezTo>
                <a:cubicBezTo>
                  <a:pt x="124" y="184"/>
                  <a:pt x="124" y="184"/>
                  <a:pt x="124" y="184"/>
                </a:cubicBezTo>
                <a:cubicBezTo>
                  <a:pt x="124" y="224"/>
                  <a:pt x="124" y="224"/>
                  <a:pt x="124" y="224"/>
                </a:cubicBezTo>
                <a:cubicBezTo>
                  <a:pt x="84" y="224"/>
                  <a:pt x="84" y="224"/>
                  <a:pt x="84" y="224"/>
                </a:cubicBezTo>
                <a:cubicBezTo>
                  <a:pt x="84" y="184"/>
                  <a:pt x="84" y="184"/>
                  <a:pt x="84" y="184"/>
                </a:cubicBezTo>
                <a:cubicBezTo>
                  <a:pt x="100" y="184"/>
                  <a:pt x="100" y="184"/>
                  <a:pt x="100" y="184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24" y="132"/>
                  <a:pt x="24" y="132"/>
                  <a:pt x="24" y="132"/>
                </a:cubicBezTo>
                <a:cubicBezTo>
                  <a:pt x="24" y="184"/>
                  <a:pt x="24" y="184"/>
                  <a:pt x="24" y="184"/>
                </a:cubicBezTo>
                <a:cubicBezTo>
                  <a:pt x="40" y="184"/>
                  <a:pt x="40" y="184"/>
                  <a:pt x="40" y="184"/>
                </a:cubicBezTo>
                <a:cubicBezTo>
                  <a:pt x="40" y="224"/>
                  <a:pt x="40" y="224"/>
                  <a:pt x="40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184"/>
                  <a:pt x="0" y="184"/>
                  <a:pt x="0" y="184"/>
                </a:cubicBezTo>
                <a:cubicBezTo>
                  <a:pt x="16" y="184"/>
                  <a:pt x="16" y="184"/>
                  <a:pt x="16" y="184"/>
                </a:cubicBezTo>
                <a:cubicBezTo>
                  <a:pt x="16" y="124"/>
                  <a:pt x="16" y="124"/>
                  <a:pt x="16" y="124"/>
                </a:cubicBezTo>
                <a:cubicBezTo>
                  <a:pt x="100" y="124"/>
                  <a:pt x="100" y="124"/>
                  <a:pt x="100" y="124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0"/>
                  <a:pt x="40" y="0"/>
                  <a:pt x="40" y="0"/>
                </a:cubicBezTo>
                <a:lnTo>
                  <a:pt x="168" y="0"/>
                </a:lnTo>
                <a:close/>
                <a:moveTo>
                  <a:pt x="32" y="192"/>
                </a:moveTo>
                <a:cubicBezTo>
                  <a:pt x="8" y="192"/>
                  <a:pt x="8" y="192"/>
                  <a:pt x="8" y="192"/>
                </a:cubicBezTo>
                <a:cubicBezTo>
                  <a:pt x="8" y="216"/>
                  <a:pt x="8" y="216"/>
                  <a:pt x="8" y="216"/>
                </a:cubicBezTo>
                <a:cubicBezTo>
                  <a:pt x="32" y="216"/>
                  <a:pt x="32" y="216"/>
                  <a:pt x="32" y="216"/>
                </a:cubicBezTo>
                <a:lnTo>
                  <a:pt x="32" y="192"/>
                </a:lnTo>
                <a:close/>
                <a:moveTo>
                  <a:pt x="116" y="192"/>
                </a:moveTo>
                <a:cubicBezTo>
                  <a:pt x="92" y="192"/>
                  <a:pt x="92" y="192"/>
                  <a:pt x="92" y="192"/>
                </a:cubicBezTo>
                <a:cubicBezTo>
                  <a:pt x="92" y="216"/>
                  <a:pt x="92" y="216"/>
                  <a:pt x="92" y="216"/>
                </a:cubicBezTo>
                <a:cubicBezTo>
                  <a:pt x="116" y="216"/>
                  <a:pt x="116" y="216"/>
                  <a:pt x="116" y="216"/>
                </a:cubicBezTo>
                <a:lnTo>
                  <a:pt x="116" y="192"/>
                </a:lnTo>
                <a:close/>
                <a:moveTo>
                  <a:pt x="200" y="192"/>
                </a:moveTo>
                <a:cubicBezTo>
                  <a:pt x="176" y="192"/>
                  <a:pt x="176" y="192"/>
                  <a:pt x="176" y="192"/>
                </a:cubicBezTo>
                <a:cubicBezTo>
                  <a:pt x="176" y="216"/>
                  <a:pt x="176" y="216"/>
                  <a:pt x="176" y="216"/>
                </a:cubicBezTo>
                <a:cubicBezTo>
                  <a:pt x="200" y="216"/>
                  <a:pt x="200" y="216"/>
                  <a:pt x="200" y="216"/>
                </a:cubicBezTo>
                <a:lnTo>
                  <a:pt x="200" y="192"/>
                </a:lnTo>
                <a:close/>
                <a:moveTo>
                  <a:pt x="160" y="8"/>
                </a:moveTo>
                <a:cubicBezTo>
                  <a:pt x="48" y="8"/>
                  <a:pt x="48" y="8"/>
                  <a:pt x="48" y="8"/>
                </a:cubicBezTo>
                <a:cubicBezTo>
                  <a:pt x="48" y="60"/>
                  <a:pt x="48" y="60"/>
                  <a:pt x="48" y="60"/>
                </a:cubicBezTo>
                <a:cubicBezTo>
                  <a:pt x="160" y="60"/>
                  <a:pt x="160" y="60"/>
                  <a:pt x="160" y="60"/>
                </a:cubicBezTo>
                <a:lnTo>
                  <a:pt x="160" y="8"/>
                </a:lnTo>
                <a:close/>
                <a:moveTo>
                  <a:pt x="66" y="36"/>
                </a:moveTo>
                <a:cubicBezTo>
                  <a:pt x="69" y="36"/>
                  <a:pt x="72" y="39"/>
                  <a:pt x="72" y="42"/>
                </a:cubicBezTo>
                <a:cubicBezTo>
                  <a:pt x="72" y="45"/>
                  <a:pt x="69" y="48"/>
                  <a:pt x="66" y="48"/>
                </a:cubicBezTo>
                <a:cubicBezTo>
                  <a:pt x="63" y="48"/>
                  <a:pt x="60" y="45"/>
                  <a:pt x="60" y="42"/>
                </a:cubicBezTo>
                <a:cubicBezTo>
                  <a:pt x="60" y="39"/>
                  <a:pt x="63" y="36"/>
                  <a:pt x="66" y="3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grpSp>
        <p:nvGrpSpPr>
          <p:cNvPr id="30" name="ïṣlîḓê">
            <a:extLst>
              <a:ext uri="{FF2B5EF4-FFF2-40B4-BE49-F238E27FC236}">
                <a16:creationId xmlns:a16="http://schemas.microsoft.com/office/drawing/2014/main" id="{F41B3DA6-9CC7-4316-B2D1-549EED8533A5}"/>
              </a:ext>
            </a:extLst>
          </p:cNvPr>
          <p:cNvGrpSpPr/>
          <p:nvPr/>
        </p:nvGrpSpPr>
        <p:grpSpPr>
          <a:xfrm>
            <a:off x="3572476" y="2000355"/>
            <a:ext cx="2215060" cy="1146198"/>
            <a:chOff x="911546" y="4475168"/>
            <a:chExt cx="2215060" cy="1146198"/>
          </a:xfrm>
        </p:grpSpPr>
        <p:sp>
          <p:nvSpPr>
            <p:cNvPr id="36" name="işľîďê">
              <a:extLst>
                <a:ext uri="{FF2B5EF4-FFF2-40B4-BE49-F238E27FC236}">
                  <a16:creationId xmlns:a16="http://schemas.microsoft.com/office/drawing/2014/main" id="{789FE7C9-0EEF-4AAA-8F7E-B4484423F54B}"/>
                </a:ext>
              </a:extLst>
            </p:cNvPr>
            <p:cNvSpPr/>
            <p:nvPr/>
          </p:nvSpPr>
          <p:spPr bwMode="auto">
            <a:xfrm>
              <a:off x="911546" y="4869658"/>
              <a:ext cx="2215060" cy="751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/>
                <a:t>Supporting text here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/>
                <a:t>… …</a:t>
              </a:r>
              <a:endParaRPr lang="en-US" altLang="zh-CN" sz="1100" dirty="0"/>
            </a:p>
          </p:txBody>
        </p:sp>
        <p:sp>
          <p:nvSpPr>
            <p:cNvPr id="37" name="íśľíḑê">
              <a:extLst>
                <a:ext uri="{FF2B5EF4-FFF2-40B4-BE49-F238E27FC236}">
                  <a16:creationId xmlns:a16="http://schemas.microsoft.com/office/drawing/2014/main" id="{B0A74FEC-C1C3-4E69-AFCE-0680EE7B34A7}"/>
                </a:ext>
              </a:extLst>
            </p:cNvPr>
            <p:cNvSpPr txBox="1"/>
            <p:nvPr/>
          </p:nvSpPr>
          <p:spPr bwMode="auto">
            <a:xfrm>
              <a:off x="911546" y="4475168"/>
              <a:ext cx="2215060" cy="380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/>
                <a:t>Text here</a:t>
              </a:r>
            </a:p>
          </p:txBody>
        </p:sp>
      </p:grpSp>
      <p:sp>
        <p:nvSpPr>
          <p:cNvPr id="31" name="ísḻïḑè">
            <a:extLst>
              <a:ext uri="{FF2B5EF4-FFF2-40B4-BE49-F238E27FC236}">
                <a16:creationId xmlns:a16="http://schemas.microsoft.com/office/drawing/2014/main" id="{B449C533-9DBD-4B26-84C6-DF4FE9B4CCB3}"/>
              </a:ext>
            </a:extLst>
          </p:cNvPr>
          <p:cNvSpPr txBox="1"/>
          <p:nvPr/>
        </p:nvSpPr>
        <p:spPr bwMode="auto">
          <a:xfrm>
            <a:off x="3919949" y="3311937"/>
            <a:ext cx="1520114" cy="38043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200" b="1">
                <a:solidFill>
                  <a:schemeClr val="bg1"/>
                </a:solidFill>
              </a:rPr>
              <a:t>…Text</a:t>
            </a:r>
            <a:endParaRPr lang="en-US" altLang="zh-CN" sz="1200" b="1" dirty="0">
              <a:solidFill>
                <a:schemeClr val="bg1"/>
              </a:solidFill>
            </a:endParaRPr>
          </a:p>
        </p:txBody>
      </p:sp>
      <p:sp>
        <p:nvSpPr>
          <p:cNvPr id="81" name="îşľîḑé">
            <a:extLst>
              <a:ext uri="{FF2B5EF4-FFF2-40B4-BE49-F238E27FC236}">
                <a16:creationId xmlns:a16="http://schemas.microsoft.com/office/drawing/2014/main" id="{9C14F6D3-3466-4206-BA19-C7CA059EE07A}"/>
              </a:ext>
            </a:extLst>
          </p:cNvPr>
          <p:cNvSpPr/>
          <p:nvPr/>
        </p:nvSpPr>
        <p:spPr>
          <a:xfrm>
            <a:off x="4438378" y="4264872"/>
            <a:ext cx="490238" cy="409217"/>
          </a:xfrm>
          <a:custGeom>
            <a:avLst/>
            <a:gdLst>
              <a:gd name="T0" fmla="*/ 224 w 224"/>
              <a:gd name="T1" fmla="*/ 0 h 184"/>
              <a:gd name="T2" fmla="*/ 224 w 224"/>
              <a:gd name="T3" fmla="*/ 156 h 184"/>
              <a:gd name="T4" fmla="*/ 86 w 224"/>
              <a:gd name="T5" fmla="*/ 156 h 184"/>
              <a:gd name="T6" fmla="*/ 48 w 224"/>
              <a:gd name="T7" fmla="*/ 184 h 184"/>
              <a:gd name="T8" fmla="*/ 48 w 224"/>
              <a:gd name="T9" fmla="*/ 156 h 184"/>
              <a:gd name="T10" fmla="*/ 0 w 224"/>
              <a:gd name="T11" fmla="*/ 156 h 184"/>
              <a:gd name="T12" fmla="*/ 0 w 224"/>
              <a:gd name="T13" fmla="*/ 0 h 184"/>
              <a:gd name="T14" fmla="*/ 224 w 224"/>
              <a:gd name="T15" fmla="*/ 0 h 184"/>
              <a:gd name="T16" fmla="*/ 216 w 224"/>
              <a:gd name="T17" fmla="*/ 8 h 184"/>
              <a:gd name="T18" fmla="*/ 8 w 224"/>
              <a:gd name="T19" fmla="*/ 8 h 184"/>
              <a:gd name="T20" fmla="*/ 8 w 224"/>
              <a:gd name="T21" fmla="*/ 148 h 184"/>
              <a:gd name="T22" fmla="*/ 56 w 224"/>
              <a:gd name="T23" fmla="*/ 148 h 184"/>
              <a:gd name="T24" fmla="*/ 56 w 224"/>
              <a:gd name="T25" fmla="*/ 168 h 184"/>
              <a:gd name="T26" fmla="*/ 83 w 224"/>
              <a:gd name="T27" fmla="*/ 148 h 184"/>
              <a:gd name="T28" fmla="*/ 216 w 224"/>
              <a:gd name="T29" fmla="*/ 148 h 184"/>
              <a:gd name="T30" fmla="*/ 216 w 224"/>
              <a:gd name="T31" fmla="*/ 8 h 184"/>
              <a:gd name="T32" fmla="*/ 56 w 224"/>
              <a:gd name="T33" fmla="*/ 60 h 184"/>
              <a:gd name="T34" fmla="*/ 74 w 224"/>
              <a:gd name="T35" fmla="*/ 78 h 184"/>
              <a:gd name="T36" fmla="*/ 56 w 224"/>
              <a:gd name="T37" fmla="*/ 96 h 184"/>
              <a:gd name="T38" fmla="*/ 38 w 224"/>
              <a:gd name="T39" fmla="*/ 78 h 184"/>
              <a:gd name="T40" fmla="*/ 56 w 224"/>
              <a:gd name="T41" fmla="*/ 60 h 184"/>
              <a:gd name="T42" fmla="*/ 112 w 224"/>
              <a:gd name="T43" fmla="*/ 60 h 184"/>
              <a:gd name="T44" fmla="*/ 130 w 224"/>
              <a:gd name="T45" fmla="*/ 78 h 184"/>
              <a:gd name="T46" fmla="*/ 112 w 224"/>
              <a:gd name="T47" fmla="*/ 96 h 184"/>
              <a:gd name="T48" fmla="*/ 94 w 224"/>
              <a:gd name="T49" fmla="*/ 78 h 184"/>
              <a:gd name="T50" fmla="*/ 112 w 224"/>
              <a:gd name="T51" fmla="*/ 60 h 184"/>
              <a:gd name="T52" fmla="*/ 168 w 224"/>
              <a:gd name="T53" fmla="*/ 60 h 184"/>
              <a:gd name="T54" fmla="*/ 186 w 224"/>
              <a:gd name="T55" fmla="*/ 78 h 184"/>
              <a:gd name="T56" fmla="*/ 168 w 224"/>
              <a:gd name="T57" fmla="*/ 96 h 184"/>
              <a:gd name="T58" fmla="*/ 150 w 224"/>
              <a:gd name="T59" fmla="*/ 78 h 184"/>
              <a:gd name="T60" fmla="*/ 168 w 224"/>
              <a:gd name="T61" fmla="*/ 60 h 184"/>
              <a:gd name="T62" fmla="*/ 56 w 224"/>
              <a:gd name="T63" fmla="*/ 68 h 184"/>
              <a:gd name="T64" fmla="*/ 46 w 224"/>
              <a:gd name="T65" fmla="*/ 78 h 184"/>
              <a:gd name="T66" fmla="*/ 56 w 224"/>
              <a:gd name="T67" fmla="*/ 88 h 184"/>
              <a:gd name="T68" fmla="*/ 66 w 224"/>
              <a:gd name="T69" fmla="*/ 78 h 184"/>
              <a:gd name="T70" fmla="*/ 56 w 224"/>
              <a:gd name="T71" fmla="*/ 68 h 184"/>
              <a:gd name="T72" fmla="*/ 112 w 224"/>
              <a:gd name="T73" fmla="*/ 68 h 184"/>
              <a:gd name="T74" fmla="*/ 102 w 224"/>
              <a:gd name="T75" fmla="*/ 78 h 184"/>
              <a:gd name="T76" fmla="*/ 112 w 224"/>
              <a:gd name="T77" fmla="*/ 88 h 184"/>
              <a:gd name="T78" fmla="*/ 122 w 224"/>
              <a:gd name="T79" fmla="*/ 78 h 184"/>
              <a:gd name="T80" fmla="*/ 112 w 224"/>
              <a:gd name="T81" fmla="*/ 68 h 184"/>
              <a:gd name="T82" fmla="*/ 168 w 224"/>
              <a:gd name="T83" fmla="*/ 68 h 184"/>
              <a:gd name="T84" fmla="*/ 158 w 224"/>
              <a:gd name="T85" fmla="*/ 78 h 184"/>
              <a:gd name="T86" fmla="*/ 168 w 224"/>
              <a:gd name="T87" fmla="*/ 88 h 184"/>
              <a:gd name="T88" fmla="*/ 178 w 224"/>
              <a:gd name="T89" fmla="*/ 78 h 184"/>
              <a:gd name="T90" fmla="*/ 168 w 224"/>
              <a:gd name="T91" fmla="*/ 68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4" h="184">
                <a:moveTo>
                  <a:pt x="224" y="0"/>
                </a:moveTo>
                <a:cubicBezTo>
                  <a:pt x="224" y="156"/>
                  <a:pt x="224" y="156"/>
                  <a:pt x="224" y="156"/>
                </a:cubicBezTo>
                <a:cubicBezTo>
                  <a:pt x="86" y="156"/>
                  <a:pt x="86" y="156"/>
                  <a:pt x="86" y="156"/>
                </a:cubicBezTo>
                <a:cubicBezTo>
                  <a:pt x="48" y="184"/>
                  <a:pt x="48" y="184"/>
                  <a:pt x="48" y="184"/>
                </a:cubicBezTo>
                <a:cubicBezTo>
                  <a:pt x="48" y="156"/>
                  <a:pt x="48" y="156"/>
                  <a:pt x="48" y="156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216" y="8"/>
                </a:moveTo>
                <a:cubicBezTo>
                  <a:pt x="8" y="8"/>
                  <a:pt x="8" y="8"/>
                  <a:pt x="8" y="8"/>
                </a:cubicBezTo>
                <a:cubicBezTo>
                  <a:pt x="8" y="148"/>
                  <a:pt x="8" y="148"/>
                  <a:pt x="8" y="148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68"/>
                  <a:pt x="56" y="168"/>
                  <a:pt x="56" y="168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216" y="148"/>
                  <a:pt x="216" y="148"/>
                  <a:pt x="216" y="148"/>
                </a:cubicBezTo>
                <a:lnTo>
                  <a:pt x="216" y="8"/>
                </a:lnTo>
                <a:close/>
                <a:moveTo>
                  <a:pt x="56" y="60"/>
                </a:moveTo>
                <a:cubicBezTo>
                  <a:pt x="66" y="60"/>
                  <a:pt x="74" y="68"/>
                  <a:pt x="74" y="78"/>
                </a:cubicBezTo>
                <a:cubicBezTo>
                  <a:pt x="74" y="88"/>
                  <a:pt x="66" y="96"/>
                  <a:pt x="56" y="96"/>
                </a:cubicBezTo>
                <a:cubicBezTo>
                  <a:pt x="46" y="96"/>
                  <a:pt x="38" y="88"/>
                  <a:pt x="38" y="78"/>
                </a:cubicBezTo>
                <a:cubicBezTo>
                  <a:pt x="38" y="68"/>
                  <a:pt x="46" y="60"/>
                  <a:pt x="56" y="60"/>
                </a:cubicBezTo>
                <a:close/>
                <a:moveTo>
                  <a:pt x="112" y="60"/>
                </a:moveTo>
                <a:cubicBezTo>
                  <a:pt x="122" y="60"/>
                  <a:pt x="130" y="68"/>
                  <a:pt x="130" y="78"/>
                </a:cubicBezTo>
                <a:cubicBezTo>
                  <a:pt x="130" y="88"/>
                  <a:pt x="122" y="96"/>
                  <a:pt x="112" y="96"/>
                </a:cubicBezTo>
                <a:cubicBezTo>
                  <a:pt x="102" y="96"/>
                  <a:pt x="94" y="88"/>
                  <a:pt x="94" y="78"/>
                </a:cubicBezTo>
                <a:cubicBezTo>
                  <a:pt x="94" y="68"/>
                  <a:pt x="102" y="60"/>
                  <a:pt x="112" y="60"/>
                </a:cubicBezTo>
                <a:close/>
                <a:moveTo>
                  <a:pt x="168" y="60"/>
                </a:moveTo>
                <a:cubicBezTo>
                  <a:pt x="178" y="60"/>
                  <a:pt x="186" y="68"/>
                  <a:pt x="186" y="78"/>
                </a:cubicBezTo>
                <a:cubicBezTo>
                  <a:pt x="186" y="88"/>
                  <a:pt x="178" y="96"/>
                  <a:pt x="168" y="96"/>
                </a:cubicBezTo>
                <a:cubicBezTo>
                  <a:pt x="158" y="96"/>
                  <a:pt x="150" y="88"/>
                  <a:pt x="150" y="78"/>
                </a:cubicBezTo>
                <a:cubicBezTo>
                  <a:pt x="150" y="68"/>
                  <a:pt x="158" y="60"/>
                  <a:pt x="168" y="60"/>
                </a:cubicBezTo>
                <a:close/>
                <a:moveTo>
                  <a:pt x="56" y="68"/>
                </a:moveTo>
                <a:cubicBezTo>
                  <a:pt x="50" y="68"/>
                  <a:pt x="46" y="72"/>
                  <a:pt x="46" y="78"/>
                </a:cubicBezTo>
                <a:cubicBezTo>
                  <a:pt x="46" y="84"/>
                  <a:pt x="50" y="88"/>
                  <a:pt x="56" y="88"/>
                </a:cubicBezTo>
                <a:cubicBezTo>
                  <a:pt x="62" y="88"/>
                  <a:pt x="66" y="84"/>
                  <a:pt x="66" y="78"/>
                </a:cubicBezTo>
                <a:cubicBezTo>
                  <a:pt x="66" y="72"/>
                  <a:pt x="62" y="68"/>
                  <a:pt x="56" y="68"/>
                </a:cubicBezTo>
                <a:close/>
                <a:moveTo>
                  <a:pt x="112" y="68"/>
                </a:moveTo>
                <a:cubicBezTo>
                  <a:pt x="106" y="68"/>
                  <a:pt x="102" y="72"/>
                  <a:pt x="102" y="78"/>
                </a:cubicBezTo>
                <a:cubicBezTo>
                  <a:pt x="102" y="84"/>
                  <a:pt x="106" y="88"/>
                  <a:pt x="112" y="88"/>
                </a:cubicBezTo>
                <a:cubicBezTo>
                  <a:pt x="118" y="88"/>
                  <a:pt x="122" y="84"/>
                  <a:pt x="122" y="78"/>
                </a:cubicBezTo>
                <a:cubicBezTo>
                  <a:pt x="122" y="72"/>
                  <a:pt x="118" y="68"/>
                  <a:pt x="112" y="68"/>
                </a:cubicBezTo>
                <a:close/>
                <a:moveTo>
                  <a:pt x="168" y="68"/>
                </a:moveTo>
                <a:cubicBezTo>
                  <a:pt x="162" y="68"/>
                  <a:pt x="158" y="72"/>
                  <a:pt x="158" y="78"/>
                </a:cubicBezTo>
                <a:cubicBezTo>
                  <a:pt x="158" y="84"/>
                  <a:pt x="162" y="88"/>
                  <a:pt x="168" y="88"/>
                </a:cubicBezTo>
                <a:cubicBezTo>
                  <a:pt x="174" y="88"/>
                  <a:pt x="178" y="84"/>
                  <a:pt x="178" y="78"/>
                </a:cubicBezTo>
                <a:cubicBezTo>
                  <a:pt x="178" y="72"/>
                  <a:pt x="174" y="68"/>
                  <a:pt x="168" y="6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grpSp>
        <p:nvGrpSpPr>
          <p:cNvPr id="33" name="ïSľïḓe">
            <a:extLst>
              <a:ext uri="{FF2B5EF4-FFF2-40B4-BE49-F238E27FC236}">
                <a16:creationId xmlns:a16="http://schemas.microsoft.com/office/drawing/2014/main" id="{2BCCD4B8-2380-4601-8EA8-20AD1DFA1F6E}"/>
              </a:ext>
            </a:extLst>
          </p:cNvPr>
          <p:cNvGrpSpPr/>
          <p:nvPr/>
        </p:nvGrpSpPr>
        <p:grpSpPr>
          <a:xfrm>
            <a:off x="3572476" y="4780131"/>
            <a:ext cx="2215060" cy="1146198"/>
            <a:chOff x="911546" y="4475168"/>
            <a:chExt cx="2215060" cy="1146198"/>
          </a:xfrm>
        </p:grpSpPr>
        <p:sp>
          <p:nvSpPr>
            <p:cNvPr id="34" name="iSḷiďé">
              <a:extLst>
                <a:ext uri="{FF2B5EF4-FFF2-40B4-BE49-F238E27FC236}">
                  <a16:creationId xmlns:a16="http://schemas.microsoft.com/office/drawing/2014/main" id="{18CB3B09-AF5C-405D-A064-3AF731524646}"/>
                </a:ext>
              </a:extLst>
            </p:cNvPr>
            <p:cNvSpPr/>
            <p:nvPr/>
          </p:nvSpPr>
          <p:spPr bwMode="auto">
            <a:xfrm>
              <a:off x="911546" y="4869658"/>
              <a:ext cx="2215060" cy="751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/>
                <a:t>Supporting text here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/>
                <a:t>… …</a:t>
              </a:r>
              <a:endParaRPr lang="en-US" altLang="zh-CN" sz="1100" dirty="0"/>
            </a:p>
          </p:txBody>
        </p:sp>
        <p:sp>
          <p:nvSpPr>
            <p:cNvPr id="35" name="ïṧľïḍê">
              <a:extLst>
                <a:ext uri="{FF2B5EF4-FFF2-40B4-BE49-F238E27FC236}">
                  <a16:creationId xmlns:a16="http://schemas.microsoft.com/office/drawing/2014/main" id="{6F7BB468-9A98-4A22-91BE-45EF9C1BB371}"/>
                </a:ext>
              </a:extLst>
            </p:cNvPr>
            <p:cNvSpPr txBox="1"/>
            <p:nvPr/>
          </p:nvSpPr>
          <p:spPr bwMode="auto">
            <a:xfrm>
              <a:off x="911546" y="4475168"/>
              <a:ext cx="2215060" cy="380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/>
                <a:t>Text here</a:t>
              </a:r>
            </a:p>
          </p:txBody>
        </p:sp>
      </p:grpSp>
      <p:sp>
        <p:nvSpPr>
          <p:cNvPr id="79" name="ïśḻîďè">
            <a:extLst>
              <a:ext uri="{FF2B5EF4-FFF2-40B4-BE49-F238E27FC236}">
                <a16:creationId xmlns:a16="http://schemas.microsoft.com/office/drawing/2014/main" id="{191D1907-9D6A-426E-B270-8DBEA5DDF257}"/>
              </a:ext>
            </a:extLst>
          </p:cNvPr>
          <p:cNvSpPr/>
          <p:nvPr/>
        </p:nvSpPr>
        <p:spPr>
          <a:xfrm>
            <a:off x="7304060" y="1503469"/>
            <a:ext cx="490238" cy="372471"/>
          </a:xfrm>
          <a:custGeom>
            <a:avLst/>
            <a:gdLst>
              <a:gd name="T0" fmla="*/ 224 w 224"/>
              <a:gd name="T1" fmla="*/ 0 h 168"/>
              <a:gd name="T2" fmla="*/ 224 w 224"/>
              <a:gd name="T3" fmla="*/ 168 h 168"/>
              <a:gd name="T4" fmla="*/ 0 w 224"/>
              <a:gd name="T5" fmla="*/ 168 h 168"/>
              <a:gd name="T6" fmla="*/ 0 w 224"/>
              <a:gd name="T7" fmla="*/ 0 h 168"/>
              <a:gd name="T8" fmla="*/ 224 w 224"/>
              <a:gd name="T9" fmla="*/ 0 h 168"/>
              <a:gd name="T10" fmla="*/ 157 w 224"/>
              <a:gd name="T11" fmla="*/ 64 h 168"/>
              <a:gd name="T12" fmla="*/ 104 w 224"/>
              <a:gd name="T13" fmla="*/ 134 h 168"/>
              <a:gd name="T14" fmla="*/ 59 w 224"/>
              <a:gd name="T15" fmla="*/ 90 h 168"/>
              <a:gd name="T16" fmla="*/ 8 w 224"/>
              <a:gd name="T17" fmla="*/ 149 h 168"/>
              <a:gd name="T18" fmla="*/ 8 w 224"/>
              <a:gd name="T19" fmla="*/ 160 h 168"/>
              <a:gd name="T20" fmla="*/ 216 w 224"/>
              <a:gd name="T21" fmla="*/ 160 h 168"/>
              <a:gd name="T22" fmla="*/ 216 w 224"/>
              <a:gd name="T23" fmla="*/ 142 h 168"/>
              <a:gd name="T24" fmla="*/ 157 w 224"/>
              <a:gd name="T25" fmla="*/ 64 h 168"/>
              <a:gd name="T26" fmla="*/ 216 w 224"/>
              <a:gd name="T27" fmla="*/ 8 h 168"/>
              <a:gd name="T28" fmla="*/ 8 w 224"/>
              <a:gd name="T29" fmla="*/ 8 h 168"/>
              <a:gd name="T30" fmla="*/ 8 w 224"/>
              <a:gd name="T31" fmla="*/ 137 h 168"/>
              <a:gd name="T32" fmla="*/ 58 w 224"/>
              <a:gd name="T33" fmla="*/ 78 h 168"/>
              <a:gd name="T34" fmla="*/ 103 w 224"/>
              <a:gd name="T35" fmla="*/ 122 h 168"/>
              <a:gd name="T36" fmla="*/ 158 w 224"/>
              <a:gd name="T37" fmla="*/ 51 h 168"/>
              <a:gd name="T38" fmla="*/ 216 w 224"/>
              <a:gd name="T39" fmla="*/ 129 h 168"/>
              <a:gd name="T40" fmla="*/ 216 w 224"/>
              <a:gd name="T41" fmla="*/ 8 h 168"/>
              <a:gd name="T42" fmla="*/ 40 w 224"/>
              <a:gd name="T43" fmla="*/ 20 h 168"/>
              <a:gd name="T44" fmla="*/ 60 w 224"/>
              <a:gd name="T45" fmla="*/ 40 h 168"/>
              <a:gd name="T46" fmla="*/ 40 w 224"/>
              <a:gd name="T47" fmla="*/ 60 h 168"/>
              <a:gd name="T48" fmla="*/ 20 w 224"/>
              <a:gd name="T49" fmla="*/ 40 h 168"/>
              <a:gd name="T50" fmla="*/ 40 w 224"/>
              <a:gd name="T51" fmla="*/ 20 h 168"/>
              <a:gd name="T52" fmla="*/ 40 w 224"/>
              <a:gd name="T53" fmla="*/ 28 h 168"/>
              <a:gd name="T54" fmla="*/ 28 w 224"/>
              <a:gd name="T55" fmla="*/ 40 h 168"/>
              <a:gd name="T56" fmla="*/ 40 w 224"/>
              <a:gd name="T57" fmla="*/ 52 h 168"/>
              <a:gd name="T58" fmla="*/ 52 w 224"/>
              <a:gd name="T59" fmla="*/ 40 h 168"/>
              <a:gd name="T60" fmla="*/ 40 w 224"/>
              <a:gd name="T61" fmla="*/ 28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4" h="168">
                <a:moveTo>
                  <a:pt x="224" y="0"/>
                </a:moveTo>
                <a:cubicBezTo>
                  <a:pt x="224" y="168"/>
                  <a:pt x="224" y="168"/>
                  <a:pt x="224" y="168"/>
                </a:cubicBezTo>
                <a:cubicBezTo>
                  <a:pt x="0" y="168"/>
                  <a:pt x="0" y="168"/>
                  <a:pt x="0" y="168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157" y="64"/>
                </a:moveTo>
                <a:cubicBezTo>
                  <a:pt x="104" y="134"/>
                  <a:pt x="104" y="134"/>
                  <a:pt x="104" y="134"/>
                </a:cubicBezTo>
                <a:cubicBezTo>
                  <a:pt x="59" y="90"/>
                  <a:pt x="59" y="90"/>
                  <a:pt x="59" y="90"/>
                </a:cubicBezTo>
                <a:cubicBezTo>
                  <a:pt x="8" y="149"/>
                  <a:pt x="8" y="149"/>
                  <a:pt x="8" y="149"/>
                </a:cubicBezTo>
                <a:cubicBezTo>
                  <a:pt x="8" y="160"/>
                  <a:pt x="8" y="160"/>
                  <a:pt x="8" y="160"/>
                </a:cubicBezTo>
                <a:cubicBezTo>
                  <a:pt x="216" y="160"/>
                  <a:pt x="216" y="160"/>
                  <a:pt x="216" y="160"/>
                </a:cubicBezTo>
                <a:cubicBezTo>
                  <a:pt x="216" y="142"/>
                  <a:pt x="216" y="142"/>
                  <a:pt x="216" y="142"/>
                </a:cubicBezTo>
                <a:lnTo>
                  <a:pt x="157" y="64"/>
                </a:lnTo>
                <a:close/>
                <a:moveTo>
                  <a:pt x="216" y="8"/>
                </a:moveTo>
                <a:cubicBezTo>
                  <a:pt x="8" y="8"/>
                  <a:pt x="8" y="8"/>
                  <a:pt x="8" y="8"/>
                </a:cubicBezTo>
                <a:cubicBezTo>
                  <a:pt x="8" y="137"/>
                  <a:pt x="8" y="137"/>
                  <a:pt x="8" y="137"/>
                </a:cubicBezTo>
                <a:cubicBezTo>
                  <a:pt x="58" y="78"/>
                  <a:pt x="58" y="78"/>
                  <a:pt x="58" y="78"/>
                </a:cubicBezTo>
                <a:cubicBezTo>
                  <a:pt x="103" y="122"/>
                  <a:pt x="103" y="122"/>
                  <a:pt x="103" y="122"/>
                </a:cubicBezTo>
                <a:cubicBezTo>
                  <a:pt x="158" y="51"/>
                  <a:pt x="158" y="51"/>
                  <a:pt x="158" y="51"/>
                </a:cubicBezTo>
                <a:cubicBezTo>
                  <a:pt x="216" y="129"/>
                  <a:pt x="216" y="129"/>
                  <a:pt x="216" y="129"/>
                </a:cubicBezTo>
                <a:lnTo>
                  <a:pt x="216" y="8"/>
                </a:lnTo>
                <a:close/>
                <a:moveTo>
                  <a:pt x="40" y="20"/>
                </a:moveTo>
                <a:cubicBezTo>
                  <a:pt x="51" y="20"/>
                  <a:pt x="60" y="29"/>
                  <a:pt x="60" y="40"/>
                </a:cubicBezTo>
                <a:cubicBezTo>
                  <a:pt x="60" y="51"/>
                  <a:pt x="51" y="60"/>
                  <a:pt x="40" y="60"/>
                </a:cubicBezTo>
                <a:cubicBezTo>
                  <a:pt x="29" y="60"/>
                  <a:pt x="20" y="51"/>
                  <a:pt x="20" y="40"/>
                </a:cubicBezTo>
                <a:cubicBezTo>
                  <a:pt x="20" y="29"/>
                  <a:pt x="29" y="20"/>
                  <a:pt x="40" y="20"/>
                </a:cubicBezTo>
                <a:close/>
                <a:moveTo>
                  <a:pt x="40" y="28"/>
                </a:moveTo>
                <a:cubicBezTo>
                  <a:pt x="33" y="28"/>
                  <a:pt x="28" y="33"/>
                  <a:pt x="28" y="40"/>
                </a:cubicBezTo>
                <a:cubicBezTo>
                  <a:pt x="28" y="47"/>
                  <a:pt x="33" y="52"/>
                  <a:pt x="40" y="52"/>
                </a:cubicBezTo>
                <a:cubicBezTo>
                  <a:pt x="47" y="52"/>
                  <a:pt x="52" y="47"/>
                  <a:pt x="52" y="40"/>
                </a:cubicBezTo>
                <a:cubicBezTo>
                  <a:pt x="52" y="33"/>
                  <a:pt x="47" y="28"/>
                  <a:pt x="40" y="2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grpSp>
        <p:nvGrpSpPr>
          <p:cNvPr id="21" name="isḻîḑè">
            <a:extLst>
              <a:ext uri="{FF2B5EF4-FFF2-40B4-BE49-F238E27FC236}">
                <a16:creationId xmlns:a16="http://schemas.microsoft.com/office/drawing/2014/main" id="{BB2574D9-FC95-4F55-87FC-2EDD0886DF50}"/>
              </a:ext>
            </a:extLst>
          </p:cNvPr>
          <p:cNvGrpSpPr/>
          <p:nvPr/>
        </p:nvGrpSpPr>
        <p:grpSpPr>
          <a:xfrm>
            <a:off x="6438158" y="2000355"/>
            <a:ext cx="2215060" cy="1146198"/>
            <a:chOff x="911546" y="4475168"/>
            <a:chExt cx="2215060" cy="1146198"/>
          </a:xfrm>
        </p:grpSpPr>
        <p:sp>
          <p:nvSpPr>
            <p:cNvPr id="27" name="íSḻiďê">
              <a:extLst>
                <a:ext uri="{FF2B5EF4-FFF2-40B4-BE49-F238E27FC236}">
                  <a16:creationId xmlns:a16="http://schemas.microsoft.com/office/drawing/2014/main" id="{4FE0DC0D-F4FC-44FB-9685-0AB4C06DD0FD}"/>
                </a:ext>
              </a:extLst>
            </p:cNvPr>
            <p:cNvSpPr/>
            <p:nvPr/>
          </p:nvSpPr>
          <p:spPr bwMode="auto">
            <a:xfrm>
              <a:off x="911546" y="4869658"/>
              <a:ext cx="2215060" cy="751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/>
                <a:t>Supporting text here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/>
                <a:t>… …</a:t>
              </a:r>
              <a:endParaRPr lang="en-US" altLang="zh-CN" sz="1100" dirty="0"/>
            </a:p>
          </p:txBody>
        </p:sp>
        <p:sp>
          <p:nvSpPr>
            <p:cNvPr id="28" name="îṣľîḑè">
              <a:extLst>
                <a:ext uri="{FF2B5EF4-FFF2-40B4-BE49-F238E27FC236}">
                  <a16:creationId xmlns:a16="http://schemas.microsoft.com/office/drawing/2014/main" id="{006D26E1-182A-4DB1-BD98-96E6D119C476}"/>
                </a:ext>
              </a:extLst>
            </p:cNvPr>
            <p:cNvSpPr txBox="1"/>
            <p:nvPr/>
          </p:nvSpPr>
          <p:spPr bwMode="auto">
            <a:xfrm>
              <a:off x="911546" y="4475168"/>
              <a:ext cx="2215060" cy="380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/>
                <a:t>Text here</a:t>
              </a:r>
            </a:p>
          </p:txBody>
        </p:sp>
      </p:grpSp>
      <p:sp>
        <p:nvSpPr>
          <p:cNvPr id="22" name="iṥlîḍê">
            <a:extLst>
              <a:ext uri="{FF2B5EF4-FFF2-40B4-BE49-F238E27FC236}">
                <a16:creationId xmlns:a16="http://schemas.microsoft.com/office/drawing/2014/main" id="{55108BDA-1CE5-4C7F-9EAE-297BE07431DC}"/>
              </a:ext>
            </a:extLst>
          </p:cNvPr>
          <p:cNvSpPr txBox="1"/>
          <p:nvPr/>
        </p:nvSpPr>
        <p:spPr bwMode="auto">
          <a:xfrm>
            <a:off x="6785631" y="3311937"/>
            <a:ext cx="1520114" cy="38043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200" b="1">
                <a:solidFill>
                  <a:schemeClr val="bg1"/>
                </a:solidFill>
              </a:rPr>
              <a:t>…Text</a:t>
            </a:r>
            <a:endParaRPr lang="en-US" altLang="zh-CN" sz="1200" b="1" dirty="0">
              <a:solidFill>
                <a:schemeClr val="bg1"/>
              </a:solidFill>
            </a:endParaRPr>
          </a:p>
        </p:txBody>
      </p:sp>
      <p:sp>
        <p:nvSpPr>
          <p:cNvPr id="84" name="i$lïḍê">
            <a:extLst>
              <a:ext uri="{FF2B5EF4-FFF2-40B4-BE49-F238E27FC236}">
                <a16:creationId xmlns:a16="http://schemas.microsoft.com/office/drawing/2014/main" id="{13F01EE2-AC37-47C1-887D-21EEF6332B27}"/>
              </a:ext>
            </a:extLst>
          </p:cNvPr>
          <p:cNvSpPr/>
          <p:nvPr/>
        </p:nvSpPr>
        <p:spPr>
          <a:xfrm>
            <a:off x="7304060" y="4260650"/>
            <a:ext cx="490238" cy="417661"/>
          </a:xfrm>
          <a:custGeom>
            <a:avLst/>
            <a:gdLst>
              <a:gd name="T0" fmla="*/ 332 w 358"/>
              <a:gd name="T1" fmla="*/ 0 h 305"/>
              <a:gd name="T2" fmla="*/ 332 w 358"/>
              <a:gd name="T3" fmla="*/ 91 h 305"/>
              <a:gd name="T4" fmla="*/ 358 w 358"/>
              <a:gd name="T5" fmla="*/ 91 h 305"/>
              <a:gd name="T6" fmla="*/ 345 w 358"/>
              <a:gd name="T7" fmla="*/ 272 h 305"/>
              <a:gd name="T8" fmla="*/ 306 w 358"/>
              <a:gd name="T9" fmla="*/ 272 h 305"/>
              <a:gd name="T10" fmla="*/ 306 w 358"/>
              <a:gd name="T11" fmla="*/ 305 h 305"/>
              <a:gd name="T12" fmla="*/ 294 w 358"/>
              <a:gd name="T13" fmla="*/ 305 h 305"/>
              <a:gd name="T14" fmla="*/ 294 w 358"/>
              <a:gd name="T15" fmla="*/ 272 h 305"/>
              <a:gd name="T16" fmla="*/ 64 w 358"/>
              <a:gd name="T17" fmla="*/ 272 h 305"/>
              <a:gd name="T18" fmla="*/ 64 w 358"/>
              <a:gd name="T19" fmla="*/ 305 h 305"/>
              <a:gd name="T20" fmla="*/ 51 w 358"/>
              <a:gd name="T21" fmla="*/ 305 h 305"/>
              <a:gd name="T22" fmla="*/ 51 w 358"/>
              <a:gd name="T23" fmla="*/ 272 h 305"/>
              <a:gd name="T24" fmla="*/ 13 w 358"/>
              <a:gd name="T25" fmla="*/ 272 h 305"/>
              <a:gd name="T26" fmla="*/ 0 w 358"/>
              <a:gd name="T27" fmla="*/ 91 h 305"/>
              <a:gd name="T28" fmla="*/ 32 w 358"/>
              <a:gd name="T29" fmla="*/ 91 h 305"/>
              <a:gd name="T30" fmla="*/ 32 w 358"/>
              <a:gd name="T31" fmla="*/ 0 h 305"/>
              <a:gd name="T32" fmla="*/ 332 w 358"/>
              <a:gd name="T33" fmla="*/ 0 h 305"/>
              <a:gd name="T34" fmla="*/ 59 w 358"/>
              <a:gd name="T35" fmla="*/ 104 h 305"/>
              <a:gd name="T36" fmla="*/ 13 w 358"/>
              <a:gd name="T37" fmla="*/ 104 h 305"/>
              <a:gd name="T38" fmla="*/ 26 w 358"/>
              <a:gd name="T39" fmla="*/ 259 h 305"/>
              <a:gd name="T40" fmla="*/ 332 w 358"/>
              <a:gd name="T41" fmla="*/ 259 h 305"/>
              <a:gd name="T42" fmla="*/ 345 w 358"/>
              <a:gd name="T43" fmla="*/ 104 h 305"/>
              <a:gd name="T44" fmla="*/ 298 w 358"/>
              <a:gd name="T45" fmla="*/ 104 h 305"/>
              <a:gd name="T46" fmla="*/ 279 w 358"/>
              <a:gd name="T47" fmla="*/ 208 h 305"/>
              <a:gd name="T48" fmla="*/ 78 w 358"/>
              <a:gd name="T49" fmla="*/ 208 h 305"/>
              <a:gd name="T50" fmla="*/ 59 w 358"/>
              <a:gd name="T51" fmla="*/ 104 h 305"/>
              <a:gd name="T52" fmla="*/ 319 w 358"/>
              <a:gd name="T53" fmla="*/ 13 h 305"/>
              <a:gd name="T54" fmla="*/ 45 w 358"/>
              <a:gd name="T55" fmla="*/ 13 h 305"/>
              <a:gd name="T56" fmla="*/ 45 w 358"/>
              <a:gd name="T57" fmla="*/ 91 h 305"/>
              <a:gd name="T58" fmla="*/ 69 w 358"/>
              <a:gd name="T59" fmla="*/ 91 h 305"/>
              <a:gd name="T60" fmla="*/ 88 w 358"/>
              <a:gd name="T61" fmla="*/ 195 h 305"/>
              <a:gd name="T62" fmla="*/ 270 w 358"/>
              <a:gd name="T63" fmla="*/ 195 h 305"/>
              <a:gd name="T64" fmla="*/ 289 w 358"/>
              <a:gd name="T65" fmla="*/ 91 h 305"/>
              <a:gd name="T66" fmla="*/ 319 w 358"/>
              <a:gd name="T67" fmla="*/ 91 h 305"/>
              <a:gd name="T68" fmla="*/ 319 w 358"/>
              <a:gd name="T69" fmla="*/ 13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58" h="305">
                <a:moveTo>
                  <a:pt x="332" y="0"/>
                </a:moveTo>
                <a:lnTo>
                  <a:pt x="332" y="91"/>
                </a:lnTo>
                <a:lnTo>
                  <a:pt x="358" y="91"/>
                </a:lnTo>
                <a:lnTo>
                  <a:pt x="345" y="272"/>
                </a:lnTo>
                <a:lnTo>
                  <a:pt x="306" y="272"/>
                </a:lnTo>
                <a:lnTo>
                  <a:pt x="306" y="305"/>
                </a:lnTo>
                <a:lnTo>
                  <a:pt x="294" y="305"/>
                </a:lnTo>
                <a:lnTo>
                  <a:pt x="294" y="272"/>
                </a:lnTo>
                <a:lnTo>
                  <a:pt x="64" y="272"/>
                </a:lnTo>
                <a:lnTo>
                  <a:pt x="64" y="305"/>
                </a:lnTo>
                <a:lnTo>
                  <a:pt x="51" y="305"/>
                </a:lnTo>
                <a:lnTo>
                  <a:pt x="51" y="272"/>
                </a:lnTo>
                <a:lnTo>
                  <a:pt x="13" y="272"/>
                </a:lnTo>
                <a:lnTo>
                  <a:pt x="0" y="91"/>
                </a:lnTo>
                <a:lnTo>
                  <a:pt x="32" y="91"/>
                </a:lnTo>
                <a:lnTo>
                  <a:pt x="32" y="0"/>
                </a:lnTo>
                <a:lnTo>
                  <a:pt x="332" y="0"/>
                </a:lnTo>
                <a:close/>
                <a:moveTo>
                  <a:pt x="59" y="104"/>
                </a:moveTo>
                <a:lnTo>
                  <a:pt x="13" y="104"/>
                </a:lnTo>
                <a:lnTo>
                  <a:pt x="26" y="259"/>
                </a:lnTo>
                <a:lnTo>
                  <a:pt x="332" y="259"/>
                </a:lnTo>
                <a:lnTo>
                  <a:pt x="345" y="104"/>
                </a:lnTo>
                <a:lnTo>
                  <a:pt x="298" y="104"/>
                </a:lnTo>
                <a:lnTo>
                  <a:pt x="279" y="208"/>
                </a:lnTo>
                <a:lnTo>
                  <a:pt x="78" y="208"/>
                </a:lnTo>
                <a:lnTo>
                  <a:pt x="59" y="104"/>
                </a:lnTo>
                <a:close/>
                <a:moveTo>
                  <a:pt x="319" y="13"/>
                </a:moveTo>
                <a:lnTo>
                  <a:pt x="45" y="13"/>
                </a:lnTo>
                <a:lnTo>
                  <a:pt x="45" y="91"/>
                </a:lnTo>
                <a:lnTo>
                  <a:pt x="69" y="91"/>
                </a:lnTo>
                <a:lnTo>
                  <a:pt x="88" y="195"/>
                </a:lnTo>
                <a:lnTo>
                  <a:pt x="270" y="195"/>
                </a:lnTo>
                <a:lnTo>
                  <a:pt x="289" y="91"/>
                </a:lnTo>
                <a:lnTo>
                  <a:pt x="319" y="91"/>
                </a:lnTo>
                <a:lnTo>
                  <a:pt x="319" y="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grpSp>
        <p:nvGrpSpPr>
          <p:cNvPr id="24" name="ïS1îḓè">
            <a:extLst>
              <a:ext uri="{FF2B5EF4-FFF2-40B4-BE49-F238E27FC236}">
                <a16:creationId xmlns:a16="http://schemas.microsoft.com/office/drawing/2014/main" id="{4AA228DC-BFFA-4599-89C3-858DAB5FAA45}"/>
              </a:ext>
            </a:extLst>
          </p:cNvPr>
          <p:cNvGrpSpPr/>
          <p:nvPr/>
        </p:nvGrpSpPr>
        <p:grpSpPr>
          <a:xfrm>
            <a:off x="6438158" y="4780131"/>
            <a:ext cx="2215060" cy="1146198"/>
            <a:chOff x="911546" y="4475168"/>
            <a:chExt cx="2215060" cy="1146198"/>
          </a:xfrm>
        </p:grpSpPr>
        <p:sp>
          <p:nvSpPr>
            <p:cNvPr id="25" name="íṩḷidè">
              <a:extLst>
                <a:ext uri="{FF2B5EF4-FFF2-40B4-BE49-F238E27FC236}">
                  <a16:creationId xmlns:a16="http://schemas.microsoft.com/office/drawing/2014/main" id="{2B5B7BF9-45AB-4D0D-AA04-4697583CF711}"/>
                </a:ext>
              </a:extLst>
            </p:cNvPr>
            <p:cNvSpPr/>
            <p:nvPr/>
          </p:nvSpPr>
          <p:spPr bwMode="auto">
            <a:xfrm>
              <a:off x="911546" y="4869658"/>
              <a:ext cx="2215060" cy="751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/>
                <a:t>Supporting text here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/>
                <a:t>… …</a:t>
              </a:r>
              <a:endParaRPr lang="en-US" altLang="zh-CN" sz="1100" dirty="0"/>
            </a:p>
          </p:txBody>
        </p:sp>
        <p:sp>
          <p:nvSpPr>
            <p:cNvPr id="26" name="îs1iḋé">
              <a:extLst>
                <a:ext uri="{FF2B5EF4-FFF2-40B4-BE49-F238E27FC236}">
                  <a16:creationId xmlns:a16="http://schemas.microsoft.com/office/drawing/2014/main" id="{33AAE36D-7A22-4720-B15E-E20C181E3F78}"/>
                </a:ext>
              </a:extLst>
            </p:cNvPr>
            <p:cNvSpPr txBox="1"/>
            <p:nvPr/>
          </p:nvSpPr>
          <p:spPr bwMode="auto">
            <a:xfrm>
              <a:off x="911546" y="4475168"/>
              <a:ext cx="2215060" cy="380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/>
                <a:t>Text here</a:t>
              </a:r>
            </a:p>
          </p:txBody>
        </p:sp>
      </p:grpSp>
      <p:sp>
        <p:nvSpPr>
          <p:cNvPr id="80" name="ïş1ïḍè">
            <a:extLst>
              <a:ext uri="{FF2B5EF4-FFF2-40B4-BE49-F238E27FC236}">
                <a16:creationId xmlns:a16="http://schemas.microsoft.com/office/drawing/2014/main" id="{78071EEF-E91E-4097-A716-C3FE960B438E}"/>
              </a:ext>
            </a:extLst>
          </p:cNvPr>
          <p:cNvSpPr/>
          <p:nvPr/>
        </p:nvSpPr>
        <p:spPr>
          <a:xfrm>
            <a:off x="10172451" y="1444585"/>
            <a:ext cx="484820" cy="490238"/>
          </a:xfrm>
          <a:custGeom>
            <a:avLst/>
            <a:gdLst>
              <a:gd name="T0" fmla="*/ 160 w 224"/>
              <a:gd name="T1" fmla="*/ 0 h 224"/>
              <a:gd name="T2" fmla="*/ 160 w 224"/>
              <a:gd name="T3" fmla="*/ 48 h 224"/>
              <a:gd name="T4" fmla="*/ 224 w 224"/>
              <a:gd name="T5" fmla="*/ 48 h 224"/>
              <a:gd name="T6" fmla="*/ 224 w 224"/>
              <a:gd name="T7" fmla="*/ 176 h 224"/>
              <a:gd name="T8" fmla="*/ 160 w 224"/>
              <a:gd name="T9" fmla="*/ 176 h 224"/>
              <a:gd name="T10" fmla="*/ 160 w 224"/>
              <a:gd name="T11" fmla="*/ 224 h 224"/>
              <a:gd name="T12" fmla="*/ 64 w 224"/>
              <a:gd name="T13" fmla="*/ 224 h 224"/>
              <a:gd name="T14" fmla="*/ 64 w 224"/>
              <a:gd name="T15" fmla="*/ 176 h 224"/>
              <a:gd name="T16" fmla="*/ 0 w 224"/>
              <a:gd name="T17" fmla="*/ 176 h 224"/>
              <a:gd name="T18" fmla="*/ 0 w 224"/>
              <a:gd name="T19" fmla="*/ 76 h 224"/>
              <a:gd name="T20" fmla="*/ 26 w 224"/>
              <a:gd name="T21" fmla="*/ 48 h 224"/>
              <a:gd name="T22" fmla="*/ 64 w 224"/>
              <a:gd name="T23" fmla="*/ 48 h 224"/>
              <a:gd name="T24" fmla="*/ 64 w 224"/>
              <a:gd name="T25" fmla="*/ 0 h 224"/>
              <a:gd name="T26" fmla="*/ 160 w 224"/>
              <a:gd name="T27" fmla="*/ 0 h 224"/>
              <a:gd name="T28" fmla="*/ 152 w 224"/>
              <a:gd name="T29" fmla="*/ 120 h 224"/>
              <a:gd name="T30" fmla="*/ 72 w 224"/>
              <a:gd name="T31" fmla="*/ 120 h 224"/>
              <a:gd name="T32" fmla="*/ 72 w 224"/>
              <a:gd name="T33" fmla="*/ 216 h 224"/>
              <a:gd name="T34" fmla="*/ 152 w 224"/>
              <a:gd name="T35" fmla="*/ 216 h 224"/>
              <a:gd name="T36" fmla="*/ 152 w 224"/>
              <a:gd name="T37" fmla="*/ 120 h 224"/>
              <a:gd name="T38" fmla="*/ 216 w 224"/>
              <a:gd name="T39" fmla="*/ 56 h 224"/>
              <a:gd name="T40" fmla="*/ 30 w 224"/>
              <a:gd name="T41" fmla="*/ 56 h 224"/>
              <a:gd name="T42" fmla="*/ 8 w 224"/>
              <a:gd name="T43" fmla="*/ 80 h 224"/>
              <a:gd name="T44" fmla="*/ 8 w 224"/>
              <a:gd name="T45" fmla="*/ 168 h 224"/>
              <a:gd name="T46" fmla="*/ 64 w 224"/>
              <a:gd name="T47" fmla="*/ 168 h 224"/>
              <a:gd name="T48" fmla="*/ 64 w 224"/>
              <a:gd name="T49" fmla="*/ 112 h 224"/>
              <a:gd name="T50" fmla="*/ 160 w 224"/>
              <a:gd name="T51" fmla="*/ 112 h 224"/>
              <a:gd name="T52" fmla="*/ 160 w 224"/>
              <a:gd name="T53" fmla="*/ 168 h 224"/>
              <a:gd name="T54" fmla="*/ 216 w 224"/>
              <a:gd name="T55" fmla="*/ 168 h 224"/>
              <a:gd name="T56" fmla="*/ 216 w 224"/>
              <a:gd name="T57" fmla="*/ 56 h 224"/>
              <a:gd name="T58" fmla="*/ 194 w 224"/>
              <a:gd name="T59" fmla="*/ 72 h 224"/>
              <a:gd name="T60" fmla="*/ 200 w 224"/>
              <a:gd name="T61" fmla="*/ 78 h 224"/>
              <a:gd name="T62" fmla="*/ 194 w 224"/>
              <a:gd name="T63" fmla="*/ 84 h 224"/>
              <a:gd name="T64" fmla="*/ 188 w 224"/>
              <a:gd name="T65" fmla="*/ 78 h 224"/>
              <a:gd name="T66" fmla="*/ 194 w 224"/>
              <a:gd name="T67" fmla="*/ 72 h 224"/>
              <a:gd name="T68" fmla="*/ 152 w 224"/>
              <a:gd name="T69" fmla="*/ 8 h 224"/>
              <a:gd name="T70" fmla="*/ 72 w 224"/>
              <a:gd name="T71" fmla="*/ 8 h 224"/>
              <a:gd name="T72" fmla="*/ 72 w 224"/>
              <a:gd name="T73" fmla="*/ 48 h 224"/>
              <a:gd name="T74" fmla="*/ 152 w 224"/>
              <a:gd name="T75" fmla="*/ 48 h 224"/>
              <a:gd name="T76" fmla="*/ 152 w 224"/>
              <a:gd name="T77" fmla="*/ 8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24" h="224">
                <a:moveTo>
                  <a:pt x="160" y="0"/>
                </a:moveTo>
                <a:cubicBezTo>
                  <a:pt x="160" y="48"/>
                  <a:pt x="160" y="48"/>
                  <a:pt x="160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6"/>
                  <a:pt x="224" y="176"/>
                  <a:pt x="224" y="176"/>
                </a:cubicBezTo>
                <a:cubicBezTo>
                  <a:pt x="160" y="176"/>
                  <a:pt x="160" y="176"/>
                  <a:pt x="160" y="176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64" y="224"/>
                  <a:pt x="64" y="224"/>
                  <a:pt x="64" y="224"/>
                </a:cubicBezTo>
                <a:cubicBezTo>
                  <a:pt x="64" y="176"/>
                  <a:pt x="64" y="176"/>
                  <a:pt x="64" y="176"/>
                </a:cubicBezTo>
                <a:cubicBezTo>
                  <a:pt x="0" y="176"/>
                  <a:pt x="0" y="176"/>
                  <a:pt x="0" y="176"/>
                </a:cubicBezTo>
                <a:cubicBezTo>
                  <a:pt x="0" y="76"/>
                  <a:pt x="0" y="76"/>
                  <a:pt x="0" y="76"/>
                </a:cubicBezTo>
                <a:cubicBezTo>
                  <a:pt x="26" y="48"/>
                  <a:pt x="26" y="48"/>
                  <a:pt x="26" y="48"/>
                </a:cubicBezTo>
                <a:cubicBezTo>
                  <a:pt x="64" y="48"/>
                  <a:pt x="64" y="48"/>
                  <a:pt x="64" y="48"/>
                </a:cubicBezTo>
                <a:cubicBezTo>
                  <a:pt x="64" y="0"/>
                  <a:pt x="64" y="0"/>
                  <a:pt x="64" y="0"/>
                </a:cubicBezTo>
                <a:lnTo>
                  <a:pt x="160" y="0"/>
                </a:lnTo>
                <a:close/>
                <a:moveTo>
                  <a:pt x="152" y="120"/>
                </a:moveTo>
                <a:cubicBezTo>
                  <a:pt x="72" y="120"/>
                  <a:pt x="72" y="120"/>
                  <a:pt x="72" y="120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152" y="216"/>
                  <a:pt x="152" y="216"/>
                  <a:pt x="152" y="216"/>
                </a:cubicBezTo>
                <a:lnTo>
                  <a:pt x="152" y="120"/>
                </a:lnTo>
                <a:close/>
                <a:moveTo>
                  <a:pt x="216" y="56"/>
                </a:moveTo>
                <a:cubicBezTo>
                  <a:pt x="30" y="56"/>
                  <a:pt x="30" y="56"/>
                  <a:pt x="30" y="56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168"/>
                  <a:pt x="8" y="168"/>
                  <a:pt x="8" y="168"/>
                </a:cubicBezTo>
                <a:cubicBezTo>
                  <a:pt x="64" y="168"/>
                  <a:pt x="64" y="168"/>
                  <a:pt x="64" y="168"/>
                </a:cubicBezTo>
                <a:cubicBezTo>
                  <a:pt x="64" y="112"/>
                  <a:pt x="64" y="112"/>
                  <a:pt x="64" y="112"/>
                </a:cubicBezTo>
                <a:cubicBezTo>
                  <a:pt x="160" y="112"/>
                  <a:pt x="160" y="112"/>
                  <a:pt x="160" y="112"/>
                </a:cubicBezTo>
                <a:cubicBezTo>
                  <a:pt x="160" y="168"/>
                  <a:pt x="160" y="168"/>
                  <a:pt x="160" y="168"/>
                </a:cubicBezTo>
                <a:cubicBezTo>
                  <a:pt x="216" y="168"/>
                  <a:pt x="216" y="168"/>
                  <a:pt x="216" y="168"/>
                </a:cubicBezTo>
                <a:lnTo>
                  <a:pt x="216" y="56"/>
                </a:lnTo>
                <a:close/>
                <a:moveTo>
                  <a:pt x="194" y="72"/>
                </a:moveTo>
                <a:cubicBezTo>
                  <a:pt x="197" y="72"/>
                  <a:pt x="200" y="75"/>
                  <a:pt x="200" y="78"/>
                </a:cubicBezTo>
                <a:cubicBezTo>
                  <a:pt x="200" y="81"/>
                  <a:pt x="197" y="84"/>
                  <a:pt x="194" y="84"/>
                </a:cubicBezTo>
                <a:cubicBezTo>
                  <a:pt x="191" y="84"/>
                  <a:pt x="188" y="81"/>
                  <a:pt x="188" y="78"/>
                </a:cubicBezTo>
                <a:cubicBezTo>
                  <a:pt x="188" y="75"/>
                  <a:pt x="191" y="72"/>
                  <a:pt x="194" y="72"/>
                </a:cubicBezTo>
                <a:close/>
                <a:moveTo>
                  <a:pt x="152" y="8"/>
                </a:moveTo>
                <a:cubicBezTo>
                  <a:pt x="72" y="8"/>
                  <a:pt x="72" y="8"/>
                  <a:pt x="72" y="8"/>
                </a:cubicBezTo>
                <a:cubicBezTo>
                  <a:pt x="72" y="48"/>
                  <a:pt x="72" y="48"/>
                  <a:pt x="72" y="48"/>
                </a:cubicBezTo>
                <a:cubicBezTo>
                  <a:pt x="152" y="48"/>
                  <a:pt x="152" y="48"/>
                  <a:pt x="152" y="48"/>
                </a:cubicBezTo>
                <a:lnTo>
                  <a:pt x="152" y="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grpSp>
        <p:nvGrpSpPr>
          <p:cNvPr id="12" name="isļïdé">
            <a:extLst>
              <a:ext uri="{FF2B5EF4-FFF2-40B4-BE49-F238E27FC236}">
                <a16:creationId xmlns:a16="http://schemas.microsoft.com/office/drawing/2014/main" id="{4DBE1EFF-7E34-4A65-89FE-2DEBE2D0EA19}"/>
              </a:ext>
            </a:extLst>
          </p:cNvPr>
          <p:cNvGrpSpPr/>
          <p:nvPr/>
        </p:nvGrpSpPr>
        <p:grpSpPr>
          <a:xfrm>
            <a:off x="9303840" y="2000355"/>
            <a:ext cx="2215060" cy="1146198"/>
            <a:chOff x="911546" y="4475168"/>
            <a:chExt cx="2215060" cy="1146198"/>
          </a:xfrm>
        </p:grpSpPr>
        <p:sp>
          <p:nvSpPr>
            <p:cNvPr id="18" name="iśliďê">
              <a:extLst>
                <a:ext uri="{FF2B5EF4-FFF2-40B4-BE49-F238E27FC236}">
                  <a16:creationId xmlns:a16="http://schemas.microsoft.com/office/drawing/2014/main" id="{EF41EA8E-DB16-44CB-BC49-239F1DF9694C}"/>
                </a:ext>
              </a:extLst>
            </p:cNvPr>
            <p:cNvSpPr/>
            <p:nvPr/>
          </p:nvSpPr>
          <p:spPr bwMode="auto">
            <a:xfrm>
              <a:off x="911546" y="4869658"/>
              <a:ext cx="2215060" cy="751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/>
                <a:t>Supporting text here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/>
                <a:t>… …</a:t>
              </a:r>
              <a:endParaRPr lang="en-US" altLang="zh-CN" sz="1100" dirty="0"/>
            </a:p>
          </p:txBody>
        </p:sp>
        <p:sp>
          <p:nvSpPr>
            <p:cNvPr id="19" name="îsḻïḍé">
              <a:extLst>
                <a:ext uri="{FF2B5EF4-FFF2-40B4-BE49-F238E27FC236}">
                  <a16:creationId xmlns:a16="http://schemas.microsoft.com/office/drawing/2014/main" id="{78D5C60E-2B2C-4E8E-991A-A8DFAD1534E4}"/>
                </a:ext>
              </a:extLst>
            </p:cNvPr>
            <p:cNvSpPr txBox="1"/>
            <p:nvPr/>
          </p:nvSpPr>
          <p:spPr bwMode="auto">
            <a:xfrm>
              <a:off x="911546" y="4475168"/>
              <a:ext cx="2215060" cy="380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/>
                <a:t>Text here</a:t>
              </a:r>
            </a:p>
          </p:txBody>
        </p:sp>
      </p:grpSp>
      <p:sp>
        <p:nvSpPr>
          <p:cNvPr id="13" name="ïṥḷiḓè">
            <a:extLst>
              <a:ext uri="{FF2B5EF4-FFF2-40B4-BE49-F238E27FC236}">
                <a16:creationId xmlns:a16="http://schemas.microsoft.com/office/drawing/2014/main" id="{EFC892A1-478F-4A8F-84FB-7FAC9A196BDD}"/>
              </a:ext>
            </a:extLst>
          </p:cNvPr>
          <p:cNvSpPr txBox="1"/>
          <p:nvPr/>
        </p:nvSpPr>
        <p:spPr bwMode="auto">
          <a:xfrm>
            <a:off x="9651313" y="3311937"/>
            <a:ext cx="1520114" cy="38043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200" b="1">
                <a:solidFill>
                  <a:schemeClr val="bg1"/>
                </a:solidFill>
              </a:rPr>
              <a:t>…Text</a:t>
            </a:r>
            <a:endParaRPr lang="en-US" altLang="zh-CN" sz="1200" b="1" dirty="0">
              <a:solidFill>
                <a:schemeClr val="bg1"/>
              </a:solidFill>
            </a:endParaRPr>
          </a:p>
        </p:txBody>
      </p:sp>
      <p:sp>
        <p:nvSpPr>
          <p:cNvPr id="86" name="iṣļiďè">
            <a:extLst>
              <a:ext uri="{FF2B5EF4-FFF2-40B4-BE49-F238E27FC236}">
                <a16:creationId xmlns:a16="http://schemas.microsoft.com/office/drawing/2014/main" id="{07321184-6A41-4329-9143-01C08712D5DA}"/>
              </a:ext>
            </a:extLst>
          </p:cNvPr>
          <p:cNvSpPr/>
          <p:nvPr/>
        </p:nvSpPr>
        <p:spPr>
          <a:xfrm>
            <a:off x="10233392" y="4224362"/>
            <a:ext cx="362938" cy="490238"/>
          </a:xfrm>
          <a:custGeom>
            <a:avLst/>
            <a:gdLst>
              <a:gd name="T0" fmla="*/ 197 w 268"/>
              <a:gd name="T1" fmla="*/ 0 h 362"/>
              <a:gd name="T2" fmla="*/ 197 w 268"/>
              <a:gd name="T3" fmla="*/ 25 h 362"/>
              <a:gd name="T4" fmla="*/ 268 w 268"/>
              <a:gd name="T5" fmla="*/ 25 h 362"/>
              <a:gd name="T6" fmla="*/ 268 w 268"/>
              <a:gd name="T7" fmla="*/ 362 h 362"/>
              <a:gd name="T8" fmla="*/ 0 w 268"/>
              <a:gd name="T9" fmla="*/ 362 h 362"/>
              <a:gd name="T10" fmla="*/ 0 w 268"/>
              <a:gd name="T11" fmla="*/ 25 h 362"/>
              <a:gd name="T12" fmla="*/ 70 w 268"/>
              <a:gd name="T13" fmla="*/ 25 h 362"/>
              <a:gd name="T14" fmla="*/ 70 w 268"/>
              <a:gd name="T15" fmla="*/ 0 h 362"/>
              <a:gd name="T16" fmla="*/ 197 w 268"/>
              <a:gd name="T17" fmla="*/ 0 h 362"/>
              <a:gd name="T18" fmla="*/ 70 w 268"/>
              <a:gd name="T19" fmla="*/ 38 h 362"/>
              <a:gd name="T20" fmla="*/ 12 w 268"/>
              <a:gd name="T21" fmla="*/ 38 h 362"/>
              <a:gd name="T22" fmla="*/ 12 w 268"/>
              <a:gd name="T23" fmla="*/ 349 h 362"/>
              <a:gd name="T24" fmla="*/ 255 w 268"/>
              <a:gd name="T25" fmla="*/ 349 h 362"/>
              <a:gd name="T26" fmla="*/ 255 w 268"/>
              <a:gd name="T27" fmla="*/ 38 h 362"/>
              <a:gd name="T28" fmla="*/ 197 w 268"/>
              <a:gd name="T29" fmla="*/ 38 h 362"/>
              <a:gd name="T30" fmla="*/ 197 w 268"/>
              <a:gd name="T31" fmla="*/ 64 h 362"/>
              <a:gd name="T32" fmla="*/ 70 w 268"/>
              <a:gd name="T33" fmla="*/ 64 h 362"/>
              <a:gd name="T34" fmla="*/ 70 w 268"/>
              <a:gd name="T35" fmla="*/ 38 h 362"/>
              <a:gd name="T36" fmla="*/ 134 w 268"/>
              <a:gd name="T37" fmla="*/ 233 h 362"/>
              <a:gd name="T38" fmla="*/ 134 w 268"/>
              <a:gd name="T39" fmla="*/ 246 h 362"/>
              <a:gd name="T40" fmla="*/ 57 w 268"/>
              <a:gd name="T41" fmla="*/ 246 h 362"/>
              <a:gd name="T42" fmla="*/ 57 w 268"/>
              <a:gd name="T43" fmla="*/ 233 h 362"/>
              <a:gd name="T44" fmla="*/ 134 w 268"/>
              <a:gd name="T45" fmla="*/ 233 h 362"/>
              <a:gd name="T46" fmla="*/ 210 w 268"/>
              <a:gd name="T47" fmla="*/ 181 h 362"/>
              <a:gd name="T48" fmla="*/ 210 w 268"/>
              <a:gd name="T49" fmla="*/ 194 h 362"/>
              <a:gd name="T50" fmla="*/ 57 w 268"/>
              <a:gd name="T51" fmla="*/ 194 h 362"/>
              <a:gd name="T52" fmla="*/ 57 w 268"/>
              <a:gd name="T53" fmla="*/ 181 h 362"/>
              <a:gd name="T54" fmla="*/ 210 w 268"/>
              <a:gd name="T55" fmla="*/ 181 h 362"/>
              <a:gd name="T56" fmla="*/ 210 w 268"/>
              <a:gd name="T57" fmla="*/ 129 h 362"/>
              <a:gd name="T58" fmla="*/ 210 w 268"/>
              <a:gd name="T59" fmla="*/ 142 h 362"/>
              <a:gd name="T60" fmla="*/ 57 w 268"/>
              <a:gd name="T61" fmla="*/ 142 h 362"/>
              <a:gd name="T62" fmla="*/ 57 w 268"/>
              <a:gd name="T63" fmla="*/ 129 h 362"/>
              <a:gd name="T64" fmla="*/ 210 w 268"/>
              <a:gd name="T65" fmla="*/ 129 h 362"/>
              <a:gd name="T66" fmla="*/ 185 w 268"/>
              <a:gd name="T67" fmla="*/ 12 h 362"/>
              <a:gd name="T68" fmla="*/ 83 w 268"/>
              <a:gd name="T69" fmla="*/ 12 h 362"/>
              <a:gd name="T70" fmla="*/ 83 w 268"/>
              <a:gd name="T71" fmla="*/ 51 h 362"/>
              <a:gd name="T72" fmla="*/ 185 w 268"/>
              <a:gd name="T73" fmla="*/ 51 h 362"/>
              <a:gd name="T74" fmla="*/ 185 w 268"/>
              <a:gd name="T75" fmla="*/ 12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68" h="362">
                <a:moveTo>
                  <a:pt x="197" y="0"/>
                </a:moveTo>
                <a:lnTo>
                  <a:pt x="197" y="25"/>
                </a:lnTo>
                <a:lnTo>
                  <a:pt x="268" y="25"/>
                </a:lnTo>
                <a:lnTo>
                  <a:pt x="268" y="362"/>
                </a:lnTo>
                <a:lnTo>
                  <a:pt x="0" y="362"/>
                </a:lnTo>
                <a:lnTo>
                  <a:pt x="0" y="25"/>
                </a:lnTo>
                <a:lnTo>
                  <a:pt x="70" y="25"/>
                </a:lnTo>
                <a:lnTo>
                  <a:pt x="70" y="0"/>
                </a:lnTo>
                <a:lnTo>
                  <a:pt x="197" y="0"/>
                </a:lnTo>
                <a:close/>
                <a:moveTo>
                  <a:pt x="70" y="38"/>
                </a:moveTo>
                <a:lnTo>
                  <a:pt x="12" y="38"/>
                </a:lnTo>
                <a:lnTo>
                  <a:pt x="12" y="349"/>
                </a:lnTo>
                <a:lnTo>
                  <a:pt x="255" y="349"/>
                </a:lnTo>
                <a:lnTo>
                  <a:pt x="255" y="38"/>
                </a:lnTo>
                <a:lnTo>
                  <a:pt x="197" y="38"/>
                </a:lnTo>
                <a:lnTo>
                  <a:pt x="197" y="64"/>
                </a:lnTo>
                <a:lnTo>
                  <a:pt x="70" y="64"/>
                </a:lnTo>
                <a:lnTo>
                  <a:pt x="70" y="38"/>
                </a:lnTo>
                <a:close/>
                <a:moveTo>
                  <a:pt x="134" y="233"/>
                </a:moveTo>
                <a:lnTo>
                  <a:pt x="134" y="246"/>
                </a:lnTo>
                <a:lnTo>
                  <a:pt x="57" y="246"/>
                </a:lnTo>
                <a:lnTo>
                  <a:pt x="57" y="233"/>
                </a:lnTo>
                <a:lnTo>
                  <a:pt x="134" y="233"/>
                </a:lnTo>
                <a:close/>
                <a:moveTo>
                  <a:pt x="210" y="181"/>
                </a:moveTo>
                <a:lnTo>
                  <a:pt x="210" y="194"/>
                </a:lnTo>
                <a:lnTo>
                  <a:pt x="57" y="194"/>
                </a:lnTo>
                <a:lnTo>
                  <a:pt x="57" y="181"/>
                </a:lnTo>
                <a:lnTo>
                  <a:pt x="210" y="181"/>
                </a:lnTo>
                <a:close/>
                <a:moveTo>
                  <a:pt x="210" y="129"/>
                </a:moveTo>
                <a:lnTo>
                  <a:pt x="210" y="142"/>
                </a:lnTo>
                <a:lnTo>
                  <a:pt x="57" y="142"/>
                </a:lnTo>
                <a:lnTo>
                  <a:pt x="57" y="129"/>
                </a:lnTo>
                <a:lnTo>
                  <a:pt x="210" y="129"/>
                </a:lnTo>
                <a:close/>
                <a:moveTo>
                  <a:pt x="185" y="12"/>
                </a:moveTo>
                <a:lnTo>
                  <a:pt x="83" y="12"/>
                </a:lnTo>
                <a:lnTo>
                  <a:pt x="83" y="51"/>
                </a:lnTo>
                <a:lnTo>
                  <a:pt x="185" y="51"/>
                </a:lnTo>
                <a:lnTo>
                  <a:pt x="185" y="1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grpSp>
        <p:nvGrpSpPr>
          <p:cNvPr id="15" name="îṧļîḍé">
            <a:extLst>
              <a:ext uri="{FF2B5EF4-FFF2-40B4-BE49-F238E27FC236}">
                <a16:creationId xmlns:a16="http://schemas.microsoft.com/office/drawing/2014/main" id="{2A75AFDF-0B46-43D5-89FB-5D5D81DF596D}"/>
              </a:ext>
            </a:extLst>
          </p:cNvPr>
          <p:cNvGrpSpPr/>
          <p:nvPr/>
        </p:nvGrpSpPr>
        <p:grpSpPr>
          <a:xfrm>
            <a:off x="9303840" y="4780131"/>
            <a:ext cx="2215060" cy="1146198"/>
            <a:chOff x="911546" y="4475168"/>
            <a:chExt cx="2215060" cy="1146198"/>
          </a:xfrm>
        </p:grpSpPr>
        <p:sp>
          <p:nvSpPr>
            <p:cNvPr id="16" name="iṧlîďè">
              <a:extLst>
                <a:ext uri="{FF2B5EF4-FFF2-40B4-BE49-F238E27FC236}">
                  <a16:creationId xmlns:a16="http://schemas.microsoft.com/office/drawing/2014/main" id="{0D55D7C0-5BA0-4B4C-811A-6F88556611AA}"/>
                </a:ext>
              </a:extLst>
            </p:cNvPr>
            <p:cNvSpPr/>
            <p:nvPr/>
          </p:nvSpPr>
          <p:spPr bwMode="auto">
            <a:xfrm>
              <a:off x="911546" y="4869658"/>
              <a:ext cx="2215060" cy="751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/>
                <a:t>Supporting text here. 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/>
                <a:t>… …</a:t>
              </a:r>
              <a:endParaRPr lang="en-US" altLang="zh-CN" sz="1100" dirty="0"/>
            </a:p>
          </p:txBody>
        </p:sp>
        <p:sp>
          <p:nvSpPr>
            <p:cNvPr id="17" name="ïśḷïḑe">
              <a:extLst>
                <a:ext uri="{FF2B5EF4-FFF2-40B4-BE49-F238E27FC236}">
                  <a16:creationId xmlns:a16="http://schemas.microsoft.com/office/drawing/2014/main" id="{3BB1486F-929D-4A26-A16C-871BB4F74546}"/>
                </a:ext>
              </a:extLst>
            </p:cNvPr>
            <p:cNvSpPr txBox="1"/>
            <p:nvPr/>
          </p:nvSpPr>
          <p:spPr bwMode="auto">
            <a:xfrm>
              <a:off x="911546" y="4475168"/>
              <a:ext cx="2215060" cy="380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/>
                <a:t>Text here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5181539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33D1008-2FE9-41A2-8A07-2F55F4143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6F4F48E-3191-46EA-93FD-5D2C839DBA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71504DF-DFFC-4FDB-9616-D2D24ADD2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grpSp>
        <p:nvGrpSpPr>
          <p:cNvPr id="152" name="27249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AC0CEE4-4B39-454E-B326-23DC30750C5F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195455"/>
            <a:ext cx="12192000" cy="5695106"/>
            <a:chOff x="0" y="1162894"/>
            <a:chExt cx="12192000" cy="5695106"/>
          </a:xfrm>
        </p:grpSpPr>
        <p:grpSp>
          <p:nvGrpSpPr>
            <p:cNvPr id="153" name="ïŝḷiďe">
              <a:extLst>
                <a:ext uri="{FF2B5EF4-FFF2-40B4-BE49-F238E27FC236}">
                  <a16:creationId xmlns:a16="http://schemas.microsoft.com/office/drawing/2014/main" id="{FE6989C1-C23C-4791-95C8-8FC116330450}"/>
                </a:ext>
              </a:extLst>
            </p:cNvPr>
            <p:cNvGrpSpPr/>
            <p:nvPr/>
          </p:nvGrpSpPr>
          <p:grpSpPr>
            <a:xfrm>
              <a:off x="660400" y="1162894"/>
              <a:ext cx="3427506" cy="4337870"/>
              <a:chOff x="660400" y="1162894"/>
              <a:chExt cx="3427506" cy="4337870"/>
            </a:xfrm>
          </p:grpSpPr>
          <p:grpSp>
            <p:nvGrpSpPr>
              <p:cNvPr id="197" name="ïṥ1îḋe">
                <a:extLst>
                  <a:ext uri="{FF2B5EF4-FFF2-40B4-BE49-F238E27FC236}">
                    <a16:creationId xmlns:a16="http://schemas.microsoft.com/office/drawing/2014/main" id="{B12C7F41-A64E-43DF-9915-72FD57172975}"/>
                  </a:ext>
                </a:extLst>
              </p:cNvPr>
              <p:cNvGrpSpPr/>
              <p:nvPr/>
            </p:nvGrpSpPr>
            <p:grpSpPr>
              <a:xfrm>
                <a:off x="660400" y="1887055"/>
                <a:ext cx="3427506" cy="3613709"/>
                <a:chOff x="660400" y="1644468"/>
                <a:chExt cx="3427506" cy="3613709"/>
              </a:xfrm>
            </p:grpSpPr>
            <p:sp>
              <p:nvSpPr>
                <p:cNvPr id="199" name="íṥlïdê">
                  <a:extLst>
                    <a:ext uri="{FF2B5EF4-FFF2-40B4-BE49-F238E27FC236}">
                      <a16:creationId xmlns:a16="http://schemas.microsoft.com/office/drawing/2014/main" id="{54474F6E-65DC-4D73-A3CF-237E194840FD}"/>
                    </a:ext>
                  </a:extLst>
                </p:cNvPr>
                <p:cNvSpPr/>
                <p:nvPr/>
              </p:nvSpPr>
              <p:spPr>
                <a:xfrm>
                  <a:off x="660400" y="1644468"/>
                  <a:ext cx="3427506" cy="462025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1600" b="1" dirty="0"/>
                    <a:t>…Text</a:t>
                  </a:r>
                  <a:endParaRPr lang="id-ID" altLang="zh-CN" sz="1600" b="1" dirty="0"/>
                </a:p>
              </p:txBody>
            </p:sp>
            <p:sp>
              <p:nvSpPr>
                <p:cNvPr id="200" name="îṥḷîḑè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660400" y="2106493"/>
                  <a:ext cx="3427506" cy="315168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…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sp>
            <p:nvSpPr>
              <p:cNvPr id="198" name="îś1iḑé">
                <a:extLst>
                  <a:ext uri="{FF2B5EF4-FFF2-40B4-BE49-F238E27FC236}">
                    <a16:creationId xmlns:a16="http://schemas.microsoft.com/office/drawing/2014/main" id="{7E60F507-4886-45D7-B0AF-D7F2D4F71502}"/>
                  </a:ext>
                </a:extLst>
              </p:cNvPr>
              <p:cNvSpPr/>
              <p:nvPr/>
            </p:nvSpPr>
            <p:spPr>
              <a:xfrm>
                <a:off x="2081955" y="1162894"/>
                <a:ext cx="584394" cy="590924"/>
              </a:xfrm>
              <a:custGeom>
                <a:avLst/>
                <a:gdLst>
                  <a:gd name="T0" fmla="*/ 160 w 224"/>
                  <a:gd name="T1" fmla="*/ 0 h 224"/>
                  <a:gd name="T2" fmla="*/ 160 w 224"/>
                  <a:gd name="T3" fmla="*/ 48 h 224"/>
                  <a:gd name="T4" fmla="*/ 224 w 224"/>
                  <a:gd name="T5" fmla="*/ 48 h 224"/>
                  <a:gd name="T6" fmla="*/ 224 w 224"/>
                  <a:gd name="T7" fmla="*/ 176 h 224"/>
                  <a:gd name="T8" fmla="*/ 160 w 224"/>
                  <a:gd name="T9" fmla="*/ 176 h 224"/>
                  <a:gd name="T10" fmla="*/ 160 w 224"/>
                  <a:gd name="T11" fmla="*/ 224 h 224"/>
                  <a:gd name="T12" fmla="*/ 64 w 224"/>
                  <a:gd name="T13" fmla="*/ 224 h 224"/>
                  <a:gd name="T14" fmla="*/ 64 w 224"/>
                  <a:gd name="T15" fmla="*/ 176 h 224"/>
                  <a:gd name="T16" fmla="*/ 0 w 224"/>
                  <a:gd name="T17" fmla="*/ 176 h 224"/>
                  <a:gd name="T18" fmla="*/ 0 w 224"/>
                  <a:gd name="T19" fmla="*/ 76 h 224"/>
                  <a:gd name="T20" fmla="*/ 26 w 224"/>
                  <a:gd name="T21" fmla="*/ 48 h 224"/>
                  <a:gd name="T22" fmla="*/ 64 w 224"/>
                  <a:gd name="T23" fmla="*/ 48 h 224"/>
                  <a:gd name="T24" fmla="*/ 64 w 224"/>
                  <a:gd name="T25" fmla="*/ 0 h 224"/>
                  <a:gd name="T26" fmla="*/ 160 w 224"/>
                  <a:gd name="T27" fmla="*/ 0 h 224"/>
                  <a:gd name="T28" fmla="*/ 152 w 224"/>
                  <a:gd name="T29" fmla="*/ 120 h 224"/>
                  <a:gd name="T30" fmla="*/ 72 w 224"/>
                  <a:gd name="T31" fmla="*/ 120 h 224"/>
                  <a:gd name="T32" fmla="*/ 72 w 224"/>
                  <a:gd name="T33" fmla="*/ 216 h 224"/>
                  <a:gd name="T34" fmla="*/ 152 w 224"/>
                  <a:gd name="T35" fmla="*/ 216 h 224"/>
                  <a:gd name="T36" fmla="*/ 152 w 224"/>
                  <a:gd name="T37" fmla="*/ 120 h 224"/>
                  <a:gd name="T38" fmla="*/ 216 w 224"/>
                  <a:gd name="T39" fmla="*/ 56 h 224"/>
                  <a:gd name="T40" fmla="*/ 30 w 224"/>
                  <a:gd name="T41" fmla="*/ 56 h 224"/>
                  <a:gd name="T42" fmla="*/ 8 w 224"/>
                  <a:gd name="T43" fmla="*/ 80 h 224"/>
                  <a:gd name="T44" fmla="*/ 8 w 224"/>
                  <a:gd name="T45" fmla="*/ 168 h 224"/>
                  <a:gd name="T46" fmla="*/ 64 w 224"/>
                  <a:gd name="T47" fmla="*/ 168 h 224"/>
                  <a:gd name="T48" fmla="*/ 64 w 224"/>
                  <a:gd name="T49" fmla="*/ 112 h 224"/>
                  <a:gd name="T50" fmla="*/ 160 w 224"/>
                  <a:gd name="T51" fmla="*/ 112 h 224"/>
                  <a:gd name="T52" fmla="*/ 160 w 224"/>
                  <a:gd name="T53" fmla="*/ 168 h 224"/>
                  <a:gd name="T54" fmla="*/ 216 w 224"/>
                  <a:gd name="T55" fmla="*/ 168 h 224"/>
                  <a:gd name="T56" fmla="*/ 216 w 224"/>
                  <a:gd name="T57" fmla="*/ 56 h 224"/>
                  <a:gd name="T58" fmla="*/ 194 w 224"/>
                  <a:gd name="T59" fmla="*/ 72 h 224"/>
                  <a:gd name="T60" fmla="*/ 200 w 224"/>
                  <a:gd name="T61" fmla="*/ 78 h 224"/>
                  <a:gd name="T62" fmla="*/ 194 w 224"/>
                  <a:gd name="T63" fmla="*/ 84 h 224"/>
                  <a:gd name="T64" fmla="*/ 188 w 224"/>
                  <a:gd name="T65" fmla="*/ 78 h 224"/>
                  <a:gd name="T66" fmla="*/ 194 w 224"/>
                  <a:gd name="T67" fmla="*/ 72 h 224"/>
                  <a:gd name="T68" fmla="*/ 152 w 224"/>
                  <a:gd name="T69" fmla="*/ 8 h 224"/>
                  <a:gd name="T70" fmla="*/ 72 w 224"/>
                  <a:gd name="T71" fmla="*/ 8 h 224"/>
                  <a:gd name="T72" fmla="*/ 72 w 224"/>
                  <a:gd name="T73" fmla="*/ 48 h 224"/>
                  <a:gd name="T74" fmla="*/ 152 w 224"/>
                  <a:gd name="T75" fmla="*/ 48 h 224"/>
                  <a:gd name="T76" fmla="*/ 152 w 224"/>
                  <a:gd name="T77" fmla="*/ 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24" h="224">
                    <a:moveTo>
                      <a:pt x="160" y="0"/>
                    </a:moveTo>
                    <a:cubicBezTo>
                      <a:pt x="160" y="48"/>
                      <a:pt x="160" y="48"/>
                      <a:pt x="160" y="48"/>
                    </a:cubicBezTo>
                    <a:cubicBezTo>
                      <a:pt x="224" y="48"/>
                      <a:pt x="224" y="48"/>
                      <a:pt x="224" y="48"/>
                    </a:cubicBezTo>
                    <a:cubicBezTo>
                      <a:pt x="224" y="176"/>
                      <a:pt x="224" y="176"/>
                      <a:pt x="224" y="176"/>
                    </a:cubicBezTo>
                    <a:cubicBezTo>
                      <a:pt x="160" y="176"/>
                      <a:pt x="160" y="176"/>
                      <a:pt x="160" y="176"/>
                    </a:cubicBezTo>
                    <a:cubicBezTo>
                      <a:pt x="160" y="224"/>
                      <a:pt x="160" y="224"/>
                      <a:pt x="160" y="224"/>
                    </a:cubicBezTo>
                    <a:cubicBezTo>
                      <a:pt x="64" y="224"/>
                      <a:pt x="64" y="224"/>
                      <a:pt x="64" y="224"/>
                    </a:cubicBezTo>
                    <a:cubicBezTo>
                      <a:pt x="64" y="176"/>
                      <a:pt x="64" y="176"/>
                      <a:pt x="64" y="176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64" y="48"/>
                      <a:pt x="64" y="48"/>
                      <a:pt x="64" y="48"/>
                    </a:cubicBezTo>
                    <a:cubicBezTo>
                      <a:pt x="64" y="0"/>
                      <a:pt x="64" y="0"/>
                      <a:pt x="64" y="0"/>
                    </a:cubicBezTo>
                    <a:lnTo>
                      <a:pt x="160" y="0"/>
                    </a:lnTo>
                    <a:close/>
                    <a:moveTo>
                      <a:pt x="152" y="120"/>
                    </a:moveTo>
                    <a:cubicBezTo>
                      <a:pt x="72" y="120"/>
                      <a:pt x="72" y="120"/>
                      <a:pt x="72" y="120"/>
                    </a:cubicBezTo>
                    <a:cubicBezTo>
                      <a:pt x="72" y="216"/>
                      <a:pt x="72" y="216"/>
                      <a:pt x="72" y="216"/>
                    </a:cubicBezTo>
                    <a:cubicBezTo>
                      <a:pt x="152" y="216"/>
                      <a:pt x="152" y="216"/>
                      <a:pt x="152" y="216"/>
                    </a:cubicBezTo>
                    <a:lnTo>
                      <a:pt x="152" y="120"/>
                    </a:lnTo>
                    <a:close/>
                    <a:moveTo>
                      <a:pt x="216" y="56"/>
                    </a:moveTo>
                    <a:cubicBezTo>
                      <a:pt x="30" y="56"/>
                      <a:pt x="30" y="56"/>
                      <a:pt x="30" y="56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8" y="168"/>
                      <a:pt x="8" y="168"/>
                      <a:pt x="8" y="168"/>
                    </a:cubicBezTo>
                    <a:cubicBezTo>
                      <a:pt x="64" y="168"/>
                      <a:pt x="64" y="168"/>
                      <a:pt x="64" y="168"/>
                    </a:cubicBezTo>
                    <a:cubicBezTo>
                      <a:pt x="64" y="112"/>
                      <a:pt x="64" y="112"/>
                      <a:pt x="64" y="112"/>
                    </a:cubicBezTo>
                    <a:cubicBezTo>
                      <a:pt x="160" y="112"/>
                      <a:pt x="160" y="112"/>
                      <a:pt x="160" y="112"/>
                    </a:cubicBezTo>
                    <a:cubicBezTo>
                      <a:pt x="160" y="168"/>
                      <a:pt x="160" y="168"/>
                      <a:pt x="160" y="168"/>
                    </a:cubicBezTo>
                    <a:cubicBezTo>
                      <a:pt x="216" y="168"/>
                      <a:pt x="216" y="168"/>
                      <a:pt x="216" y="168"/>
                    </a:cubicBezTo>
                    <a:lnTo>
                      <a:pt x="216" y="56"/>
                    </a:lnTo>
                    <a:close/>
                    <a:moveTo>
                      <a:pt x="194" y="72"/>
                    </a:moveTo>
                    <a:cubicBezTo>
                      <a:pt x="197" y="72"/>
                      <a:pt x="200" y="75"/>
                      <a:pt x="200" y="78"/>
                    </a:cubicBezTo>
                    <a:cubicBezTo>
                      <a:pt x="200" y="81"/>
                      <a:pt x="197" y="84"/>
                      <a:pt x="194" y="84"/>
                    </a:cubicBezTo>
                    <a:cubicBezTo>
                      <a:pt x="191" y="84"/>
                      <a:pt x="188" y="81"/>
                      <a:pt x="188" y="78"/>
                    </a:cubicBezTo>
                    <a:cubicBezTo>
                      <a:pt x="188" y="75"/>
                      <a:pt x="191" y="72"/>
                      <a:pt x="194" y="72"/>
                    </a:cubicBezTo>
                    <a:close/>
                    <a:moveTo>
                      <a:pt x="152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48"/>
                      <a:pt x="72" y="48"/>
                      <a:pt x="72" y="48"/>
                    </a:cubicBezTo>
                    <a:cubicBezTo>
                      <a:pt x="152" y="48"/>
                      <a:pt x="152" y="48"/>
                      <a:pt x="152" y="48"/>
                    </a:cubicBezTo>
                    <a:lnTo>
                      <a:pt x="152" y="8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4" name="îṣlïdé">
              <a:extLst>
                <a:ext uri="{FF2B5EF4-FFF2-40B4-BE49-F238E27FC236}">
                  <a16:creationId xmlns:a16="http://schemas.microsoft.com/office/drawing/2014/main" id="{46D37DCF-F792-49EF-98FC-8BE6277D410A}"/>
                </a:ext>
              </a:extLst>
            </p:cNvPr>
            <p:cNvGrpSpPr/>
            <p:nvPr/>
          </p:nvGrpSpPr>
          <p:grpSpPr>
            <a:xfrm>
              <a:off x="0" y="5277987"/>
              <a:ext cx="12192000" cy="1580013"/>
              <a:chOff x="0" y="2725286"/>
              <a:chExt cx="12192000" cy="1580013"/>
            </a:xfrm>
          </p:grpSpPr>
          <p:sp>
            <p:nvSpPr>
              <p:cNvPr id="168" name="ïSlídê">
                <a:extLst>
                  <a:ext uri="{FF2B5EF4-FFF2-40B4-BE49-F238E27FC236}">
                    <a16:creationId xmlns:a16="http://schemas.microsoft.com/office/drawing/2014/main" id="{DA3291BE-69EE-4216-9E48-4E67F32AD011}"/>
                  </a:ext>
                </a:extLst>
              </p:cNvPr>
              <p:cNvSpPr/>
              <p:nvPr/>
            </p:nvSpPr>
            <p:spPr bwMode="auto">
              <a:xfrm>
                <a:off x="574248" y="3091492"/>
                <a:ext cx="409052" cy="1001972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7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69" name="ïśḷíḓê">
                <a:extLst>
                  <a:ext uri="{FF2B5EF4-FFF2-40B4-BE49-F238E27FC236}">
                    <a16:creationId xmlns:a16="http://schemas.microsoft.com/office/drawing/2014/main" id="{FEAB8B94-B122-45F8-94C4-5717BAD32DAC}"/>
                  </a:ext>
                </a:extLst>
              </p:cNvPr>
              <p:cNvSpPr/>
              <p:nvPr/>
            </p:nvSpPr>
            <p:spPr bwMode="auto">
              <a:xfrm>
                <a:off x="4900763" y="3203862"/>
                <a:ext cx="1038364" cy="889600"/>
              </a:xfrm>
              <a:custGeom>
                <a:avLst/>
                <a:gdLst>
                  <a:gd name="T0" fmla="*/ 124 w 266"/>
                  <a:gd name="T1" fmla="*/ 0 h 476"/>
                  <a:gd name="T2" fmla="*/ 203 w 266"/>
                  <a:gd name="T3" fmla="*/ 0 h 476"/>
                  <a:gd name="T4" fmla="*/ 203 w 266"/>
                  <a:gd name="T5" fmla="*/ 5 h 476"/>
                  <a:gd name="T6" fmla="*/ 209 w 266"/>
                  <a:gd name="T7" fmla="*/ 5 h 476"/>
                  <a:gd name="T8" fmla="*/ 209 w 266"/>
                  <a:gd name="T9" fmla="*/ 9 h 476"/>
                  <a:gd name="T10" fmla="*/ 214 w 266"/>
                  <a:gd name="T11" fmla="*/ 9 h 476"/>
                  <a:gd name="T12" fmla="*/ 214 w 266"/>
                  <a:gd name="T13" fmla="*/ 17 h 476"/>
                  <a:gd name="T14" fmla="*/ 222 w 266"/>
                  <a:gd name="T15" fmla="*/ 17 h 476"/>
                  <a:gd name="T16" fmla="*/ 222 w 266"/>
                  <a:gd name="T17" fmla="*/ 430 h 476"/>
                  <a:gd name="T18" fmla="*/ 230 w 266"/>
                  <a:gd name="T19" fmla="*/ 430 h 476"/>
                  <a:gd name="T20" fmla="*/ 230 w 266"/>
                  <a:gd name="T21" fmla="*/ 453 h 476"/>
                  <a:gd name="T22" fmla="*/ 230 w 266"/>
                  <a:gd name="T23" fmla="*/ 462 h 476"/>
                  <a:gd name="T24" fmla="*/ 266 w 266"/>
                  <a:gd name="T25" fmla="*/ 462 h 476"/>
                  <a:gd name="T26" fmla="*/ 266 w 266"/>
                  <a:gd name="T27" fmla="*/ 476 h 476"/>
                  <a:gd name="T28" fmla="*/ 230 w 266"/>
                  <a:gd name="T29" fmla="*/ 476 h 476"/>
                  <a:gd name="T30" fmla="*/ 222 w 266"/>
                  <a:gd name="T31" fmla="*/ 476 h 476"/>
                  <a:gd name="T32" fmla="*/ 199 w 266"/>
                  <a:gd name="T33" fmla="*/ 476 h 476"/>
                  <a:gd name="T34" fmla="*/ 124 w 266"/>
                  <a:gd name="T35" fmla="*/ 476 h 476"/>
                  <a:gd name="T36" fmla="*/ 48 w 266"/>
                  <a:gd name="T37" fmla="*/ 476 h 476"/>
                  <a:gd name="T38" fmla="*/ 0 w 266"/>
                  <a:gd name="T39" fmla="*/ 476 h 476"/>
                  <a:gd name="T40" fmla="*/ 0 w 266"/>
                  <a:gd name="T41" fmla="*/ 453 h 476"/>
                  <a:gd name="T42" fmla="*/ 0 w 266"/>
                  <a:gd name="T43" fmla="*/ 411 h 476"/>
                  <a:gd name="T44" fmla="*/ 10 w 266"/>
                  <a:gd name="T45" fmla="*/ 411 h 476"/>
                  <a:gd name="T46" fmla="*/ 10 w 266"/>
                  <a:gd name="T47" fmla="*/ 166 h 476"/>
                  <a:gd name="T48" fmla="*/ 17 w 266"/>
                  <a:gd name="T49" fmla="*/ 166 h 476"/>
                  <a:gd name="T50" fmla="*/ 17 w 266"/>
                  <a:gd name="T51" fmla="*/ 155 h 476"/>
                  <a:gd name="T52" fmla="*/ 23 w 266"/>
                  <a:gd name="T53" fmla="*/ 155 h 476"/>
                  <a:gd name="T54" fmla="*/ 23 w 266"/>
                  <a:gd name="T55" fmla="*/ 143 h 476"/>
                  <a:gd name="T56" fmla="*/ 25 w 266"/>
                  <a:gd name="T57" fmla="*/ 143 h 476"/>
                  <a:gd name="T58" fmla="*/ 44 w 266"/>
                  <a:gd name="T59" fmla="*/ 111 h 476"/>
                  <a:gd name="T60" fmla="*/ 46 w 266"/>
                  <a:gd name="T61" fmla="*/ 111 h 476"/>
                  <a:gd name="T62" fmla="*/ 48 w 266"/>
                  <a:gd name="T63" fmla="*/ 111 h 476"/>
                  <a:gd name="T64" fmla="*/ 48 w 266"/>
                  <a:gd name="T65" fmla="*/ 76 h 476"/>
                  <a:gd name="T66" fmla="*/ 50 w 266"/>
                  <a:gd name="T67" fmla="*/ 76 h 476"/>
                  <a:gd name="T68" fmla="*/ 50 w 266"/>
                  <a:gd name="T69" fmla="*/ 113 h 476"/>
                  <a:gd name="T70" fmla="*/ 69 w 266"/>
                  <a:gd name="T71" fmla="*/ 143 h 476"/>
                  <a:gd name="T72" fmla="*/ 71 w 266"/>
                  <a:gd name="T73" fmla="*/ 143 h 476"/>
                  <a:gd name="T74" fmla="*/ 71 w 266"/>
                  <a:gd name="T75" fmla="*/ 155 h 476"/>
                  <a:gd name="T76" fmla="*/ 75 w 266"/>
                  <a:gd name="T77" fmla="*/ 155 h 476"/>
                  <a:gd name="T78" fmla="*/ 75 w 266"/>
                  <a:gd name="T79" fmla="*/ 166 h 476"/>
                  <a:gd name="T80" fmla="*/ 82 w 266"/>
                  <a:gd name="T81" fmla="*/ 166 h 476"/>
                  <a:gd name="T82" fmla="*/ 82 w 266"/>
                  <a:gd name="T83" fmla="*/ 453 h 476"/>
                  <a:gd name="T84" fmla="*/ 124 w 266"/>
                  <a:gd name="T85" fmla="*/ 453 h 476"/>
                  <a:gd name="T86" fmla="*/ 124 w 266"/>
                  <a:gd name="T87" fmla="*/ 23 h 476"/>
                  <a:gd name="T88" fmla="*/ 124 w 266"/>
                  <a:gd name="T89" fmla="*/ 17 h 476"/>
                  <a:gd name="T90" fmla="*/ 124 w 266"/>
                  <a:gd name="T91" fmla="*/ 17 h 476"/>
                  <a:gd name="T92" fmla="*/ 124 w 266"/>
                  <a:gd name="T93" fmla="*/ 11 h 476"/>
                  <a:gd name="T94" fmla="*/ 124 w 266"/>
                  <a:gd name="T95" fmla="*/ 9 h 476"/>
                  <a:gd name="T96" fmla="*/ 124 w 266"/>
                  <a:gd name="T97" fmla="*/ 5 h 476"/>
                  <a:gd name="T98" fmla="*/ 124 w 266"/>
                  <a:gd name="T99" fmla="*/ 0 h 476"/>
                  <a:gd name="T100" fmla="*/ 124 w 266"/>
                  <a:gd name="T101" fmla="*/ 0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476">
                    <a:moveTo>
                      <a:pt x="124" y="0"/>
                    </a:moveTo>
                    <a:lnTo>
                      <a:pt x="203" y="0"/>
                    </a:lnTo>
                    <a:lnTo>
                      <a:pt x="203" y="5"/>
                    </a:lnTo>
                    <a:lnTo>
                      <a:pt x="209" y="5"/>
                    </a:lnTo>
                    <a:lnTo>
                      <a:pt x="209" y="9"/>
                    </a:lnTo>
                    <a:lnTo>
                      <a:pt x="214" y="9"/>
                    </a:lnTo>
                    <a:lnTo>
                      <a:pt x="214" y="17"/>
                    </a:lnTo>
                    <a:lnTo>
                      <a:pt x="222" y="17"/>
                    </a:lnTo>
                    <a:lnTo>
                      <a:pt x="222" y="430"/>
                    </a:lnTo>
                    <a:lnTo>
                      <a:pt x="230" y="430"/>
                    </a:lnTo>
                    <a:lnTo>
                      <a:pt x="230" y="453"/>
                    </a:lnTo>
                    <a:lnTo>
                      <a:pt x="230" y="462"/>
                    </a:lnTo>
                    <a:lnTo>
                      <a:pt x="266" y="462"/>
                    </a:lnTo>
                    <a:lnTo>
                      <a:pt x="266" y="476"/>
                    </a:lnTo>
                    <a:lnTo>
                      <a:pt x="230" y="476"/>
                    </a:lnTo>
                    <a:lnTo>
                      <a:pt x="222" y="476"/>
                    </a:lnTo>
                    <a:lnTo>
                      <a:pt x="199" y="476"/>
                    </a:lnTo>
                    <a:lnTo>
                      <a:pt x="124" y="476"/>
                    </a:lnTo>
                    <a:lnTo>
                      <a:pt x="48" y="476"/>
                    </a:lnTo>
                    <a:lnTo>
                      <a:pt x="0" y="476"/>
                    </a:lnTo>
                    <a:lnTo>
                      <a:pt x="0" y="453"/>
                    </a:lnTo>
                    <a:lnTo>
                      <a:pt x="0" y="411"/>
                    </a:lnTo>
                    <a:lnTo>
                      <a:pt x="10" y="411"/>
                    </a:lnTo>
                    <a:lnTo>
                      <a:pt x="10" y="166"/>
                    </a:lnTo>
                    <a:lnTo>
                      <a:pt x="17" y="166"/>
                    </a:lnTo>
                    <a:lnTo>
                      <a:pt x="17" y="155"/>
                    </a:lnTo>
                    <a:lnTo>
                      <a:pt x="23" y="155"/>
                    </a:lnTo>
                    <a:lnTo>
                      <a:pt x="23" y="143"/>
                    </a:lnTo>
                    <a:lnTo>
                      <a:pt x="25" y="143"/>
                    </a:lnTo>
                    <a:lnTo>
                      <a:pt x="44" y="111"/>
                    </a:lnTo>
                    <a:lnTo>
                      <a:pt x="46" y="111"/>
                    </a:lnTo>
                    <a:lnTo>
                      <a:pt x="48" y="111"/>
                    </a:lnTo>
                    <a:lnTo>
                      <a:pt x="48" y="76"/>
                    </a:lnTo>
                    <a:lnTo>
                      <a:pt x="50" y="76"/>
                    </a:lnTo>
                    <a:lnTo>
                      <a:pt x="50" y="113"/>
                    </a:lnTo>
                    <a:lnTo>
                      <a:pt x="69" y="143"/>
                    </a:lnTo>
                    <a:lnTo>
                      <a:pt x="71" y="143"/>
                    </a:lnTo>
                    <a:lnTo>
                      <a:pt x="71" y="155"/>
                    </a:lnTo>
                    <a:lnTo>
                      <a:pt x="75" y="155"/>
                    </a:lnTo>
                    <a:lnTo>
                      <a:pt x="75" y="166"/>
                    </a:lnTo>
                    <a:lnTo>
                      <a:pt x="82" y="166"/>
                    </a:lnTo>
                    <a:lnTo>
                      <a:pt x="82" y="453"/>
                    </a:lnTo>
                    <a:lnTo>
                      <a:pt x="124" y="453"/>
                    </a:lnTo>
                    <a:lnTo>
                      <a:pt x="124" y="23"/>
                    </a:lnTo>
                    <a:lnTo>
                      <a:pt x="124" y="17"/>
                    </a:lnTo>
                    <a:lnTo>
                      <a:pt x="124" y="17"/>
                    </a:lnTo>
                    <a:lnTo>
                      <a:pt x="124" y="11"/>
                    </a:lnTo>
                    <a:lnTo>
                      <a:pt x="124" y="9"/>
                    </a:lnTo>
                    <a:lnTo>
                      <a:pt x="124" y="5"/>
                    </a:lnTo>
                    <a:lnTo>
                      <a:pt x="124" y="0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7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0" name="íṥlïdè">
                <a:extLst>
                  <a:ext uri="{FF2B5EF4-FFF2-40B4-BE49-F238E27FC236}">
                    <a16:creationId xmlns:a16="http://schemas.microsoft.com/office/drawing/2014/main" id="{30AC196A-11D1-435F-9741-83DA5920D73E}"/>
                  </a:ext>
                </a:extLst>
              </p:cNvPr>
              <p:cNvSpPr/>
              <p:nvPr/>
            </p:nvSpPr>
            <p:spPr bwMode="auto">
              <a:xfrm>
                <a:off x="11272406" y="2725286"/>
                <a:ext cx="794503" cy="1368174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7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1" name="ïśļiḓé">
                <a:extLst>
                  <a:ext uri="{FF2B5EF4-FFF2-40B4-BE49-F238E27FC236}">
                    <a16:creationId xmlns:a16="http://schemas.microsoft.com/office/drawing/2014/main" id="{936A9049-7203-40F4-9DFA-28A800DF0482}"/>
                  </a:ext>
                </a:extLst>
              </p:cNvPr>
              <p:cNvSpPr/>
              <p:nvPr/>
            </p:nvSpPr>
            <p:spPr bwMode="auto">
              <a:xfrm>
                <a:off x="1030500" y="2908390"/>
                <a:ext cx="5813258" cy="1200330"/>
              </a:xfrm>
              <a:custGeom>
                <a:avLst/>
                <a:gdLst>
                  <a:gd name="T0" fmla="*/ 1027 w 1478"/>
                  <a:gd name="T1" fmla="*/ 471 h 473"/>
                  <a:gd name="T2" fmla="*/ 972 w 1478"/>
                  <a:gd name="T3" fmla="*/ 473 h 473"/>
                  <a:gd name="T4" fmla="*/ 970 w 1478"/>
                  <a:gd name="T5" fmla="*/ 473 h 473"/>
                  <a:gd name="T6" fmla="*/ 995 w 1478"/>
                  <a:gd name="T7" fmla="*/ 117 h 473"/>
                  <a:gd name="T8" fmla="*/ 996 w 1478"/>
                  <a:gd name="T9" fmla="*/ 105 h 473"/>
                  <a:gd name="T10" fmla="*/ 1006 w 1478"/>
                  <a:gd name="T11" fmla="*/ 117 h 473"/>
                  <a:gd name="T12" fmla="*/ 1010 w 1478"/>
                  <a:gd name="T13" fmla="*/ 471 h 473"/>
                  <a:gd name="T14" fmla="*/ 1461 w 1478"/>
                  <a:gd name="T15" fmla="*/ 105 h 473"/>
                  <a:gd name="T16" fmla="*/ 1465 w 1478"/>
                  <a:gd name="T17" fmla="*/ 105 h 473"/>
                  <a:gd name="T18" fmla="*/ 1475 w 1478"/>
                  <a:gd name="T19" fmla="*/ 155 h 473"/>
                  <a:gd name="T20" fmla="*/ 1478 w 1478"/>
                  <a:gd name="T21" fmla="*/ 473 h 473"/>
                  <a:gd name="T22" fmla="*/ 1465 w 1478"/>
                  <a:gd name="T23" fmla="*/ 473 h 473"/>
                  <a:gd name="T24" fmla="*/ 1423 w 1478"/>
                  <a:gd name="T25" fmla="*/ 473 h 473"/>
                  <a:gd name="T26" fmla="*/ 1415 w 1478"/>
                  <a:gd name="T27" fmla="*/ 207 h 473"/>
                  <a:gd name="T28" fmla="*/ 1423 w 1478"/>
                  <a:gd name="T29" fmla="*/ 155 h 473"/>
                  <a:gd name="T30" fmla="*/ 1427 w 1478"/>
                  <a:gd name="T31" fmla="*/ 105 h 473"/>
                  <a:gd name="T32" fmla="*/ 1442 w 1478"/>
                  <a:gd name="T33" fmla="*/ 23 h 473"/>
                  <a:gd name="T34" fmla="*/ 1461 w 1478"/>
                  <a:gd name="T35" fmla="*/ 105 h 473"/>
                  <a:gd name="T36" fmla="*/ 1285 w 1478"/>
                  <a:gd name="T37" fmla="*/ 190 h 473"/>
                  <a:gd name="T38" fmla="*/ 1335 w 1478"/>
                  <a:gd name="T39" fmla="*/ 473 h 473"/>
                  <a:gd name="T40" fmla="*/ 1285 w 1478"/>
                  <a:gd name="T41" fmla="*/ 190 h 473"/>
                  <a:gd name="T42" fmla="*/ 1176 w 1478"/>
                  <a:gd name="T43" fmla="*/ 243 h 473"/>
                  <a:gd name="T44" fmla="*/ 1216 w 1478"/>
                  <a:gd name="T45" fmla="*/ 473 h 473"/>
                  <a:gd name="T46" fmla="*/ 1176 w 1478"/>
                  <a:gd name="T47" fmla="*/ 243 h 473"/>
                  <a:gd name="T48" fmla="*/ 1083 w 1478"/>
                  <a:gd name="T49" fmla="*/ 167 h 473"/>
                  <a:gd name="T50" fmla="*/ 1125 w 1478"/>
                  <a:gd name="T51" fmla="*/ 473 h 473"/>
                  <a:gd name="T52" fmla="*/ 1083 w 1478"/>
                  <a:gd name="T53" fmla="*/ 167 h 473"/>
                  <a:gd name="T54" fmla="*/ 849 w 1478"/>
                  <a:gd name="T55" fmla="*/ 295 h 473"/>
                  <a:gd name="T56" fmla="*/ 884 w 1478"/>
                  <a:gd name="T57" fmla="*/ 473 h 473"/>
                  <a:gd name="T58" fmla="*/ 849 w 1478"/>
                  <a:gd name="T59" fmla="*/ 295 h 473"/>
                  <a:gd name="T60" fmla="*/ 631 w 1478"/>
                  <a:gd name="T61" fmla="*/ 373 h 473"/>
                  <a:gd name="T62" fmla="*/ 643 w 1478"/>
                  <a:gd name="T63" fmla="*/ 318 h 473"/>
                  <a:gd name="T64" fmla="*/ 667 w 1478"/>
                  <a:gd name="T65" fmla="*/ 306 h 473"/>
                  <a:gd name="T66" fmla="*/ 702 w 1478"/>
                  <a:gd name="T67" fmla="*/ 234 h 473"/>
                  <a:gd name="T68" fmla="*/ 723 w 1478"/>
                  <a:gd name="T69" fmla="*/ 306 h 473"/>
                  <a:gd name="T70" fmla="*/ 702 w 1478"/>
                  <a:gd name="T71" fmla="*/ 473 h 473"/>
                  <a:gd name="T72" fmla="*/ 687 w 1478"/>
                  <a:gd name="T73" fmla="*/ 473 h 473"/>
                  <a:gd name="T74" fmla="*/ 643 w 1478"/>
                  <a:gd name="T75" fmla="*/ 473 h 473"/>
                  <a:gd name="T76" fmla="*/ 631 w 1478"/>
                  <a:gd name="T77" fmla="*/ 373 h 473"/>
                  <a:gd name="T78" fmla="*/ 581 w 1478"/>
                  <a:gd name="T79" fmla="*/ 255 h 473"/>
                  <a:gd name="T80" fmla="*/ 623 w 1478"/>
                  <a:gd name="T81" fmla="*/ 473 h 473"/>
                  <a:gd name="T82" fmla="*/ 581 w 1478"/>
                  <a:gd name="T83" fmla="*/ 255 h 473"/>
                  <a:gd name="T84" fmla="*/ 532 w 1478"/>
                  <a:gd name="T85" fmla="*/ 314 h 473"/>
                  <a:gd name="T86" fmla="*/ 557 w 1478"/>
                  <a:gd name="T87" fmla="*/ 356 h 473"/>
                  <a:gd name="T88" fmla="*/ 532 w 1478"/>
                  <a:gd name="T89" fmla="*/ 473 h 473"/>
                  <a:gd name="T90" fmla="*/ 455 w 1478"/>
                  <a:gd name="T91" fmla="*/ 473 h 473"/>
                  <a:gd name="T92" fmla="*/ 455 w 1478"/>
                  <a:gd name="T93" fmla="*/ 302 h 473"/>
                  <a:gd name="T94" fmla="*/ 488 w 1478"/>
                  <a:gd name="T95" fmla="*/ 356 h 473"/>
                  <a:gd name="T96" fmla="*/ 532 w 1478"/>
                  <a:gd name="T97" fmla="*/ 314 h 473"/>
                  <a:gd name="T98" fmla="*/ 360 w 1478"/>
                  <a:gd name="T99" fmla="*/ 293 h 473"/>
                  <a:gd name="T100" fmla="*/ 426 w 1478"/>
                  <a:gd name="T101" fmla="*/ 473 h 473"/>
                  <a:gd name="T102" fmla="*/ 360 w 1478"/>
                  <a:gd name="T103" fmla="*/ 293 h 473"/>
                  <a:gd name="T104" fmla="*/ 287 w 1478"/>
                  <a:gd name="T105" fmla="*/ 209 h 473"/>
                  <a:gd name="T106" fmla="*/ 350 w 1478"/>
                  <a:gd name="T107" fmla="*/ 473 h 473"/>
                  <a:gd name="T108" fmla="*/ 287 w 1478"/>
                  <a:gd name="T109" fmla="*/ 209 h 473"/>
                  <a:gd name="T110" fmla="*/ 195 w 1478"/>
                  <a:gd name="T111" fmla="*/ 184 h 473"/>
                  <a:gd name="T112" fmla="*/ 241 w 1478"/>
                  <a:gd name="T113" fmla="*/ 473 h 473"/>
                  <a:gd name="T114" fmla="*/ 195 w 1478"/>
                  <a:gd name="T115" fmla="*/ 184 h 473"/>
                  <a:gd name="T116" fmla="*/ 31 w 1478"/>
                  <a:gd name="T117" fmla="*/ 264 h 473"/>
                  <a:gd name="T118" fmla="*/ 92 w 1478"/>
                  <a:gd name="T119" fmla="*/ 473 h 473"/>
                  <a:gd name="T120" fmla="*/ 31 w 1478"/>
                  <a:gd name="T121" fmla="*/ 473 h 473"/>
                  <a:gd name="T122" fmla="*/ 0 w 1478"/>
                  <a:gd name="T123" fmla="*/ 331 h 473"/>
                  <a:gd name="T124" fmla="*/ 31 w 1478"/>
                  <a:gd name="T125" fmla="*/ 264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78" h="473">
                    <a:moveTo>
                      <a:pt x="1010" y="471"/>
                    </a:moveTo>
                    <a:lnTo>
                      <a:pt x="1027" y="471"/>
                    </a:lnTo>
                    <a:lnTo>
                      <a:pt x="1027" y="473"/>
                    </a:lnTo>
                    <a:lnTo>
                      <a:pt x="972" y="473"/>
                    </a:lnTo>
                    <a:lnTo>
                      <a:pt x="972" y="473"/>
                    </a:lnTo>
                    <a:lnTo>
                      <a:pt x="970" y="473"/>
                    </a:lnTo>
                    <a:lnTo>
                      <a:pt x="970" y="117"/>
                    </a:lnTo>
                    <a:lnTo>
                      <a:pt x="995" y="117"/>
                    </a:lnTo>
                    <a:lnTo>
                      <a:pt x="996" y="75"/>
                    </a:lnTo>
                    <a:lnTo>
                      <a:pt x="996" y="105"/>
                    </a:lnTo>
                    <a:lnTo>
                      <a:pt x="1002" y="105"/>
                    </a:lnTo>
                    <a:lnTo>
                      <a:pt x="1006" y="117"/>
                    </a:lnTo>
                    <a:lnTo>
                      <a:pt x="1010" y="117"/>
                    </a:lnTo>
                    <a:lnTo>
                      <a:pt x="1010" y="471"/>
                    </a:lnTo>
                    <a:lnTo>
                      <a:pt x="1010" y="471"/>
                    </a:lnTo>
                    <a:close/>
                    <a:moveTo>
                      <a:pt x="1461" y="105"/>
                    </a:moveTo>
                    <a:lnTo>
                      <a:pt x="1463" y="0"/>
                    </a:lnTo>
                    <a:lnTo>
                      <a:pt x="1465" y="105"/>
                    </a:lnTo>
                    <a:lnTo>
                      <a:pt x="1475" y="105"/>
                    </a:lnTo>
                    <a:lnTo>
                      <a:pt x="1475" y="155"/>
                    </a:lnTo>
                    <a:lnTo>
                      <a:pt x="1478" y="155"/>
                    </a:lnTo>
                    <a:lnTo>
                      <a:pt x="1478" y="473"/>
                    </a:lnTo>
                    <a:lnTo>
                      <a:pt x="1475" y="473"/>
                    </a:lnTo>
                    <a:lnTo>
                      <a:pt x="1465" y="473"/>
                    </a:lnTo>
                    <a:lnTo>
                      <a:pt x="1427" y="473"/>
                    </a:lnTo>
                    <a:lnTo>
                      <a:pt x="1423" y="473"/>
                    </a:lnTo>
                    <a:lnTo>
                      <a:pt x="1415" y="473"/>
                    </a:lnTo>
                    <a:lnTo>
                      <a:pt x="1415" y="207"/>
                    </a:lnTo>
                    <a:lnTo>
                      <a:pt x="1423" y="207"/>
                    </a:lnTo>
                    <a:lnTo>
                      <a:pt x="1423" y="155"/>
                    </a:lnTo>
                    <a:lnTo>
                      <a:pt x="1427" y="155"/>
                    </a:lnTo>
                    <a:lnTo>
                      <a:pt x="1427" y="105"/>
                    </a:lnTo>
                    <a:lnTo>
                      <a:pt x="1440" y="105"/>
                    </a:lnTo>
                    <a:lnTo>
                      <a:pt x="1442" y="23"/>
                    </a:lnTo>
                    <a:lnTo>
                      <a:pt x="1444" y="105"/>
                    </a:lnTo>
                    <a:lnTo>
                      <a:pt x="1461" y="105"/>
                    </a:lnTo>
                    <a:lnTo>
                      <a:pt x="1461" y="105"/>
                    </a:lnTo>
                    <a:close/>
                    <a:moveTo>
                      <a:pt x="1285" y="190"/>
                    </a:moveTo>
                    <a:lnTo>
                      <a:pt x="1335" y="190"/>
                    </a:lnTo>
                    <a:lnTo>
                      <a:pt x="1335" y="473"/>
                    </a:lnTo>
                    <a:lnTo>
                      <a:pt x="1285" y="473"/>
                    </a:lnTo>
                    <a:lnTo>
                      <a:pt x="1285" y="190"/>
                    </a:lnTo>
                    <a:lnTo>
                      <a:pt x="1285" y="190"/>
                    </a:lnTo>
                    <a:close/>
                    <a:moveTo>
                      <a:pt x="1176" y="243"/>
                    </a:moveTo>
                    <a:lnTo>
                      <a:pt x="1216" y="243"/>
                    </a:lnTo>
                    <a:lnTo>
                      <a:pt x="1216" y="473"/>
                    </a:lnTo>
                    <a:lnTo>
                      <a:pt x="1176" y="473"/>
                    </a:lnTo>
                    <a:lnTo>
                      <a:pt x="1176" y="243"/>
                    </a:lnTo>
                    <a:lnTo>
                      <a:pt x="1176" y="243"/>
                    </a:lnTo>
                    <a:close/>
                    <a:moveTo>
                      <a:pt x="1083" y="167"/>
                    </a:moveTo>
                    <a:lnTo>
                      <a:pt x="1125" y="167"/>
                    </a:lnTo>
                    <a:lnTo>
                      <a:pt x="1125" y="473"/>
                    </a:lnTo>
                    <a:lnTo>
                      <a:pt x="1083" y="473"/>
                    </a:lnTo>
                    <a:lnTo>
                      <a:pt x="1083" y="167"/>
                    </a:lnTo>
                    <a:lnTo>
                      <a:pt x="1083" y="167"/>
                    </a:lnTo>
                    <a:close/>
                    <a:moveTo>
                      <a:pt x="849" y="295"/>
                    </a:moveTo>
                    <a:lnTo>
                      <a:pt x="884" y="295"/>
                    </a:lnTo>
                    <a:lnTo>
                      <a:pt x="884" y="473"/>
                    </a:lnTo>
                    <a:lnTo>
                      <a:pt x="849" y="473"/>
                    </a:lnTo>
                    <a:lnTo>
                      <a:pt x="849" y="295"/>
                    </a:lnTo>
                    <a:lnTo>
                      <a:pt x="849" y="295"/>
                    </a:lnTo>
                    <a:close/>
                    <a:moveTo>
                      <a:pt x="631" y="373"/>
                    </a:moveTo>
                    <a:lnTo>
                      <a:pt x="643" y="373"/>
                    </a:lnTo>
                    <a:lnTo>
                      <a:pt x="643" y="318"/>
                    </a:lnTo>
                    <a:lnTo>
                      <a:pt x="667" y="318"/>
                    </a:lnTo>
                    <a:lnTo>
                      <a:pt x="667" y="306"/>
                    </a:lnTo>
                    <a:lnTo>
                      <a:pt x="667" y="234"/>
                    </a:lnTo>
                    <a:lnTo>
                      <a:pt x="702" y="234"/>
                    </a:lnTo>
                    <a:lnTo>
                      <a:pt x="702" y="306"/>
                    </a:lnTo>
                    <a:lnTo>
                      <a:pt x="723" y="306"/>
                    </a:lnTo>
                    <a:lnTo>
                      <a:pt x="723" y="473"/>
                    </a:lnTo>
                    <a:lnTo>
                      <a:pt x="702" y="473"/>
                    </a:lnTo>
                    <a:lnTo>
                      <a:pt x="698" y="473"/>
                    </a:lnTo>
                    <a:lnTo>
                      <a:pt x="687" y="473"/>
                    </a:lnTo>
                    <a:lnTo>
                      <a:pt x="667" y="473"/>
                    </a:lnTo>
                    <a:lnTo>
                      <a:pt x="643" y="473"/>
                    </a:lnTo>
                    <a:lnTo>
                      <a:pt x="631" y="473"/>
                    </a:lnTo>
                    <a:lnTo>
                      <a:pt x="631" y="373"/>
                    </a:lnTo>
                    <a:lnTo>
                      <a:pt x="631" y="373"/>
                    </a:lnTo>
                    <a:close/>
                    <a:moveTo>
                      <a:pt x="581" y="255"/>
                    </a:moveTo>
                    <a:lnTo>
                      <a:pt x="623" y="255"/>
                    </a:lnTo>
                    <a:lnTo>
                      <a:pt x="623" y="473"/>
                    </a:lnTo>
                    <a:lnTo>
                      <a:pt x="581" y="473"/>
                    </a:lnTo>
                    <a:lnTo>
                      <a:pt x="581" y="255"/>
                    </a:lnTo>
                    <a:lnTo>
                      <a:pt x="581" y="255"/>
                    </a:lnTo>
                    <a:close/>
                    <a:moveTo>
                      <a:pt x="532" y="314"/>
                    </a:moveTo>
                    <a:lnTo>
                      <a:pt x="557" y="314"/>
                    </a:lnTo>
                    <a:lnTo>
                      <a:pt x="557" y="356"/>
                    </a:lnTo>
                    <a:lnTo>
                      <a:pt x="557" y="473"/>
                    </a:lnTo>
                    <a:lnTo>
                      <a:pt x="532" y="473"/>
                    </a:lnTo>
                    <a:lnTo>
                      <a:pt x="488" y="473"/>
                    </a:lnTo>
                    <a:lnTo>
                      <a:pt x="455" y="473"/>
                    </a:lnTo>
                    <a:lnTo>
                      <a:pt x="455" y="356"/>
                    </a:lnTo>
                    <a:lnTo>
                      <a:pt x="455" y="302"/>
                    </a:lnTo>
                    <a:lnTo>
                      <a:pt x="488" y="302"/>
                    </a:lnTo>
                    <a:lnTo>
                      <a:pt x="488" y="356"/>
                    </a:lnTo>
                    <a:lnTo>
                      <a:pt x="532" y="356"/>
                    </a:lnTo>
                    <a:lnTo>
                      <a:pt x="532" y="314"/>
                    </a:lnTo>
                    <a:lnTo>
                      <a:pt x="532" y="314"/>
                    </a:lnTo>
                    <a:close/>
                    <a:moveTo>
                      <a:pt x="360" y="293"/>
                    </a:moveTo>
                    <a:lnTo>
                      <a:pt x="426" y="293"/>
                    </a:lnTo>
                    <a:lnTo>
                      <a:pt x="426" y="473"/>
                    </a:lnTo>
                    <a:lnTo>
                      <a:pt x="360" y="473"/>
                    </a:lnTo>
                    <a:lnTo>
                      <a:pt x="360" y="293"/>
                    </a:lnTo>
                    <a:lnTo>
                      <a:pt x="360" y="293"/>
                    </a:lnTo>
                    <a:close/>
                    <a:moveTo>
                      <a:pt x="287" y="209"/>
                    </a:moveTo>
                    <a:lnTo>
                      <a:pt x="350" y="209"/>
                    </a:lnTo>
                    <a:lnTo>
                      <a:pt x="350" y="473"/>
                    </a:lnTo>
                    <a:lnTo>
                      <a:pt x="287" y="473"/>
                    </a:lnTo>
                    <a:lnTo>
                      <a:pt x="287" y="209"/>
                    </a:lnTo>
                    <a:lnTo>
                      <a:pt x="287" y="209"/>
                    </a:lnTo>
                    <a:close/>
                    <a:moveTo>
                      <a:pt x="195" y="184"/>
                    </a:moveTo>
                    <a:lnTo>
                      <a:pt x="241" y="184"/>
                    </a:lnTo>
                    <a:lnTo>
                      <a:pt x="241" y="473"/>
                    </a:lnTo>
                    <a:lnTo>
                      <a:pt x="195" y="473"/>
                    </a:lnTo>
                    <a:lnTo>
                      <a:pt x="195" y="184"/>
                    </a:lnTo>
                    <a:lnTo>
                      <a:pt x="195" y="184"/>
                    </a:lnTo>
                    <a:close/>
                    <a:moveTo>
                      <a:pt x="31" y="264"/>
                    </a:moveTo>
                    <a:lnTo>
                      <a:pt x="92" y="264"/>
                    </a:lnTo>
                    <a:lnTo>
                      <a:pt x="92" y="473"/>
                    </a:lnTo>
                    <a:lnTo>
                      <a:pt x="61" y="473"/>
                    </a:lnTo>
                    <a:lnTo>
                      <a:pt x="31" y="473"/>
                    </a:lnTo>
                    <a:lnTo>
                      <a:pt x="0" y="473"/>
                    </a:lnTo>
                    <a:lnTo>
                      <a:pt x="0" y="331"/>
                    </a:lnTo>
                    <a:lnTo>
                      <a:pt x="31" y="331"/>
                    </a:lnTo>
                    <a:lnTo>
                      <a:pt x="31" y="264"/>
                    </a:lnTo>
                    <a:lnTo>
                      <a:pt x="31" y="264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7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2" name="íṧlídê">
                <a:extLst>
                  <a:ext uri="{FF2B5EF4-FFF2-40B4-BE49-F238E27FC236}">
                    <a16:creationId xmlns:a16="http://schemas.microsoft.com/office/drawing/2014/main" id="{4D9C45EE-48EA-46A4-9F20-5831E0316F44}"/>
                  </a:ext>
                </a:extLst>
              </p:cNvPr>
              <p:cNvSpPr/>
              <p:nvPr/>
            </p:nvSpPr>
            <p:spPr bwMode="auto">
              <a:xfrm>
                <a:off x="157328" y="3462081"/>
                <a:ext cx="7992252" cy="646644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3" name="iṧ1iďê">
                <a:extLst>
                  <a:ext uri="{FF2B5EF4-FFF2-40B4-BE49-F238E27FC236}">
                    <a16:creationId xmlns:a16="http://schemas.microsoft.com/office/drawing/2014/main" id="{10621B3A-B934-41AE-B23E-479A1F1EB7D3}"/>
                  </a:ext>
                </a:extLst>
              </p:cNvPr>
              <p:cNvSpPr/>
              <p:nvPr/>
            </p:nvSpPr>
            <p:spPr bwMode="auto">
              <a:xfrm>
                <a:off x="1211424" y="3401747"/>
                <a:ext cx="1471013" cy="691716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4" name="íšľídê">
                <a:extLst>
                  <a:ext uri="{FF2B5EF4-FFF2-40B4-BE49-F238E27FC236}">
                    <a16:creationId xmlns:a16="http://schemas.microsoft.com/office/drawing/2014/main" id="{A183DE2F-E16B-45B9-BDD2-5DDBD14A0539}"/>
                  </a:ext>
                </a:extLst>
              </p:cNvPr>
              <p:cNvSpPr/>
              <p:nvPr/>
            </p:nvSpPr>
            <p:spPr bwMode="auto">
              <a:xfrm>
                <a:off x="2721770" y="3920534"/>
                <a:ext cx="141595" cy="172929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5" name="isḷïḍê">
                <a:extLst>
                  <a:ext uri="{FF2B5EF4-FFF2-40B4-BE49-F238E27FC236}">
                    <a16:creationId xmlns:a16="http://schemas.microsoft.com/office/drawing/2014/main" id="{8962EE1A-FD1F-4552-9336-C10B8012D961}"/>
                  </a:ext>
                </a:extLst>
              </p:cNvPr>
              <p:cNvSpPr/>
              <p:nvPr/>
            </p:nvSpPr>
            <p:spPr bwMode="auto">
              <a:xfrm>
                <a:off x="2824037" y="3966308"/>
                <a:ext cx="424785" cy="127155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6" name="iṣ1îḍe">
                <a:extLst>
                  <a:ext uri="{FF2B5EF4-FFF2-40B4-BE49-F238E27FC236}">
                    <a16:creationId xmlns:a16="http://schemas.microsoft.com/office/drawing/2014/main" id="{DF0DCE91-9328-4985-B4D7-DD3E893077E2}"/>
                  </a:ext>
                </a:extLst>
              </p:cNvPr>
              <p:cNvSpPr/>
              <p:nvPr/>
            </p:nvSpPr>
            <p:spPr bwMode="auto">
              <a:xfrm>
                <a:off x="3130823" y="3635710"/>
                <a:ext cx="369717" cy="457753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7" name="işľïdè">
                <a:extLst>
                  <a:ext uri="{FF2B5EF4-FFF2-40B4-BE49-F238E27FC236}">
                    <a16:creationId xmlns:a16="http://schemas.microsoft.com/office/drawing/2014/main" id="{4AB66B08-53E5-4EEF-90AA-6234454382D0}"/>
                  </a:ext>
                </a:extLst>
              </p:cNvPr>
              <p:cNvSpPr/>
              <p:nvPr/>
            </p:nvSpPr>
            <p:spPr bwMode="auto">
              <a:xfrm>
                <a:off x="3547744" y="3945964"/>
                <a:ext cx="157327" cy="147500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8" name="îṩlïḋe">
                <a:extLst>
                  <a:ext uri="{FF2B5EF4-FFF2-40B4-BE49-F238E27FC236}">
                    <a16:creationId xmlns:a16="http://schemas.microsoft.com/office/drawing/2014/main" id="{30BF5695-27D3-414B-A1C5-37A4C76E0A12}"/>
                  </a:ext>
                </a:extLst>
              </p:cNvPr>
              <p:cNvSpPr/>
              <p:nvPr/>
            </p:nvSpPr>
            <p:spPr bwMode="auto">
              <a:xfrm>
                <a:off x="3728669" y="3895102"/>
                <a:ext cx="149459" cy="198361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9" name="ï$ḷíḓè">
                <a:extLst>
                  <a:ext uri="{FF2B5EF4-FFF2-40B4-BE49-F238E27FC236}">
                    <a16:creationId xmlns:a16="http://schemas.microsoft.com/office/drawing/2014/main" id="{D92DDE95-1954-434C-B983-E6F7F59D4FF9}"/>
                  </a:ext>
                </a:extLst>
              </p:cNvPr>
              <p:cNvSpPr/>
              <p:nvPr/>
            </p:nvSpPr>
            <p:spPr bwMode="auto">
              <a:xfrm>
                <a:off x="4562506" y="3712000"/>
                <a:ext cx="196658" cy="381462"/>
              </a:xfrm>
              <a:custGeom>
                <a:avLst/>
                <a:gdLst>
                  <a:gd name="T0" fmla="*/ 9 w 50"/>
                  <a:gd name="T1" fmla="*/ 23 h 149"/>
                  <a:gd name="T2" fmla="*/ 13 w 50"/>
                  <a:gd name="T3" fmla="*/ 23 h 149"/>
                  <a:gd name="T4" fmla="*/ 23 w 50"/>
                  <a:gd name="T5" fmla="*/ 0 h 149"/>
                  <a:gd name="T6" fmla="*/ 29 w 50"/>
                  <a:gd name="T7" fmla="*/ 0 h 149"/>
                  <a:gd name="T8" fmla="*/ 36 w 50"/>
                  <a:gd name="T9" fmla="*/ 23 h 149"/>
                  <a:gd name="T10" fmla="*/ 42 w 50"/>
                  <a:gd name="T11" fmla="*/ 23 h 149"/>
                  <a:gd name="T12" fmla="*/ 42 w 50"/>
                  <a:gd name="T13" fmla="*/ 36 h 149"/>
                  <a:gd name="T14" fmla="*/ 44 w 50"/>
                  <a:gd name="T15" fmla="*/ 42 h 149"/>
                  <a:gd name="T16" fmla="*/ 50 w 50"/>
                  <a:gd name="T17" fmla="*/ 42 h 149"/>
                  <a:gd name="T18" fmla="*/ 50 w 50"/>
                  <a:gd name="T19" fmla="*/ 149 h 149"/>
                  <a:gd name="T20" fmla="*/ 0 w 50"/>
                  <a:gd name="T21" fmla="*/ 149 h 149"/>
                  <a:gd name="T22" fmla="*/ 0 w 50"/>
                  <a:gd name="T23" fmla="*/ 42 h 149"/>
                  <a:gd name="T24" fmla="*/ 8 w 50"/>
                  <a:gd name="T25" fmla="*/ 42 h 149"/>
                  <a:gd name="T26" fmla="*/ 9 w 50"/>
                  <a:gd name="T27" fmla="*/ 36 h 149"/>
                  <a:gd name="T28" fmla="*/ 9 w 50"/>
                  <a:gd name="T29" fmla="*/ 23 h 149"/>
                  <a:gd name="T30" fmla="*/ 9 w 50"/>
                  <a:gd name="T31" fmla="*/ 23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0" h="149">
                    <a:moveTo>
                      <a:pt x="9" y="23"/>
                    </a:moveTo>
                    <a:lnTo>
                      <a:pt x="13" y="23"/>
                    </a:lnTo>
                    <a:lnTo>
                      <a:pt x="23" y="0"/>
                    </a:lnTo>
                    <a:lnTo>
                      <a:pt x="29" y="0"/>
                    </a:lnTo>
                    <a:lnTo>
                      <a:pt x="36" y="23"/>
                    </a:lnTo>
                    <a:lnTo>
                      <a:pt x="42" y="23"/>
                    </a:lnTo>
                    <a:lnTo>
                      <a:pt x="42" y="36"/>
                    </a:lnTo>
                    <a:lnTo>
                      <a:pt x="44" y="42"/>
                    </a:lnTo>
                    <a:lnTo>
                      <a:pt x="50" y="42"/>
                    </a:lnTo>
                    <a:lnTo>
                      <a:pt x="50" y="149"/>
                    </a:lnTo>
                    <a:lnTo>
                      <a:pt x="0" y="149"/>
                    </a:lnTo>
                    <a:lnTo>
                      <a:pt x="0" y="42"/>
                    </a:lnTo>
                    <a:lnTo>
                      <a:pt x="8" y="42"/>
                    </a:lnTo>
                    <a:lnTo>
                      <a:pt x="9" y="36"/>
                    </a:lnTo>
                    <a:lnTo>
                      <a:pt x="9" y="23"/>
                    </a:lnTo>
                    <a:lnTo>
                      <a:pt x="9" y="2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0" name="iṩlîďé">
                <a:extLst>
                  <a:ext uri="{FF2B5EF4-FFF2-40B4-BE49-F238E27FC236}">
                    <a16:creationId xmlns:a16="http://schemas.microsoft.com/office/drawing/2014/main" id="{D5D56A3E-2BBB-47B5-9777-0F169996F826}"/>
                  </a:ext>
                </a:extLst>
              </p:cNvPr>
              <p:cNvSpPr/>
              <p:nvPr/>
            </p:nvSpPr>
            <p:spPr bwMode="auto">
              <a:xfrm>
                <a:off x="4861428" y="4017169"/>
                <a:ext cx="110129" cy="76293"/>
              </a:xfrm>
              <a:custGeom>
                <a:avLst/>
                <a:gdLst>
                  <a:gd name="T0" fmla="*/ 0 w 28"/>
                  <a:gd name="T1" fmla="*/ 0 h 31"/>
                  <a:gd name="T2" fmla="*/ 28 w 28"/>
                  <a:gd name="T3" fmla="*/ 0 h 31"/>
                  <a:gd name="T4" fmla="*/ 28 w 28"/>
                  <a:gd name="T5" fmla="*/ 31 h 31"/>
                  <a:gd name="T6" fmla="*/ 0 w 28"/>
                  <a:gd name="T7" fmla="*/ 31 h 31"/>
                  <a:gd name="T8" fmla="*/ 0 w 28"/>
                  <a:gd name="T9" fmla="*/ 0 h 31"/>
                  <a:gd name="T10" fmla="*/ 0 w 28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31">
                    <a:moveTo>
                      <a:pt x="0" y="0"/>
                    </a:moveTo>
                    <a:lnTo>
                      <a:pt x="28" y="0"/>
                    </a:lnTo>
                    <a:lnTo>
                      <a:pt x="28" y="31"/>
                    </a:lnTo>
                    <a:lnTo>
                      <a:pt x="0" y="3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1" name="ïṩľídè">
                <a:extLst>
                  <a:ext uri="{FF2B5EF4-FFF2-40B4-BE49-F238E27FC236}">
                    <a16:creationId xmlns:a16="http://schemas.microsoft.com/office/drawing/2014/main" id="{3DF6869D-F54C-4510-BA4B-5B1D5492821D}"/>
                  </a:ext>
                </a:extLst>
              </p:cNvPr>
              <p:cNvSpPr/>
              <p:nvPr/>
            </p:nvSpPr>
            <p:spPr bwMode="auto">
              <a:xfrm>
                <a:off x="5844730" y="3722173"/>
                <a:ext cx="409052" cy="371290"/>
              </a:xfrm>
              <a:custGeom>
                <a:avLst/>
                <a:gdLst>
                  <a:gd name="T0" fmla="*/ 48 w 103"/>
                  <a:gd name="T1" fmla="*/ 112 h 145"/>
                  <a:gd name="T2" fmla="*/ 103 w 103"/>
                  <a:gd name="T3" fmla="*/ 112 h 145"/>
                  <a:gd name="T4" fmla="*/ 103 w 103"/>
                  <a:gd name="T5" fmla="*/ 145 h 145"/>
                  <a:gd name="T6" fmla="*/ 48 w 103"/>
                  <a:gd name="T7" fmla="*/ 145 h 145"/>
                  <a:gd name="T8" fmla="*/ 23 w 103"/>
                  <a:gd name="T9" fmla="*/ 145 h 145"/>
                  <a:gd name="T10" fmla="*/ 0 w 103"/>
                  <a:gd name="T11" fmla="*/ 145 h 145"/>
                  <a:gd name="T12" fmla="*/ 0 w 103"/>
                  <a:gd name="T13" fmla="*/ 11 h 145"/>
                  <a:gd name="T14" fmla="*/ 6 w 103"/>
                  <a:gd name="T15" fmla="*/ 11 h 145"/>
                  <a:gd name="T16" fmla="*/ 6 w 103"/>
                  <a:gd name="T17" fmla="*/ 0 h 145"/>
                  <a:gd name="T18" fmla="*/ 34 w 103"/>
                  <a:gd name="T19" fmla="*/ 0 h 145"/>
                  <a:gd name="T20" fmla="*/ 34 w 103"/>
                  <a:gd name="T21" fmla="*/ 11 h 145"/>
                  <a:gd name="T22" fmla="*/ 48 w 103"/>
                  <a:gd name="T23" fmla="*/ 11 h 145"/>
                  <a:gd name="T24" fmla="*/ 48 w 103"/>
                  <a:gd name="T25" fmla="*/ 112 h 145"/>
                  <a:gd name="T26" fmla="*/ 48 w 103"/>
                  <a:gd name="T27" fmla="*/ 112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" h="145">
                    <a:moveTo>
                      <a:pt x="48" y="112"/>
                    </a:moveTo>
                    <a:lnTo>
                      <a:pt x="103" y="112"/>
                    </a:lnTo>
                    <a:lnTo>
                      <a:pt x="103" y="145"/>
                    </a:lnTo>
                    <a:lnTo>
                      <a:pt x="48" y="145"/>
                    </a:lnTo>
                    <a:lnTo>
                      <a:pt x="23" y="145"/>
                    </a:lnTo>
                    <a:lnTo>
                      <a:pt x="0" y="145"/>
                    </a:lnTo>
                    <a:lnTo>
                      <a:pt x="0" y="11"/>
                    </a:lnTo>
                    <a:lnTo>
                      <a:pt x="6" y="11"/>
                    </a:lnTo>
                    <a:lnTo>
                      <a:pt x="6" y="0"/>
                    </a:lnTo>
                    <a:lnTo>
                      <a:pt x="34" y="0"/>
                    </a:lnTo>
                    <a:lnTo>
                      <a:pt x="34" y="11"/>
                    </a:lnTo>
                    <a:lnTo>
                      <a:pt x="48" y="11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2" name="îṩľïdê">
                <a:extLst>
                  <a:ext uri="{FF2B5EF4-FFF2-40B4-BE49-F238E27FC236}">
                    <a16:creationId xmlns:a16="http://schemas.microsoft.com/office/drawing/2014/main" id="{212FD963-1D21-40BA-891B-C79A952834BE}"/>
                  </a:ext>
                </a:extLst>
              </p:cNvPr>
              <p:cNvSpPr/>
              <p:nvPr/>
            </p:nvSpPr>
            <p:spPr bwMode="auto">
              <a:xfrm>
                <a:off x="6544836" y="3732345"/>
                <a:ext cx="487717" cy="361118"/>
              </a:xfrm>
              <a:custGeom>
                <a:avLst/>
                <a:gdLst>
                  <a:gd name="T0" fmla="*/ 0 w 124"/>
                  <a:gd name="T1" fmla="*/ 0 h 142"/>
                  <a:gd name="T2" fmla="*/ 124 w 124"/>
                  <a:gd name="T3" fmla="*/ 0 h 142"/>
                  <a:gd name="T4" fmla="*/ 124 w 124"/>
                  <a:gd name="T5" fmla="*/ 142 h 142"/>
                  <a:gd name="T6" fmla="*/ 0 w 124"/>
                  <a:gd name="T7" fmla="*/ 142 h 142"/>
                  <a:gd name="T8" fmla="*/ 0 w 124"/>
                  <a:gd name="T9" fmla="*/ 0 h 142"/>
                  <a:gd name="T10" fmla="*/ 0 w 124"/>
                  <a:gd name="T11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4" h="142">
                    <a:moveTo>
                      <a:pt x="0" y="0"/>
                    </a:moveTo>
                    <a:lnTo>
                      <a:pt x="124" y="0"/>
                    </a:lnTo>
                    <a:lnTo>
                      <a:pt x="124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3" name="îṩḷiďé">
                <a:extLst>
                  <a:ext uri="{FF2B5EF4-FFF2-40B4-BE49-F238E27FC236}">
                    <a16:creationId xmlns:a16="http://schemas.microsoft.com/office/drawing/2014/main" id="{12FB44E6-14B6-46B9-8DCD-7CBECDF911F8}"/>
                  </a:ext>
                </a:extLst>
              </p:cNvPr>
              <p:cNvSpPr/>
              <p:nvPr/>
            </p:nvSpPr>
            <p:spPr bwMode="auto">
              <a:xfrm>
                <a:off x="7071886" y="3539072"/>
                <a:ext cx="1164226" cy="554392"/>
              </a:xfrm>
              <a:custGeom>
                <a:avLst/>
                <a:gdLst>
                  <a:gd name="T0" fmla="*/ 84 w 296"/>
                  <a:gd name="T1" fmla="*/ 193 h 218"/>
                  <a:gd name="T2" fmla="*/ 94 w 296"/>
                  <a:gd name="T3" fmla="*/ 193 h 218"/>
                  <a:gd name="T4" fmla="*/ 94 w 296"/>
                  <a:gd name="T5" fmla="*/ 199 h 218"/>
                  <a:gd name="T6" fmla="*/ 113 w 296"/>
                  <a:gd name="T7" fmla="*/ 199 h 218"/>
                  <a:gd name="T8" fmla="*/ 113 w 296"/>
                  <a:gd name="T9" fmla="*/ 206 h 218"/>
                  <a:gd name="T10" fmla="*/ 160 w 296"/>
                  <a:gd name="T11" fmla="*/ 206 h 218"/>
                  <a:gd name="T12" fmla="*/ 160 w 296"/>
                  <a:gd name="T13" fmla="*/ 9 h 218"/>
                  <a:gd name="T14" fmla="*/ 178 w 296"/>
                  <a:gd name="T15" fmla="*/ 9 h 218"/>
                  <a:gd name="T16" fmla="*/ 178 w 296"/>
                  <a:gd name="T17" fmla="*/ 0 h 218"/>
                  <a:gd name="T18" fmla="*/ 218 w 296"/>
                  <a:gd name="T19" fmla="*/ 0 h 218"/>
                  <a:gd name="T20" fmla="*/ 218 w 296"/>
                  <a:gd name="T21" fmla="*/ 9 h 218"/>
                  <a:gd name="T22" fmla="*/ 231 w 296"/>
                  <a:gd name="T23" fmla="*/ 9 h 218"/>
                  <a:gd name="T24" fmla="*/ 231 w 296"/>
                  <a:gd name="T25" fmla="*/ 206 h 218"/>
                  <a:gd name="T26" fmla="*/ 245 w 296"/>
                  <a:gd name="T27" fmla="*/ 206 h 218"/>
                  <a:gd name="T28" fmla="*/ 245 w 296"/>
                  <a:gd name="T29" fmla="*/ 214 h 218"/>
                  <a:gd name="T30" fmla="*/ 296 w 296"/>
                  <a:gd name="T31" fmla="*/ 214 h 218"/>
                  <a:gd name="T32" fmla="*/ 296 w 296"/>
                  <a:gd name="T33" fmla="*/ 218 h 218"/>
                  <a:gd name="T34" fmla="*/ 245 w 296"/>
                  <a:gd name="T35" fmla="*/ 218 h 218"/>
                  <a:gd name="T36" fmla="*/ 231 w 296"/>
                  <a:gd name="T37" fmla="*/ 218 h 218"/>
                  <a:gd name="T38" fmla="*/ 160 w 296"/>
                  <a:gd name="T39" fmla="*/ 218 h 218"/>
                  <a:gd name="T40" fmla="*/ 130 w 296"/>
                  <a:gd name="T41" fmla="*/ 218 h 218"/>
                  <a:gd name="T42" fmla="*/ 84 w 296"/>
                  <a:gd name="T43" fmla="*/ 218 h 218"/>
                  <a:gd name="T44" fmla="*/ 80 w 296"/>
                  <a:gd name="T45" fmla="*/ 218 h 218"/>
                  <a:gd name="T46" fmla="*/ 50 w 296"/>
                  <a:gd name="T47" fmla="*/ 218 h 218"/>
                  <a:gd name="T48" fmla="*/ 0 w 296"/>
                  <a:gd name="T49" fmla="*/ 218 h 218"/>
                  <a:gd name="T50" fmla="*/ 0 w 296"/>
                  <a:gd name="T51" fmla="*/ 4 h 218"/>
                  <a:gd name="T52" fmla="*/ 50 w 296"/>
                  <a:gd name="T53" fmla="*/ 4 h 218"/>
                  <a:gd name="T54" fmla="*/ 50 w 296"/>
                  <a:gd name="T55" fmla="*/ 25 h 218"/>
                  <a:gd name="T56" fmla="*/ 84 w 296"/>
                  <a:gd name="T57" fmla="*/ 25 h 218"/>
                  <a:gd name="T58" fmla="*/ 84 w 296"/>
                  <a:gd name="T59" fmla="*/ 193 h 218"/>
                  <a:gd name="T60" fmla="*/ 84 w 296"/>
                  <a:gd name="T61" fmla="*/ 19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6" h="218">
                    <a:moveTo>
                      <a:pt x="84" y="193"/>
                    </a:moveTo>
                    <a:lnTo>
                      <a:pt x="94" y="193"/>
                    </a:lnTo>
                    <a:lnTo>
                      <a:pt x="94" y="199"/>
                    </a:lnTo>
                    <a:lnTo>
                      <a:pt x="113" y="199"/>
                    </a:lnTo>
                    <a:lnTo>
                      <a:pt x="113" y="206"/>
                    </a:lnTo>
                    <a:lnTo>
                      <a:pt x="160" y="206"/>
                    </a:lnTo>
                    <a:lnTo>
                      <a:pt x="160" y="9"/>
                    </a:lnTo>
                    <a:lnTo>
                      <a:pt x="178" y="9"/>
                    </a:lnTo>
                    <a:lnTo>
                      <a:pt x="178" y="0"/>
                    </a:lnTo>
                    <a:lnTo>
                      <a:pt x="218" y="0"/>
                    </a:lnTo>
                    <a:lnTo>
                      <a:pt x="218" y="9"/>
                    </a:lnTo>
                    <a:lnTo>
                      <a:pt x="231" y="9"/>
                    </a:lnTo>
                    <a:lnTo>
                      <a:pt x="231" y="206"/>
                    </a:lnTo>
                    <a:lnTo>
                      <a:pt x="245" y="206"/>
                    </a:lnTo>
                    <a:lnTo>
                      <a:pt x="245" y="214"/>
                    </a:lnTo>
                    <a:lnTo>
                      <a:pt x="296" y="214"/>
                    </a:lnTo>
                    <a:lnTo>
                      <a:pt x="296" y="218"/>
                    </a:lnTo>
                    <a:lnTo>
                      <a:pt x="245" y="218"/>
                    </a:lnTo>
                    <a:lnTo>
                      <a:pt x="231" y="218"/>
                    </a:lnTo>
                    <a:lnTo>
                      <a:pt x="160" y="218"/>
                    </a:lnTo>
                    <a:lnTo>
                      <a:pt x="130" y="218"/>
                    </a:lnTo>
                    <a:lnTo>
                      <a:pt x="84" y="218"/>
                    </a:lnTo>
                    <a:lnTo>
                      <a:pt x="80" y="218"/>
                    </a:lnTo>
                    <a:lnTo>
                      <a:pt x="50" y="218"/>
                    </a:lnTo>
                    <a:lnTo>
                      <a:pt x="0" y="218"/>
                    </a:lnTo>
                    <a:lnTo>
                      <a:pt x="0" y="4"/>
                    </a:lnTo>
                    <a:lnTo>
                      <a:pt x="50" y="4"/>
                    </a:lnTo>
                    <a:lnTo>
                      <a:pt x="50" y="25"/>
                    </a:lnTo>
                    <a:lnTo>
                      <a:pt x="84" y="25"/>
                    </a:lnTo>
                    <a:lnTo>
                      <a:pt x="84" y="193"/>
                    </a:lnTo>
                    <a:lnTo>
                      <a:pt x="84" y="19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4" name="îsḷîde">
                <a:extLst>
                  <a:ext uri="{FF2B5EF4-FFF2-40B4-BE49-F238E27FC236}">
                    <a16:creationId xmlns:a16="http://schemas.microsoft.com/office/drawing/2014/main" id="{4F5A05A1-2416-4532-A50B-E4F93C9566DE}"/>
                  </a:ext>
                </a:extLst>
              </p:cNvPr>
              <p:cNvSpPr/>
              <p:nvPr/>
            </p:nvSpPr>
            <p:spPr bwMode="auto">
              <a:xfrm>
                <a:off x="47198" y="3945964"/>
                <a:ext cx="503449" cy="147500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5" name="íşḻïḑê">
                <a:extLst>
                  <a:ext uri="{FF2B5EF4-FFF2-40B4-BE49-F238E27FC236}">
                    <a16:creationId xmlns:a16="http://schemas.microsoft.com/office/drawing/2014/main" id="{878B5594-ACD1-4149-89E1-06CB7FF8E2E4}"/>
                  </a:ext>
                </a:extLst>
              </p:cNvPr>
              <p:cNvSpPr/>
              <p:nvPr/>
            </p:nvSpPr>
            <p:spPr bwMode="auto">
              <a:xfrm>
                <a:off x="3728669" y="3087989"/>
                <a:ext cx="794503" cy="1005473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6" name="ïśḻïďé">
                <a:extLst>
                  <a:ext uri="{FF2B5EF4-FFF2-40B4-BE49-F238E27FC236}">
                    <a16:creationId xmlns:a16="http://schemas.microsoft.com/office/drawing/2014/main" id="{B8070A0A-33BF-43A5-95DA-9100B9E975FB}"/>
                  </a:ext>
                </a:extLst>
              </p:cNvPr>
              <p:cNvSpPr/>
              <p:nvPr/>
            </p:nvSpPr>
            <p:spPr bwMode="auto">
              <a:xfrm>
                <a:off x="6277379" y="4052774"/>
                <a:ext cx="841701" cy="40690"/>
              </a:xfrm>
              <a:custGeom>
                <a:avLst/>
                <a:gdLst>
                  <a:gd name="T0" fmla="*/ 0 w 212"/>
                  <a:gd name="T1" fmla="*/ 0 h 15"/>
                  <a:gd name="T2" fmla="*/ 212 w 212"/>
                  <a:gd name="T3" fmla="*/ 0 h 15"/>
                  <a:gd name="T4" fmla="*/ 212 w 212"/>
                  <a:gd name="T5" fmla="*/ 15 h 15"/>
                  <a:gd name="T6" fmla="*/ 0 w 212"/>
                  <a:gd name="T7" fmla="*/ 15 h 15"/>
                  <a:gd name="T8" fmla="*/ 0 w 212"/>
                  <a:gd name="T9" fmla="*/ 0 h 15"/>
                  <a:gd name="T10" fmla="*/ 0 w 212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2" h="15">
                    <a:moveTo>
                      <a:pt x="0" y="0"/>
                    </a:moveTo>
                    <a:lnTo>
                      <a:pt x="212" y="0"/>
                    </a:lnTo>
                    <a:lnTo>
                      <a:pt x="212" y="1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7" name="ïślïḋê">
                <a:extLst>
                  <a:ext uri="{FF2B5EF4-FFF2-40B4-BE49-F238E27FC236}">
                    <a16:creationId xmlns:a16="http://schemas.microsoft.com/office/drawing/2014/main" id="{8AB24834-9D60-4231-A89B-AF6C1BE3C947}"/>
                  </a:ext>
                </a:extLst>
              </p:cNvPr>
              <p:cNvSpPr/>
              <p:nvPr/>
            </p:nvSpPr>
            <p:spPr bwMode="auto">
              <a:xfrm>
                <a:off x="0" y="4032427"/>
                <a:ext cx="12192000" cy="272872"/>
              </a:xfrm>
              <a:custGeom>
                <a:avLst/>
                <a:gdLst>
                  <a:gd name="T0" fmla="*/ 132 w 2098"/>
                  <a:gd name="T1" fmla="*/ 21 h 101"/>
                  <a:gd name="T2" fmla="*/ 138 w 2098"/>
                  <a:gd name="T3" fmla="*/ 0 h 101"/>
                  <a:gd name="T4" fmla="*/ 281 w 2098"/>
                  <a:gd name="T5" fmla="*/ 21 h 101"/>
                  <a:gd name="T6" fmla="*/ 289 w 2098"/>
                  <a:gd name="T7" fmla="*/ 0 h 101"/>
                  <a:gd name="T8" fmla="*/ 675 w 2098"/>
                  <a:gd name="T9" fmla="*/ 21 h 101"/>
                  <a:gd name="T10" fmla="*/ 685 w 2098"/>
                  <a:gd name="T11" fmla="*/ 0 h 101"/>
                  <a:gd name="T12" fmla="*/ 706 w 2098"/>
                  <a:gd name="T13" fmla="*/ 21 h 101"/>
                  <a:gd name="T14" fmla="*/ 710 w 2098"/>
                  <a:gd name="T15" fmla="*/ 0 h 101"/>
                  <a:gd name="T16" fmla="*/ 819 w 2098"/>
                  <a:gd name="T17" fmla="*/ 21 h 101"/>
                  <a:gd name="T18" fmla="*/ 824 w 2098"/>
                  <a:gd name="T19" fmla="*/ 0 h 101"/>
                  <a:gd name="T20" fmla="*/ 889 w 2098"/>
                  <a:gd name="T21" fmla="*/ 21 h 101"/>
                  <a:gd name="T22" fmla="*/ 895 w 2098"/>
                  <a:gd name="T23" fmla="*/ 0 h 101"/>
                  <a:gd name="T24" fmla="*/ 979 w 2098"/>
                  <a:gd name="T25" fmla="*/ 21 h 101"/>
                  <a:gd name="T26" fmla="*/ 987 w 2098"/>
                  <a:gd name="T27" fmla="*/ 0 h 101"/>
                  <a:gd name="T28" fmla="*/ 1222 w 2098"/>
                  <a:gd name="T29" fmla="*/ 21 h 101"/>
                  <a:gd name="T30" fmla="*/ 1228 w 2098"/>
                  <a:gd name="T31" fmla="*/ 0 h 101"/>
                  <a:gd name="T32" fmla="*/ 1257 w 2098"/>
                  <a:gd name="T33" fmla="*/ 21 h 101"/>
                  <a:gd name="T34" fmla="*/ 1260 w 2098"/>
                  <a:gd name="T35" fmla="*/ 4 h 101"/>
                  <a:gd name="T36" fmla="*/ 1352 w 2098"/>
                  <a:gd name="T37" fmla="*/ 0 h 101"/>
                  <a:gd name="T38" fmla="*/ 1362 w 2098"/>
                  <a:gd name="T39" fmla="*/ 4 h 101"/>
                  <a:gd name="T40" fmla="*/ 1446 w 2098"/>
                  <a:gd name="T41" fmla="*/ 0 h 101"/>
                  <a:gd name="T42" fmla="*/ 1446 w 2098"/>
                  <a:gd name="T43" fmla="*/ 11 h 101"/>
                  <a:gd name="T44" fmla="*/ 1477 w 2098"/>
                  <a:gd name="T45" fmla="*/ 21 h 101"/>
                  <a:gd name="T46" fmla="*/ 1478 w 2098"/>
                  <a:gd name="T47" fmla="*/ 0 h 101"/>
                  <a:gd name="T48" fmla="*/ 1582 w 2098"/>
                  <a:gd name="T49" fmla="*/ 21 h 101"/>
                  <a:gd name="T50" fmla="*/ 1610 w 2098"/>
                  <a:gd name="T51" fmla="*/ 0 h 101"/>
                  <a:gd name="T52" fmla="*/ 1783 w 2098"/>
                  <a:gd name="T53" fmla="*/ 21 h 101"/>
                  <a:gd name="T54" fmla="*/ 1792 w 2098"/>
                  <a:gd name="T55" fmla="*/ 0 h 101"/>
                  <a:gd name="T56" fmla="*/ 1884 w 2098"/>
                  <a:gd name="T57" fmla="*/ 4 h 101"/>
                  <a:gd name="T58" fmla="*/ 1903 w 2098"/>
                  <a:gd name="T59" fmla="*/ 11 h 101"/>
                  <a:gd name="T60" fmla="*/ 1928 w 2098"/>
                  <a:gd name="T61" fmla="*/ 0 h 101"/>
                  <a:gd name="T62" fmla="*/ 2029 w 2098"/>
                  <a:gd name="T63" fmla="*/ 11 h 101"/>
                  <a:gd name="T64" fmla="*/ 2037 w 2098"/>
                  <a:gd name="T65" fmla="*/ 19 h 101"/>
                  <a:gd name="T66" fmla="*/ 2046 w 2098"/>
                  <a:gd name="T67" fmla="*/ 4 h 101"/>
                  <a:gd name="T68" fmla="*/ 2081 w 2098"/>
                  <a:gd name="T69" fmla="*/ 19 h 101"/>
                  <a:gd name="T70" fmla="*/ 2087 w 2098"/>
                  <a:gd name="T71" fmla="*/ 21 h 101"/>
                  <a:gd name="T72" fmla="*/ 2098 w 2098"/>
                  <a:gd name="T73" fmla="*/ 57 h 101"/>
                  <a:gd name="T74" fmla="*/ 2098 w 2098"/>
                  <a:gd name="T75" fmla="*/ 101 h 101"/>
                  <a:gd name="T76" fmla="*/ 0 w 2098"/>
                  <a:gd name="T77" fmla="*/ 101 h 101"/>
                  <a:gd name="T78" fmla="*/ 0 w 2098"/>
                  <a:gd name="T79" fmla="*/ 57 h 101"/>
                  <a:gd name="T80" fmla="*/ 4 w 2098"/>
                  <a:gd name="T81" fmla="*/ 21 h 101"/>
                  <a:gd name="T82" fmla="*/ 132 w 2098"/>
                  <a:gd name="T8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98" h="101">
                    <a:moveTo>
                      <a:pt x="132" y="0"/>
                    </a:moveTo>
                    <a:lnTo>
                      <a:pt x="132" y="21"/>
                    </a:lnTo>
                    <a:lnTo>
                      <a:pt x="138" y="21"/>
                    </a:lnTo>
                    <a:lnTo>
                      <a:pt x="138" y="0"/>
                    </a:lnTo>
                    <a:lnTo>
                      <a:pt x="281" y="0"/>
                    </a:lnTo>
                    <a:lnTo>
                      <a:pt x="281" y="21"/>
                    </a:lnTo>
                    <a:lnTo>
                      <a:pt x="289" y="21"/>
                    </a:lnTo>
                    <a:lnTo>
                      <a:pt x="289" y="0"/>
                    </a:lnTo>
                    <a:lnTo>
                      <a:pt x="675" y="0"/>
                    </a:lnTo>
                    <a:lnTo>
                      <a:pt x="675" y="21"/>
                    </a:lnTo>
                    <a:lnTo>
                      <a:pt x="685" y="21"/>
                    </a:lnTo>
                    <a:lnTo>
                      <a:pt x="685" y="0"/>
                    </a:lnTo>
                    <a:lnTo>
                      <a:pt x="706" y="0"/>
                    </a:lnTo>
                    <a:lnTo>
                      <a:pt x="706" y="21"/>
                    </a:lnTo>
                    <a:lnTo>
                      <a:pt x="710" y="21"/>
                    </a:lnTo>
                    <a:lnTo>
                      <a:pt x="710" y="0"/>
                    </a:lnTo>
                    <a:lnTo>
                      <a:pt x="819" y="0"/>
                    </a:lnTo>
                    <a:lnTo>
                      <a:pt x="819" y="21"/>
                    </a:lnTo>
                    <a:lnTo>
                      <a:pt x="824" y="21"/>
                    </a:lnTo>
                    <a:lnTo>
                      <a:pt x="824" y="0"/>
                    </a:lnTo>
                    <a:lnTo>
                      <a:pt x="889" y="0"/>
                    </a:lnTo>
                    <a:lnTo>
                      <a:pt x="889" y="21"/>
                    </a:lnTo>
                    <a:lnTo>
                      <a:pt x="895" y="21"/>
                    </a:lnTo>
                    <a:lnTo>
                      <a:pt x="895" y="0"/>
                    </a:lnTo>
                    <a:lnTo>
                      <a:pt x="979" y="0"/>
                    </a:lnTo>
                    <a:lnTo>
                      <a:pt x="979" y="21"/>
                    </a:lnTo>
                    <a:lnTo>
                      <a:pt x="987" y="21"/>
                    </a:lnTo>
                    <a:lnTo>
                      <a:pt x="987" y="0"/>
                    </a:lnTo>
                    <a:lnTo>
                      <a:pt x="1222" y="0"/>
                    </a:lnTo>
                    <a:lnTo>
                      <a:pt x="1222" y="21"/>
                    </a:lnTo>
                    <a:lnTo>
                      <a:pt x="1228" y="21"/>
                    </a:lnTo>
                    <a:lnTo>
                      <a:pt x="1228" y="0"/>
                    </a:lnTo>
                    <a:lnTo>
                      <a:pt x="1257" y="0"/>
                    </a:lnTo>
                    <a:lnTo>
                      <a:pt x="1257" y="21"/>
                    </a:lnTo>
                    <a:lnTo>
                      <a:pt x="1260" y="21"/>
                    </a:lnTo>
                    <a:lnTo>
                      <a:pt x="1260" y="4"/>
                    </a:lnTo>
                    <a:lnTo>
                      <a:pt x="1260" y="0"/>
                    </a:lnTo>
                    <a:lnTo>
                      <a:pt x="1352" y="0"/>
                    </a:lnTo>
                    <a:lnTo>
                      <a:pt x="1352" y="4"/>
                    </a:lnTo>
                    <a:lnTo>
                      <a:pt x="1362" y="4"/>
                    </a:lnTo>
                    <a:lnTo>
                      <a:pt x="1362" y="0"/>
                    </a:lnTo>
                    <a:lnTo>
                      <a:pt x="1446" y="0"/>
                    </a:lnTo>
                    <a:lnTo>
                      <a:pt x="1446" y="4"/>
                    </a:lnTo>
                    <a:lnTo>
                      <a:pt x="1446" y="11"/>
                    </a:lnTo>
                    <a:lnTo>
                      <a:pt x="1477" y="11"/>
                    </a:lnTo>
                    <a:lnTo>
                      <a:pt x="1477" y="21"/>
                    </a:lnTo>
                    <a:lnTo>
                      <a:pt x="1478" y="21"/>
                    </a:lnTo>
                    <a:lnTo>
                      <a:pt x="1478" y="0"/>
                    </a:lnTo>
                    <a:lnTo>
                      <a:pt x="1582" y="0"/>
                    </a:lnTo>
                    <a:lnTo>
                      <a:pt x="1582" y="21"/>
                    </a:lnTo>
                    <a:lnTo>
                      <a:pt x="1610" y="21"/>
                    </a:lnTo>
                    <a:lnTo>
                      <a:pt x="1610" y="0"/>
                    </a:lnTo>
                    <a:lnTo>
                      <a:pt x="1783" y="0"/>
                    </a:lnTo>
                    <a:lnTo>
                      <a:pt x="1783" y="21"/>
                    </a:lnTo>
                    <a:lnTo>
                      <a:pt x="1792" y="21"/>
                    </a:lnTo>
                    <a:lnTo>
                      <a:pt x="1792" y="0"/>
                    </a:lnTo>
                    <a:lnTo>
                      <a:pt x="1884" y="0"/>
                    </a:lnTo>
                    <a:lnTo>
                      <a:pt x="1884" y="4"/>
                    </a:lnTo>
                    <a:lnTo>
                      <a:pt x="1903" y="4"/>
                    </a:lnTo>
                    <a:lnTo>
                      <a:pt x="1903" y="11"/>
                    </a:lnTo>
                    <a:lnTo>
                      <a:pt x="1928" y="11"/>
                    </a:lnTo>
                    <a:lnTo>
                      <a:pt x="1928" y="0"/>
                    </a:lnTo>
                    <a:lnTo>
                      <a:pt x="2029" y="0"/>
                    </a:lnTo>
                    <a:lnTo>
                      <a:pt x="2029" y="11"/>
                    </a:lnTo>
                    <a:lnTo>
                      <a:pt x="2037" y="11"/>
                    </a:lnTo>
                    <a:lnTo>
                      <a:pt x="2037" y="19"/>
                    </a:lnTo>
                    <a:lnTo>
                      <a:pt x="2046" y="19"/>
                    </a:lnTo>
                    <a:lnTo>
                      <a:pt x="2046" y="4"/>
                    </a:lnTo>
                    <a:lnTo>
                      <a:pt x="2081" y="4"/>
                    </a:lnTo>
                    <a:lnTo>
                      <a:pt x="2081" y="19"/>
                    </a:lnTo>
                    <a:lnTo>
                      <a:pt x="2087" y="19"/>
                    </a:lnTo>
                    <a:lnTo>
                      <a:pt x="2087" y="21"/>
                    </a:lnTo>
                    <a:lnTo>
                      <a:pt x="2098" y="21"/>
                    </a:lnTo>
                    <a:lnTo>
                      <a:pt x="2098" y="57"/>
                    </a:lnTo>
                    <a:lnTo>
                      <a:pt x="2098" y="57"/>
                    </a:lnTo>
                    <a:lnTo>
                      <a:pt x="2098" y="101"/>
                    </a:lnTo>
                    <a:lnTo>
                      <a:pt x="2098" y="101"/>
                    </a:lnTo>
                    <a:lnTo>
                      <a:pt x="0" y="101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0"/>
                    </a:lnTo>
                    <a:lnTo>
                      <a:pt x="132" y="0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8" name="îS1îḓe">
                <a:extLst>
                  <a:ext uri="{FF2B5EF4-FFF2-40B4-BE49-F238E27FC236}">
                    <a16:creationId xmlns:a16="http://schemas.microsoft.com/office/drawing/2014/main" id="{DCF0BB44-3A18-414B-9C1D-044453448F12}"/>
                  </a:ext>
                </a:extLst>
              </p:cNvPr>
              <p:cNvSpPr/>
              <p:nvPr/>
            </p:nvSpPr>
            <p:spPr bwMode="auto">
              <a:xfrm>
                <a:off x="8670959" y="3091490"/>
                <a:ext cx="409052" cy="1001972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7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9" name="íSļîḋê">
                <a:extLst>
                  <a:ext uri="{FF2B5EF4-FFF2-40B4-BE49-F238E27FC236}">
                    <a16:creationId xmlns:a16="http://schemas.microsoft.com/office/drawing/2014/main" id="{473EC1F2-0CAE-4FEF-9553-92E156F7BA92}"/>
                  </a:ext>
                </a:extLst>
              </p:cNvPr>
              <p:cNvSpPr/>
              <p:nvPr/>
            </p:nvSpPr>
            <p:spPr bwMode="auto">
              <a:xfrm>
                <a:off x="9308135" y="3401745"/>
                <a:ext cx="1471013" cy="691716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0" name="î$ľíďe">
                <a:extLst>
                  <a:ext uri="{FF2B5EF4-FFF2-40B4-BE49-F238E27FC236}">
                    <a16:creationId xmlns:a16="http://schemas.microsoft.com/office/drawing/2014/main" id="{D0B8B3CF-B63D-4119-B64A-85CF27453DE0}"/>
                  </a:ext>
                </a:extLst>
              </p:cNvPr>
              <p:cNvSpPr/>
              <p:nvPr/>
            </p:nvSpPr>
            <p:spPr bwMode="auto">
              <a:xfrm>
                <a:off x="10818481" y="3920532"/>
                <a:ext cx="141595" cy="172929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1" name="íšḷîďê">
                <a:extLst>
                  <a:ext uri="{FF2B5EF4-FFF2-40B4-BE49-F238E27FC236}">
                    <a16:creationId xmlns:a16="http://schemas.microsoft.com/office/drawing/2014/main" id="{C5F0C44D-8BFD-4A72-AF84-E7ADE17A9ED0}"/>
                  </a:ext>
                </a:extLst>
              </p:cNvPr>
              <p:cNvSpPr/>
              <p:nvPr/>
            </p:nvSpPr>
            <p:spPr bwMode="auto">
              <a:xfrm>
                <a:off x="10920748" y="3966306"/>
                <a:ext cx="424785" cy="127155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2" name="ïŝľíḋé">
                <a:extLst>
                  <a:ext uri="{FF2B5EF4-FFF2-40B4-BE49-F238E27FC236}">
                    <a16:creationId xmlns:a16="http://schemas.microsoft.com/office/drawing/2014/main" id="{52897901-DB1C-4DD1-B7EC-AB384793FFA4}"/>
                  </a:ext>
                </a:extLst>
              </p:cNvPr>
              <p:cNvSpPr/>
              <p:nvPr/>
            </p:nvSpPr>
            <p:spPr bwMode="auto">
              <a:xfrm>
                <a:off x="11227534" y="3635708"/>
                <a:ext cx="369717" cy="457753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3" name="íŝḻïďe">
                <a:extLst>
                  <a:ext uri="{FF2B5EF4-FFF2-40B4-BE49-F238E27FC236}">
                    <a16:creationId xmlns:a16="http://schemas.microsoft.com/office/drawing/2014/main" id="{13981F30-297D-491D-9F7E-73DF3E2B9759}"/>
                  </a:ext>
                </a:extLst>
              </p:cNvPr>
              <p:cNvSpPr/>
              <p:nvPr/>
            </p:nvSpPr>
            <p:spPr bwMode="auto">
              <a:xfrm>
                <a:off x="11644455" y="3945962"/>
                <a:ext cx="157327" cy="147500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4" name="iṥlîḍé">
                <a:extLst>
                  <a:ext uri="{FF2B5EF4-FFF2-40B4-BE49-F238E27FC236}">
                    <a16:creationId xmlns:a16="http://schemas.microsoft.com/office/drawing/2014/main" id="{48CA5A8B-4380-4F48-9FAE-907098D9235A}"/>
                  </a:ext>
                </a:extLst>
              </p:cNvPr>
              <p:cNvSpPr/>
              <p:nvPr/>
            </p:nvSpPr>
            <p:spPr bwMode="auto">
              <a:xfrm>
                <a:off x="11825380" y="3895100"/>
                <a:ext cx="149459" cy="198361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5" name="íṡ1idê">
                <a:extLst>
                  <a:ext uri="{FF2B5EF4-FFF2-40B4-BE49-F238E27FC236}">
                    <a16:creationId xmlns:a16="http://schemas.microsoft.com/office/drawing/2014/main" id="{CF86D722-4938-4975-BCB5-92FCBD7CC48F}"/>
                  </a:ext>
                </a:extLst>
              </p:cNvPr>
              <p:cNvSpPr/>
              <p:nvPr/>
            </p:nvSpPr>
            <p:spPr bwMode="auto">
              <a:xfrm>
                <a:off x="8143909" y="3945962"/>
                <a:ext cx="503449" cy="147500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6" name="iṩľiḍè">
                <a:extLst>
                  <a:ext uri="{FF2B5EF4-FFF2-40B4-BE49-F238E27FC236}">
                    <a16:creationId xmlns:a16="http://schemas.microsoft.com/office/drawing/2014/main" id="{5936A4AB-9CD3-4C20-8C01-B77FCA099D01}"/>
                  </a:ext>
                </a:extLst>
              </p:cNvPr>
              <p:cNvSpPr/>
              <p:nvPr/>
            </p:nvSpPr>
            <p:spPr bwMode="auto">
              <a:xfrm>
                <a:off x="5084017" y="3228817"/>
                <a:ext cx="7107983" cy="879905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67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155" name="ïš1îḓê">
              <a:extLst>
                <a:ext uri="{FF2B5EF4-FFF2-40B4-BE49-F238E27FC236}">
                  <a16:creationId xmlns:a16="http://schemas.microsoft.com/office/drawing/2014/main" id="{F7FE0B43-D2AF-475E-BB58-A7FDCD29F93B}"/>
                </a:ext>
              </a:extLst>
            </p:cNvPr>
            <p:cNvGrpSpPr/>
            <p:nvPr/>
          </p:nvGrpSpPr>
          <p:grpSpPr>
            <a:xfrm>
              <a:off x="4375898" y="1162894"/>
              <a:ext cx="3427506" cy="4337870"/>
              <a:chOff x="660400" y="1162894"/>
              <a:chExt cx="3427506" cy="4337870"/>
            </a:xfrm>
          </p:grpSpPr>
          <p:grpSp>
            <p:nvGrpSpPr>
              <p:cNvPr id="164" name="íS1iḑe">
                <a:extLst>
                  <a:ext uri="{FF2B5EF4-FFF2-40B4-BE49-F238E27FC236}">
                    <a16:creationId xmlns:a16="http://schemas.microsoft.com/office/drawing/2014/main" id="{556E4727-8F63-4E40-8DC4-9FA5503576B9}"/>
                  </a:ext>
                </a:extLst>
              </p:cNvPr>
              <p:cNvGrpSpPr/>
              <p:nvPr/>
            </p:nvGrpSpPr>
            <p:grpSpPr>
              <a:xfrm>
                <a:off x="660400" y="1887055"/>
                <a:ext cx="3427506" cy="3613709"/>
                <a:chOff x="660400" y="1644468"/>
                <a:chExt cx="3427506" cy="3613709"/>
              </a:xfrm>
            </p:grpSpPr>
            <p:sp>
              <p:nvSpPr>
                <p:cNvPr id="166" name="islíḓe">
                  <a:extLst>
                    <a:ext uri="{FF2B5EF4-FFF2-40B4-BE49-F238E27FC236}">
                      <a16:creationId xmlns:a16="http://schemas.microsoft.com/office/drawing/2014/main" id="{283A95E2-2EF8-4A30-B9CE-EB3CAC2AD8DD}"/>
                    </a:ext>
                  </a:extLst>
                </p:cNvPr>
                <p:cNvSpPr/>
                <p:nvPr/>
              </p:nvSpPr>
              <p:spPr>
                <a:xfrm>
                  <a:off x="660400" y="1644468"/>
                  <a:ext cx="3427506" cy="462025"/>
                </a:xfrm>
                <a:prstGeom prst="rect">
                  <a:avLst/>
                </a:prstGeom>
                <a:solidFill>
                  <a:schemeClr val="accent1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1600" b="1" dirty="0"/>
                    <a:t>…Text</a:t>
                  </a:r>
                  <a:endParaRPr lang="id-ID" altLang="zh-CN" sz="1600" b="1" dirty="0"/>
                </a:p>
              </p:txBody>
            </p:sp>
            <p:sp>
              <p:nvSpPr>
                <p:cNvPr id="167" name="î$ḷïḋè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660400" y="2106493"/>
                  <a:ext cx="3427506" cy="315168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…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sp>
            <p:nvSpPr>
              <p:cNvPr id="165" name="ïšlíḋè">
                <a:extLst>
                  <a:ext uri="{FF2B5EF4-FFF2-40B4-BE49-F238E27FC236}">
                    <a16:creationId xmlns:a16="http://schemas.microsoft.com/office/drawing/2014/main" id="{E836D83C-013E-4579-ADC2-04EB4677AD26}"/>
                  </a:ext>
                </a:extLst>
              </p:cNvPr>
              <p:cNvSpPr/>
              <p:nvPr/>
            </p:nvSpPr>
            <p:spPr>
              <a:xfrm>
                <a:off x="2103175" y="1162894"/>
                <a:ext cx="541952" cy="590924"/>
              </a:xfrm>
              <a:custGeom>
                <a:avLst/>
                <a:gdLst>
                  <a:gd name="T0" fmla="*/ 156 w 208"/>
                  <a:gd name="T1" fmla="*/ 0 h 224"/>
                  <a:gd name="T2" fmla="*/ 156 w 208"/>
                  <a:gd name="T3" fmla="*/ 8 h 224"/>
                  <a:gd name="T4" fmla="*/ 144 w 208"/>
                  <a:gd name="T5" fmla="*/ 8 h 224"/>
                  <a:gd name="T6" fmla="*/ 144 w 208"/>
                  <a:gd name="T7" fmla="*/ 59 h 224"/>
                  <a:gd name="T8" fmla="*/ 208 w 208"/>
                  <a:gd name="T9" fmla="*/ 204 h 224"/>
                  <a:gd name="T10" fmla="*/ 201 w 208"/>
                  <a:gd name="T11" fmla="*/ 224 h 224"/>
                  <a:gd name="T12" fmla="*/ 7 w 208"/>
                  <a:gd name="T13" fmla="*/ 224 h 224"/>
                  <a:gd name="T14" fmla="*/ 0 w 208"/>
                  <a:gd name="T15" fmla="*/ 204 h 224"/>
                  <a:gd name="T16" fmla="*/ 64 w 208"/>
                  <a:gd name="T17" fmla="*/ 59 h 224"/>
                  <a:gd name="T18" fmla="*/ 64 w 208"/>
                  <a:gd name="T19" fmla="*/ 8 h 224"/>
                  <a:gd name="T20" fmla="*/ 52 w 208"/>
                  <a:gd name="T21" fmla="*/ 8 h 224"/>
                  <a:gd name="T22" fmla="*/ 52 w 208"/>
                  <a:gd name="T23" fmla="*/ 0 h 224"/>
                  <a:gd name="T24" fmla="*/ 156 w 208"/>
                  <a:gd name="T25" fmla="*/ 0 h 224"/>
                  <a:gd name="T26" fmla="*/ 108 w 208"/>
                  <a:gd name="T27" fmla="*/ 174 h 224"/>
                  <a:gd name="T28" fmla="*/ 106 w 208"/>
                  <a:gd name="T29" fmla="*/ 175 h 224"/>
                  <a:gd name="T30" fmla="*/ 22 w 208"/>
                  <a:gd name="T31" fmla="*/ 174 h 224"/>
                  <a:gd name="T32" fmla="*/ 8 w 208"/>
                  <a:gd name="T33" fmla="*/ 204 h 224"/>
                  <a:gd name="T34" fmla="*/ 13 w 208"/>
                  <a:gd name="T35" fmla="*/ 216 h 224"/>
                  <a:gd name="T36" fmla="*/ 195 w 208"/>
                  <a:gd name="T37" fmla="*/ 216 h 224"/>
                  <a:gd name="T38" fmla="*/ 200 w 208"/>
                  <a:gd name="T39" fmla="*/ 204 h 224"/>
                  <a:gd name="T40" fmla="*/ 185 w 208"/>
                  <a:gd name="T41" fmla="*/ 171 h 224"/>
                  <a:gd name="T42" fmla="*/ 108 w 208"/>
                  <a:gd name="T43" fmla="*/ 174 h 224"/>
                  <a:gd name="T44" fmla="*/ 136 w 208"/>
                  <a:gd name="T45" fmla="*/ 8 h 224"/>
                  <a:gd name="T46" fmla="*/ 72 w 208"/>
                  <a:gd name="T47" fmla="*/ 8 h 224"/>
                  <a:gd name="T48" fmla="*/ 72 w 208"/>
                  <a:gd name="T49" fmla="*/ 61 h 224"/>
                  <a:gd name="T50" fmla="*/ 25 w 208"/>
                  <a:gd name="T51" fmla="*/ 166 h 224"/>
                  <a:gd name="T52" fmla="*/ 101 w 208"/>
                  <a:gd name="T53" fmla="*/ 170 h 224"/>
                  <a:gd name="T54" fmla="*/ 102 w 208"/>
                  <a:gd name="T55" fmla="*/ 169 h 224"/>
                  <a:gd name="T56" fmla="*/ 180 w 208"/>
                  <a:gd name="T57" fmla="*/ 160 h 224"/>
                  <a:gd name="T58" fmla="*/ 136 w 208"/>
                  <a:gd name="T59" fmla="*/ 61 h 224"/>
                  <a:gd name="T60" fmla="*/ 136 w 208"/>
                  <a:gd name="T61" fmla="*/ 8 h 224"/>
                  <a:gd name="T62" fmla="*/ 130 w 208"/>
                  <a:gd name="T63" fmla="*/ 104 h 224"/>
                  <a:gd name="T64" fmla="*/ 148 w 208"/>
                  <a:gd name="T65" fmla="*/ 122 h 224"/>
                  <a:gd name="T66" fmla="*/ 130 w 208"/>
                  <a:gd name="T67" fmla="*/ 140 h 224"/>
                  <a:gd name="T68" fmla="*/ 112 w 208"/>
                  <a:gd name="T69" fmla="*/ 122 h 224"/>
                  <a:gd name="T70" fmla="*/ 130 w 208"/>
                  <a:gd name="T71" fmla="*/ 104 h 224"/>
                  <a:gd name="T72" fmla="*/ 130 w 208"/>
                  <a:gd name="T73" fmla="*/ 112 h 224"/>
                  <a:gd name="T74" fmla="*/ 120 w 208"/>
                  <a:gd name="T75" fmla="*/ 122 h 224"/>
                  <a:gd name="T76" fmla="*/ 130 w 208"/>
                  <a:gd name="T77" fmla="*/ 132 h 224"/>
                  <a:gd name="T78" fmla="*/ 140 w 208"/>
                  <a:gd name="T79" fmla="*/ 122 h 224"/>
                  <a:gd name="T80" fmla="*/ 130 w 208"/>
                  <a:gd name="T81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8" h="224">
                    <a:moveTo>
                      <a:pt x="156" y="0"/>
                    </a:moveTo>
                    <a:cubicBezTo>
                      <a:pt x="156" y="8"/>
                      <a:pt x="156" y="8"/>
                      <a:pt x="156" y="8"/>
                    </a:cubicBezTo>
                    <a:cubicBezTo>
                      <a:pt x="144" y="8"/>
                      <a:pt x="144" y="8"/>
                      <a:pt x="144" y="8"/>
                    </a:cubicBezTo>
                    <a:cubicBezTo>
                      <a:pt x="144" y="59"/>
                      <a:pt x="144" y="59"/>
                      <a:pt x="144" y="59"/>
                    </a:cubicBezTo>
                    <a:cubicBezTo>
                      <a:pt x="208" y="204"/>
                      <a:pt x="208" y="204"/>
                      <a:pt x="208" y="204"/>
                    </a:cubicBezTo>
                    <a:cubicBezTo>
                      <a:pt x="201" y="224"/>
                      <a:pt x="201" y="224"/>
                      <a:pt x="201" y="224"/>
                    </a:cubicBezTo>
                    <a:cubicBezTo>
                      <a:pt x="7" y="224"/>
                      <a:pt x="7" y="224"/>
                      <a:pt x="7" y="224"/>
                    </a:cubicBezTo>
                    <a:cubicBezTo>
                      <a:pt x="0" y="204"/>
                      <a:pt x="0" y="204"/>
                      <a:pt x="0" y="204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2" y="0"/>
                      <a:pt x="52" y="0"/>
                      <a:pt x="52" y="0"/>
                    </a:cubicBezTo>
                    <a:lnTo>
                      <a:pt x="156" y="0"/>
                    </a:lnTo>
                    <a:close/>
                    <a:moveTo>
                      <a:pt x="108" y="174"/>
                    </a:moveTo>
                    <a:cubicBezTo>
                      <a:pt x="106" y="175"/>
                      <a:pt x="106" y="175"/>
                      <a:pt x="106" y="175"/>
                    </a:cubicBezTo>
                    <a:cubicBezTo>
                      <a:pt x="83" y="192"/>
                      <a:pt x="50" y="191"/>
                      <a:pt x="22" y="174"/>
                    </a:cubicBezTo>
                    <a:cubicBezTo>
                      <a:pt x="8" y="204"/>
                      <a:pt x="8" y="204"/>
                      <a:pt x="8" y="204"/>
                    </a:cubicBezTo>
                    <a:cubicBezTo>
                      <a:pt x="13" y="216"/>
                      <a:pt x="13" y="216"/>
                      <a:pt x="13" y="216"/>
                    </a:cubicBezTo>
                    <a:cubicBezTo>
                      <a:pt x="195" y="216"/>
                      <a:pt x="195" y="216"/>
                      <a:pt x="195" y="216"/>
                    </a:cubicBezTo>
                    <a:cubicBezTo>
                      <a:pt x="200" y="204"/>
                      <a:pt x="200" y="204"/>
                      <a:pt x="200" y="204"/>
                    </a:cubicBezTo>
                    <a:cubicBezTo>
                      <a:pt x="185" y="171"/>
                      <a:pt x="185" y="171"/>
                      <a:pt x="185" y="171"/>
                    </a:cubicBezTo>
                    <a:cubicBezTo>
                      <a:pt x="159" y="159"/>
                      <a:pt x="128" y="160"/>
                      <a:pt x="108" y="174"/>
                    </a:cubicBezTo>
                    <a:close/>
                    <a:moveTo>
                      <a:pt x="136" y="8"/>
                    </a:moveTo>
                    <a:cubicBezTo>
                      <a:pt x="72" y="8"/>
                      <a:pt x="72" y="8"/>
                      <a:pt x="72" y="8"/>
                    </a:cubicBezTo>
                    <a:cubicBezTo>
                      <a:pt x="72" y="61"/>
                      <a:pt x="72" y="61"/>
                      <a:pt x="72" y="61"/>
                    </a:cubicBezTo>
                    <a:cubicBezTo>
                      <a:pt x="25" y="166"/>
                      <a:pt x="25" y="166"/>
                      <a:pt x="25" y="166"/>
                    </a:cubicBezTo>
                    <a:cubicBezTo>
                      <a:pt x="50" y="182"/>
                      <a:pt x="80" y="183"/>
                      <a:pt x="101" y="170"/>
                    </a:cubicBezTo>
                    <a:cubicBezTo>
                      <a:pt x="102" y="169"/>
                      <a:pt x="102" y="169"/>
                      <a:pt x="102" y="169"/>
                    </a:cubicBezTo>
                    <a:cubicBezTo>
                      <a:pt x="123" y="154"/>
                      <a:pt x="153" y="151"/>
                      <a:pt x="180" y="160"/>
                    </a:cubicBezTo>
                    <a:cubicBezTo>
                      <a:pt x="136" y="61"/>
                      <a:pt x="136" y="61"/>
                      <a:pt x="136" y="61"/>
                    </a:cubicBezTo>
                    <a:lnTo>
                      <a:pt x="136" y="8"/>
                    </a:lnTo>
                    <a:close/>
                    <a:moveTo>
                      <a:pt x="130" y="104"/>
                    </a:moveTo>
                    <a:cubicBezTo>
                      <a:pt x="140" y="104"/>
                      <a:pt x="148" y="112"/>
                      <a:pt x="148" y="122"/>
                    </a:cubicBezTo>
                    <a:cubicBezTo>
                      <a:pt x="148" y="132"/>
                      <a:pt x="140" y="140"/>
                      <a:pt x="130" y="140"/>
                    </a:cubicBezTo>
                    <a:cubicBezTo>
                      <a:pt x="120" y="140"/>
                      <a:pt x="112" y="132"/>
                      <a:pt x="112" y="122"/>
                    </a:cubicBezTo>
                    <a:cubicBezTo>
                      <a:pt x="112" y="112"/>
                      <a:pt x="120" y="104"/>
                      <a:pt x="130" y="104"/>
                    </a:cubicBezTo>
                    <a:close/>
                    <a:moveTo>
                      <a:pt x="130" y="112"/>
                    </a:moveTo>
                    <a:cubicBezTo>
                      <a:pt x="124" y="112"/>
                      <a:pt x="120" y="116"/>
                      <a:pt x="120" y="122"/>
                    </a:cubicBezTo>
                    <a:cubicBezTo>
                      <a:pt x="120" y="128"/>
                      <a:pt x="124" y="132"/>
                      <a:pt x="130" y="132"/>
                    </a:cubicBezTo>
                    <a:cubicBezTo>
                      <a:pt x="136" y="132"/>
                      <a:pt x="140" y="128"/>
                      <a:pt x="140" y="122"/>
                    </a:cubicBezTo>
                    <a:cubicBezTo>
                      <a:pt x="140" y="116"/>
                      <a:pt x="136" y="112"/>
                      <a:pt x="130" y="11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6" name="i$1íḑé">
              <a:extLst>
                <a:ext uri="{FF2B5EF4-FFF2-40B4-BE49-F238E27FC236}">
                  <a16:creationId xmlns:a16="http://schemas.microsoft.com/office/drawing/2014/main" id="{7522BFB5-2B12-47F5-B218-78F471004FE1}"/>
                </a:ext>
              </a:extLst>
            </p:cNvPr>
            <p:cNvGrpSpPr/>
            <p:nvPr/>
          </p:nvGrpSpPr>
          <p:grpSpPr>
            <a:xfrm>
              <a:off x="8091394" y="1162894"/>
              <a:ext cx="3427506" cy="4337870"/>
              <a:chOff x="660400" y="1162894"/>
              <a:chExt cx="3427506" cy="4337870"/>
            </a:xfrm>
          </p:grpSpPr>
          <p:grpSp>
            <p:nvGrpSpPr>
              <p:cNvPr id="160" name="îšḷíḍé">
                <a:extLst>
                  <a:ext uri="{FF2B5EF4-FFF2-40B4-BE49-F238E27FC236}">
                    <a16:creationId xmlns:a16="http://schemas.microsoft.com/office/drawing/2014/main" id="{BC1789E1-5B27-4CEC-9B71-7548865723CD}"/>
                  </a:ext>
                </a:extLst>
              </p:cNvPr>
              <p:cNvGrpSpPr/>
              <p:nvPr/>
            </p:nvGrpSpPr>
            <p:grpSpPr>
              <a:xfrm>
                <a:off x="660400" y="1887055"/>
                <a:ext cx="3427506" cy="3613709"/>
                <a:chOff x="660400" y="1644468"/>
                <a:chExt cx="3427506" cy="3613709"/>
              </a:xfrm>
            </p:grpSpPr>
            <p:sp>
              <p:nvSpPr>
                <p:cNvPr id="162" name="ïṧļidè">
                  <a:extLst>
                    <a:ext uri="{FF2B5EF4-FFF2-40B4-BE49-F238E27FC236}">
                      <a16:creationId xmlns:a16="http://schemas.microsoft.com/office/drawing/2014/main" id="{78CA23B0-FC50-4558-8FA8-0C1B8E962AD5}"/>
                    </a:ext>
                  </a:extLst>
                </p:cNvPr>
                <p:cNvSpPr/>
                <p:nvPr/>
              </p:nvSpPr>
              <p:spPr>
                <a:xfrm>
                  <a:off x="660400" y="1644468"/>
                  <a:ext cx="3427506" cy="462025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1600" b="1" dirty="0"/>
                    <a:t>…Text</a:t>
                  </a:r>
                  <a:endParaRPr lang="id-ID" altLang="zh-CN" sz="1600" b="1" dirty="0"/>
                </a:p>
              </p:txBody>
            </p:sp>
            <p:sp>
              <p:nvSpPr>
                <p:cNvPr id="163" name="îšļîḋê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660400" y="2106493"/>
                  <a:ext cx="3427506" cy="315168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…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sp>
            <p:nvSpPr>
              <p:cNvPr id="161" name="í$lîḓê">
                <a:extLst>
                  <a:ext uri="{FF2B5EF4-FFF2-40B4-BE49-F238E27FC236}">
                    <a16:creationId xmlns:a16="http://schemas.microsoft.com/office/drawing/2014/main" id="{F6332403-B8AD-4EB9-85F5-A76E7989E94D}"/>
                  </a:ext>
                </a:extLst>
              </p:cNvPr>
              <p:cNvSpPr/>
              <p:nvPr/>
            </p:nvSpPr>
            <p:spPr>
              <a:xfrm>
                <a:off x="2108316" y="1162894"/>
                <a:ext cx="531671" cy="590924"/>
              </a:xfrm>
              <a:custGeom>
                <a:avLst/>
                <a:gdLst>
                  <a:gd name="T0" fmla="*/ 104 w 208"/>
                  <a:gd name="T1" fmla="*/ 0 h 228"/>
                  <a:gd name="T2" fmla="*/ 208 w 208"/>
                  <a:gd name="T3" fmla="*/ 104 h 228"/>
                  <a:gd name="T4" fmla="*/ 136 w 208"/>
                  <a:gd name="T5" fmla="*/ 203 h 228"/>
                  <a:gd name="T6" fmla="*/ 145 w 208"/>
                  <a:gd name="T7" fmla="*/ 220 h 228"/>
                  <a:gd name="T8" fmla="*/ 176 w 208"/>
                  <a:gd name="T9" fmla="*/ 220 h 228"/>
                  <a:gd name="T10" fmla="*/ 176 w 208"/>
                  <a:gd name="T11" fmla="*/ 228 h 228"/>
                  <a:gd name="T12" fmla="*/ 32 w 208"/>
                  <a:gd name="T13" fmla="*/ 228 h 228"/>
                  <a:gd name="T14" fmla="*/ 32 w 208"/>
                  <a:gd name="T15" fmla="*/ 220 h 228"/>
                  <a:gd name="T16" fmla="*/ 63 w 208"/>
                  <a:gd name="T17" fmla="*/ 220 h 228"/>
                  <a:gd name="T18" fmla="*/ 72 w 208"/>
                  <a:gd name="T19" fmla="*/ 203 h 228"/>
                  <a:gd name="T20" fmla="*/ 0 w 208"/>
                  <a:gd name="T21" fmla="*/ 106 h 228"/>
                  <a:gd name="T22" fmla="*/ 0 w 208"/>
                  <a:gd name="T23" fmla="*/ 104 h 228"/>
                  <a:gd name="T24" fmla="*/ 104 w 208"/>
                  <a:gd name="T25" fmla="*/ 0 h 228"/>
                  <a:gd name="T26" fmla="*/ 128 w 208"/>
                  <a:gd name="T27" fmla="*/ 205 h 228"/>
                  <a:gd name="T28" fmla="*/ 104 w 208"/>
                  <a:gd name="T29" fmla="*/ 208 h 228"/>
                  <a:gd name="T30" fmla="*/ 80 w 208"/>
                  <a:gd name="T31" fmla="*/ 205 h 228"/>
                  <a:gd name="T32" fmla="*/ 72 w 208"/>
                  <a:gd name="T33" fmla="*/ 220 h 228"/>
                  <a:gd name="T34" fmla="*/ 136 w 208"/>
                  <a:gd name="T35" fmla="*/ 220 h 228"/>
                  <a:gd name="T36" fmla="*/ 128 w 208"/>
                  <a:gd name="T37" fmla="*/ 205 h 228"/>
                  <a:gd name="T38" fmla="*/ 104 w 208"/>
                  <a:gd name="T39" fmla="*/ 8 h 228"/>
                  <a:gd name="T40" fmla="*/ 8 w 208"/>
                  <a:gd name="T41" fmla="*/ 104 h 228"/>
                  <a:gd name="T42" fmla="*/ 104 w 208"/>
                  <a:gd name="T43" fmla="*/ 200 h 228"/>
                  <a:gd name="T44" fmla="*/ 200 w 208"/>
                  <a:gd name="T45" fmla="*/ 104 h 228"/>
                  <a:gd name="T46" fmla="*/ 104 w 208"/>
                  <a:gd name="T47" fmla="*/ 8 h 228"/>
                  <a:gd name="T48" fmla="*/ 104 w 208"/>
                  <a:gd name="T49" fmla="*/ 56 h 228"/>
                  <a:gd name="T50" fmla="*/ 152 w 208"/>
                  <a:gd name="T51" fmla="*/ 104 h 228"/>
                  <a:gd name="T52" fmla="*/ 104 w 208"/>
                  <a:gd name="T53" fmla="*/ 152 h 228"/>
                  <a:gd name="T54" fmla="*/ 56 w 208"/>
                  <a:gd name="T55" fmla="*/ 104 h 228"/>
                  <a:gd name="T56" fmla="*/ 104 w 208"/>
                  <a:gd name="T57" fmla="*/ 56 h 228"/>
                  <a:gd name="T58" fmla="*/ 104 w 208"/>
                  <a:gd name="T59" fmla="*/ 64 h 228"/>
                  <a:gd name="T60" fmla="*/ 64 w 208"/>
                  <a:gd name="T61" fmla="*/ 104 h 228"/>
                  <a:gd name="T62" fmla="*/ 104 w 208"/>
                  <a:gd name="T63" fmla="*/ 144 h 228"/>
                  <a:gd name="T64" fmla="*/ 144 w 208"/>
                  <a:gd name="T65" fmla="*/ 104 h 228"/>
                  <a:gd name="T66" fmla="*/ 104 w 208"/>
                  <a:gd name="T67" fmla="*/ 64 h 228"/>
                  <a:gd name="T68" fmla="*/ 154 w 208"/>
                  <a:gd name="T69" fmla="*/ 48 h 228"/>
                  <a:gd name="T70" fmla="*/ 160 w 208"/>
                  <a:gd name="T71" fmla="*/ 54 h 228"/>
                  <a:gd name="T72" fmla="*/ 154 w 208"/>
                  <a:gd name="T73" fmla="*/ 60 h 228"/>
                  <a:gd name="T74" fmla="*/ 148 w 208"/>
                  <a:gd name="T75" fmla="*/ 54 h 228"/>
                  <a:gd name="T76" fmla="*/ 154 w 208"/>
                  <a:gd name="T77" fmla="*/ 4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8" h="228">
                    <a:moveTo>
                      <a:pt x="104" y="0"/>
                    </a:moveTo>
                    <a:cubicBezTo>
                      <a:pt x="161" y="0"/>
                      <a:pt x="208" y="47"/>
                      <a:pt x="208" y="104"/>
                    </a:cubicBezTo>
                    <a:cubicBezTo>
                      <a:pt x="208" y="150"/>
                      <a:pt x="178" y="190"/>
                      <a:pt x="136" y="203"/>
                    </a:cubicBezTo>
                    <a:cubicBezTo>
                      <a:pt x="145" y="220"/>
                      <a:pt x="145" y="220"/>
                      <a:pt x="145" y="220"/>
                    </a:cubicBezTo>
                    <a:cubicBezTo>
                      <a:pt x="176" y="220"/>
                      <a:pt x="176" y="220"/>
                      <a:pt x="176" y="220"/>
                    </a:cubicBezTo>
                    <a:cubicBezTo>
                      <a:pt x="176" y="228"/>
                      <a:pt x="176" y="228"/>
                      <a:pt x="176" y="228"/>
                    </a:cubicBezTo>
                    <a:cubicBezTo>
                      <a:pt x="32" y="228"/>
                      <a:pt x="32" y="228"/>
                      <a:pt x="32" y="228"/>
                    </a:cubicBezTo>
                    <a:cubicBezTo>
                      <a:pt x="32" y="220"/>
                      <a:pt x="32" y="220"/>
                      <a:pt x="32" y="220"/>
                    </a:cubicBezTo>
                    <a:cubicBezTo>
                      <a:pt x="63" y="220"/>
                      <a:pt x="63" y="220"/>
                      <a:pt x="63" y="220"/>
                    </a:cubicBezTo>
                    <a:cubicBezTo>
                      <a:pt x="72" y="203"/>
                      <a:pt x="72" y="203"/>
                      <a:pt x="72" y="203"/>
                    </a:cubicBezTo>
                    <a:cubicBezTo>
                      <a:pt x="31" y="190"/>
                      <a:pt x="1" y="151"/>
                      <a:pt x="0" y="106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47"/>
                      <a:pt x="47" y="0"/>
                      <a:pt x="104" y="0"/>
                    </a:cubicBezTo>
                    <a:close/>
                    <a:moveTo>
                      <a:pt x="128" y="205"/>
                    </a:moveTo>
                    <a:cubicBezTo>
                      <a:pt x="120" y="207"/>
                      <a:pt x="112" y="208"/>
                      <a:pt x="104" y="208"/>
                    </a:cubicBezTo>
                    <a:cubicBezTo>
                      <a:pt x="96" y="208"/>
                      <a:pt x="88" y="207"/>
                      <a:pt x="80" y="205"/>
                    </a:cubicBezTo>
                    <a:cubicBezTo>
                      <a:pt x="72" y="220"/>
                      <a:pt x="72" y="220"/>
                      <a:pt x="72" y="220"/>
                    </a:cubicBezTo>
                    <a:cubicBezTo>
                      <a:pt x="136" y="220"/>
                      <a:pt x="136" y="220"/>
                      <a:pt x="136" y="220"/>
                    </a:cubicBezTo>
                    <a:lnTo>
                      <a:pt x="128" y="205"/>
                    </a:lnTo>
                    <a:close/>
                    <a:moveTo>
                      <a:pt x="104" y="8"/>
                    </a:moveTo>
                    <a:cubicBezTo>
                      <a:pt x="51" y="8"/>
                      <a:pt x="8" y="51"/>
                      <a:pt x="8" y="104"/>
                    </a:cubicBezTo>
                    <a:cubicBezTo>
                      <a:pt x="8" y="157"/>
                      <a:pt x="51" y="200"/>
                      <a:pt x="104" y="200"/>
                    </a:cubicBezTo>
                    <a:cubicBezTo>
                      <a:pt x="157" y="200"/>
                      <a:pt x="200" y="157"/>
                      <a:pt x="200" y="104"/>
                    </a:cubicBezTo>
                    <a:cubicBezTo>
                      <a:pt x="200" y="51"/>
                      <a:pt x="157" y="8"/>
                      <a:pt x="104" y="8"/>
                    </a:cubicBezTo>
                    <a:close/>
                    <a:moveTo>
                      <a:pt x="104" y="56"/>
                    </a:moveTo>
                    <a:cubicBezTo>
                      <a:pt x="131" y="56"/>
                      <a:pt x="152" y="77"/>
                      <a:pt x="152" y="104"/>
                    </a:cubicBezTo>
                    <a:cubicBezTo>
                      <a:pt x="152" y="131"/>
                      <a:pt x="131" y="152"/>
                      <a:pt x="104" y="152"/>
                    </a:cubicBezTo>
                    <a:cubicBezTo>
                      <a:pt x="77" y="152"/>
                      <a:pt x="56" y="131"/>
                      <a:pt x="56" y="104"/>
                    </a:cubicBezTo>
                    <a:cubicBezTo>
                      <a:pt x="56" y="77"/>
                      <a:pt x="77" y="56"/>
                      <a:pt x="104" y="56"/>
                    </a:cubicBezTo>
                    <a:close/>
                    <a:moveTo>
                      <a:pt x="104" y="64"/>
                    </a:moveTo>
                    <a:cubicBezTo>
                      <a:pt x="82" y="64"/>
                      <a:pt x="64" y="82"/>
                      <a:pt x="64" y="104"/>
                    </a:cubicBezTo>
                    <a:cubicBezTo>
                      <a:pt x="64" y="126"/>
                      <a:pt x="82" y="144"/>
                      <a:pt x="104" y="144"/>
                    </a:cubicBezTo>
                    <a:cubicBezTo>
                      <a:pt x="126" y="144"/>
                      <a:pt x="144" y="126"/>
                      <a:pt x="144" y="104"/>
                    </a:cubicBezTo>
                    <a:cubicBezTo>
                      <a:pt x="144" y="82"/>
                      <a:pt x="126" y="64"/>
                      <a:pt x="104" y="64"/>
                    </a:cubicBezTo>
                    <a:close/>
                    <a:moveTo>
                      <a:pt x="154" y="48"/>
                    </a:moveTo>
                    <a:cubicBezTo>
                      <a:pt x="157" y="48"/>
                      <a:pt x="160" y="51"/>
                      <a:pt x="160" y="54"/>
                    </a:cubicBezTo>
                    <a:cubicBezTo>
                      <a:pt x="160" y="57"/>
                      <a:pt x="157" y="60"/>
                      <a:pt x="154" y="60"/>
                    </a:cubicBezTo>
                    <a:cubicBezTo>
                      <a:pt x="151" y="60"/>
                      <a:pt x="148" y="57"/>
                      <a:pt x="148" y="54"/>
                    </a:cubicBezTo>
                    <a:cubicBezTo>
                      <a:pt x="148" y="51"/>
                      <a:pt x="151" y="48"/>
                      <a:pt x="154" y="48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7" name="íSḷíḋé">
              <a:extLst>
                <a:ext uri="{FF2B5EF4-FFF2-40B4-BE49-F238E27FC236}">
                  <a16:creationId xmlns:a16="http://schemas.microsoft.com/office/drawing/2014/main" id="{8610F6FB-FC4B-4B5F-8A9E-76F149C4B209}"/>
                </a:ext>
              </a:extLst>
            </p:cNvPr>
            <p:cNvGrpSpPr/>
            <p:nvPr/>
          </p:nvGrpSpPr>
          <p:grpSpPr>
            <a:xfrm>
              <a:off x="4231902" y="1924283"/>
              <a:ext cx="3715497" cy="3686431"/>
              <a:chOff x="4231902" y="1887055"/>
              <a:chExt cx="3715497" cy="3686431"/>
            </a:xfrm>
          </p:grpSpPr>
          <p:cxnSp>
            <p:nvCxnSpPr>
              <p:cNvPr id="158" name="直接连接符 157">
                <a:extLst>
                  <a:ext uri="{FF2B5EF4-FFF2-40B4-BE49-F238E27FC236}">
                    <a16:creationId xmlns:a16="http://schemas.microsoft.com/office/drawing/2014/main" id="{BF7AD998-02AB-43C9-8B8B-77E421F38B33}"/>
                  </a:ext>
                </a:extLst>
              </p:cNvPr>
              <p:cNvCxnSpPr/>
              <p:nvPr/>
            </p:nvCxnSpPr>
            <p:spPr>
              <a:xfrm>
                <a:off x="4231902" y="1887055"/>
                <a:ext cx="0" cy="3686431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直接连接符 158">
                <a:extLst>
                  <a:ext uri="{FF2B5EF4-FFF2-40B4-BE49-F238E27FC236}">
                    <a16:creationId xmlns:a16="http://schemas.microsoft.com/office/drawing/2014/main" id="{DA0EC947-6D32-4229-B3B5-90B1C5A7CBC1}"/>
                  </a:ext>
                </a:extLst>
              </p:cNvPr>
              <p:cNvCxnSpPr/>
              <p:nvPr/>
            </p:nvCxnSpPr>
            <p:spPr>
              <a:xfrm>
                <a:off x="7947399" y="1887055"/>
                <a:ext cx="0" cy="3686431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35627207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219200" y="1897063"/>
            <a:ext cx="10845798" cy="1621509"/>
          </a:xfrm>
        </p:spPr>
        <p:txBody>
          <a:bodyPr/>
          <a:lstStyle/>
          <a:p>
            <a:pPr algn="l"/>
            <a:r>
              <a:rPr lang="en-US" altLang="zh-CN" sz="7200" dirty="0">
                <a:solidFill>
                  <a:schemeClr val="accent1"/>
                </a:solidFill>
              </a:rPr>
              <a:t>THANKS</a:t>
            </a:r>
            <a:br>
              <a:rPr lang="en-US" altLang="zh-CN" dirty="0"/>
            </a:br>
            <a:r>
              <a:rPr lang="en-US" altLang="zh-CN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nd Your Slogan Here</a:t>
            </a:r>
            <a:endParaRPr lang="zh-CN" altLang="en-US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219200" y="4203299"/>
            <a:ext cx="10845798" cy="310871"/>
          </a:xfrm>
        </p:spPr>
        <p:txBody>
          <a:bodyPr/>
          <a:lstStyle/>
          <a:p>
            <a:pPr algn="l"/>
            <a:r>
              <a:rPr lang="en-US" altLang="zh-CN" dirty="0">
                <a:solidFill>
                  <a:schemeClr val="accent2"/>
                </a:solidFill>
              </a:rPr>
              <a:t>www.dgut.edu.cn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219202" y="3907028"/>
            <a:ext cx="10845798" cy="296271"/>
          </a:xfrm>
        </p:spPr>
        <p:txBody>
          <a:bodyPr/>
          <a:lstStyle/>
          <a:p>
            <a:pPr algn="l"/>
            <a:r>
              <a:rPr lang="en-US" altLang="zh-CN" dirty="0">
                <a:solidFill>
                  <a:schemeClr val="accent2"/>
                </a:solidFill>
              </a:rPr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445841" y="19557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b="1" spc="100" dirty="0">
                <a:solidFill>
                  <a:schemeClr val="accent1"/>
                </a:solidFill>
                <a:latin typeface="+mj-ea"/>
                <a:ea typeface="+mj-ea"/>
                <a:cs typeface="Arial" panose="020B0604020202020204" pitchFamily="34" charset="0"/>
              </a:rPr>
              <a:t>01</a:t>
            </a:r>
            <a:endParaRPr lang="zh-CN" altLang="en-US" b="1" spc="100" dirty="0">
              <a:solidFill>
                <a:schemeClr val="accent1"/>
              </a:solidFill>
              <a:latin typeface="+mj-ea"/>
              <a:ea typeface="+mj-ea"/>
              <a:cs typeface="Arial" panose="020B0604020202020204" pitchFamily="34" charset="0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4A88FD51-CD6A-4D34-B4C3-0C7DED32D86A}"/>
              </a:ext>
            </a:extLst>
          </p:cNvPr>
          <p:cNvCxnSpPr>
            <a:cxnSpLocks/>
          </p:cNvCxnSpPr>
          <p:nvPr/>
        </p:nvCxnSpPr>
        <p:spPr>
          <a:xfrm>
            <a:off x="2027382" y="3553279"/>
            <a:ext cx="81372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5A56F34-943B-4203-B6C6-2FF6C3A5B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B63A2D2-E6C5-4CE4-A15B-9264951B8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3FFCBCB-07DC-4797-82F6-3E2F323BD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38" name="21989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8CB7BA7-13CF-461A-8D82-814D4ECD7F83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387517" y="1355470"/>
            <a:ext cx="9416966" cy="4558222"/>
            <a:chOff x="1387517" y="1171648"/>
            <a:chExt cx="9416966" cy="4558222"/>
          </a:xfrm>
        </p:grpSpPr>
        <p:grpSp>
          <p:nvGrpSpPr>
            <p:cNvPr id="39" name="iśḷïde">
              <a:extLst>
                <a:ext uri="{FF2B5EF4-FFF2-40B4-BE49-F238E27FC236}">
                  <a16:creationId xmlns:a16="http://schemas.microsoft.com/office/drawing/2014/main" id="{B76DBBB7-073A-4253-89D6-F7A75261DD82}"/>
                </a:ext>
              </a:extLst>
            </p:cNvPr>
            <p:cNvGrpSpPr/>
            <p:nvPr/>
          </p:nvGrpSpPr>
          <p:grpSpPr>
            <a:xfrm>
              <a:off x="1667409" y="1673916"/>
              <a:ext cx="2450471" cy="2133090"/>
              <a:chOff x="1548142" y="1621391"/>
              <a:chExt cx="2450471" cy="2133090"/>
            </a:xfrm>
          </p:grpSpPr>
          <p:sp>
            <p:nvSpPr>
              <p:cNvPr id="50" name="iṣ1íďé">
                <a:extLst>
                  <a:ext uri="{FF2B5EF4-FFF2-40B4-BE49-F238E27FC236}">
                    <a16:creationId xmlns:a16="http://schemas.microsoft.com/office/drawing/2014/main" id="{79E31F5B-4196-46E2-BBB3-29E28A19A417}"/>
                  </a:ext>
                </a:extLst>
              </p:cNvPr>
              <p:cNvSpPr/>
              <p:nvPr/>
            </p:nvSpPr>
            <p:spPr>
              <a:xfrm>
                <a:off x="1548142" y="3084524"/>
                <a:ext cx="2450471" cy="669957"/>
              </a:xfrm>
              <a:prstGeom prst="roundRect">
                <a:avLst/>
              </a:prstGeom>
              <a:solidFill>
                <a:srgbClr val="FFFFFF"/>
              </a:solidFill>
              <a:ln w="190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Copy paste fonts. Choose the only option to retain text……</a:t>
                </a:r>
              </a:p>
            </p:txBody>
          </p:sp>
          <p:sp>
            <p:nvSpPr>
              <p:cNvPr id="51" name="íṩľíḓê">
                <a:extLst>
                  <a:ext uri="{FF2B5EF4-FFF2-40B4-BE49-F238E27FC236}">
                    <a16:creationId xmlns:a16="http://schemas.microsoft.com/office/drawing/2014/main" id="{E2CD00F6-D2AA-4DFC-A250-23C3A0748B5F}"/>
                  </a:ext>
                </a:extLst>
              </p:cNvPr>
              <p:cNvSpPr/>
              <p:nvPr/>
            </p:nvSpPr>
            <p:spPr>
              <a:xfrm>
                <a:off x="2179377" y="1621391"/>
                <a:ext cx="1188000" cy="1188000"/>
              </a:xfrm>
              <a:prstGeom prst="wedgeEllipseCallout">
                <a:avLst>
                  <a:gd name="adj1" fmla="val 44"/>
                  <a:gd name="adj2" fmla="val 64691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altLang="zh-CN" sz="1600" b="1" i="1" dirty="0">
                    <a:solidFill>
                      <a:schemeClr val="tx1"/>
                    </a:solidFill>
                  </a:rPr>
                  <a:t>1,600K</a:t>
                </a:r>
                <a:endParaRPr lang="zh-CN" altLang="en-US" sz="1600" b="1" i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0" name="ïṧľîḓê">
              <a:extLst>
                <a:ext uri="{FF2B5EF4-FFF2-40B4-BE49-F238E27FC236}">
                  <a16:creationId xmlns:a16="http://schemas.microsoft.com/office/drawing/2014/main" id="{AAF3B473-8E07-49DE-8FB4-197954614942}"/>
                </a:ext>
              </a:extLst>
            </p:cNvPr>
            <p:cNvSpPr/>
            <p:nvPr/>
          </p:nvSpPr>
          <p:spPr>
            <a:xfrm>
              <a:off x="4870765" y="3137049"/>
              <a:ext cx="2450471" cy="669957"/>
            </a:xfrm>
            <a:prstGeom prst="roundRect">
              <a:avLst/>
            </a:prstGeom>
            <a:solidFill>
              <a:srgbClr val="FFFFFF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zh-CN" sz="1100" dirty="0">
                  <a:solidFill>
                    <a:schemeClr val="tx1"/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41" name="ïṥḻidé">
              <a:extLst>
                <a:ext uri="{FF2B5EF4-FFF2-40B4-BE49-F238E27FC236}">
                  <a16:creationId xmlns:a16="http://schemas.microsoft.com/office/drawing/2014/main" id="{CA5C22D1-A0CD-43CC-979B-1B2CEBC498A3}"/>
                </a:ext>
              </a:extLst>
            </p:cNvPr>
            <p:cNvSpPr/>
            <p:nvPr/>
          </p:nvSpPr>
          <p:spPr>
            <a:xfrm>
              <a:off x="5295900" y="1171648"/>
              <a:ext cx="1600200" cy="1600200"/>
            </a:xfrm>
            <a:prstGeom prst="wedgeEllipseCallout">
              <a:avLst>
                <a:gd name="adj1" fmla="val 44"/>
                <a:gd name="adj2" fmla="val 64691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1600" b="1" i="1" dirty="0"/>
                <a:t>3,300K</a:t>
              </a:r>
              <a:endParaRPr lang="zh-CN" altLang="en-US" sz="1600" b="1" i="1" dirty="0"/>
            </a:p>
          </p:txBody>
        </p:sp>
        <p:grpSp>
          <p:nvGrpSpPr>
            <p:cNvPr id="42" name="íṥľíḑê">
              <a:extLst>
                <a:ext uri="{FF2B5EF4-FFF2-40B4-BE49-F238E27FC236}">
                  <a16:creationId xmlns:a16="http://schemas.microsoft.com/office/drawing/2014/main" id="{1FB5D11E-6C44-4A6E-B152-421CC9AE53A2}"/>
                </a:ext>
              </a:extLst>
            </p:cNvPr>
            <p:cNvGrpSpPr/>
            <p:nvPr/>
          </p:nvGrpSpPr>
          <p:grpSpPr>
            <a:xfrm>
              <a:off x="8074120" y="1673916"/>
              <a:ext cx="2450471" cy="2133090"/>
              <a:chOff x="8193387" y="1621391"/>
              <a:chExt cx="2450471" cy="2133090"/>
            </a:xfrm>
          </p:grpSpPr>
          <p:sp>
            <p:nvSpPr>
              <p:cNvPr id="48" name="ïṩļiḓé">
                <a:extLst>
                  <a:ext uri="{FF2B5EF4-FFF2-40B4-BE49-F238E27FC236}">
                    <a16:creationId xmlns:a16="http://schemas.microsoft.com/office/drawing/2014/main" id="{50294AC0-11AC-4B55-9818-0CF932904C07}"/>
                  </a:ext>
                </a:extLst>
              </p:cNvPr>
              <p:cNvSpPr/>
              <p:nvPr/>
            </p:nvSpPr>
            <p:spPr>
              <a:xfrm>
                <a:off x="8193387" y="3084524"/>
                <a:ext cx="2450471" cy="669957"/>
              </a:xfrm>
              <a:prstGeom prst="roundRect">
                <a:avLst/>
              </a:prstGeom>
              <a:solidFill>
                <a:srgbClr val="FFFFFF"/>
              </a:solidFill>
              <a:ln w="190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Copy paste fonts. Choose the only option to retain text……</a:t>
                </a:r>
              </a:p>
            </p:txBody>
          </p:sp>
          <p:sp>
            <p:nvSpPr>
              <p:cNvPr id="49" name="iṣļíḍe">
                <a:extLst>
                  <a:ext uri="{FF2B5EF4-FFF2-40B4-BE49-F238E27FC236}">
                    <a16:creationId xmlns:a16="http://schemas.microsoft.com/office/drawing/2014/main" id="{8B925D33-C5B9-4DDB-A3D3-3122CBE4B0AC}"/>
                  </a:ext>
                </a:extLst>
              </p:cNvPr>
              <p:cNvSpPr/>
              <p:nvPr/>
            </p:nvSpPr>
            <p:spPr>
              <a:xfrm>
                <a:off x="8824622" y="1621391"/>
                <a:ext cx="1188000" cy="1188000"/>
              </a:xfrm>
              <a:prstGeom prst="wedgeEllipseCallout">
                <a:avLst>
                  <a:gd name="adj1" fmla="val 44"/>
                  <a:gd name="adj2" fmla="val 64691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altLang="zh-CN" sz="1600" b="1" i="1" dirty="0">
                    <a:solidFill>
                      <a:schemeClr val="tx1"/>
                    </a:solidFill>
                  </a:rPr>
                  <a:t>5,100K</a:t>
                </a:r>
                <a:endParaRPr lang="zh-CN" altLang="en-US" sz="1600" b="1" i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3" name="ïşļídè">
              <a:extLst>
                <a:ext uri="{FF2B5EF4-FFF2-40B4-BE49-F238E27FC236}">
                  <a16:creationId xmlns:a16="http://schemas.microsoft.com/office/drawing/2014/main" id="{0DAA17E5-BE24-4A9B-9EA8-27608EB36B17}"/>
                </a:ext>
              </a:extLst>
            </p:cNvPr>
            <p:cNvSpPr/>
            <p:nvPr/>
          </p:nvSpPr>
          <p:spPr>
            <a:xfrm flipV="1">
              <a:off x="1387517" y="4082139"/>
              <a:ext cx="624689" cy="588476"/>
            </a:xfrm>
            <a:prstGeom prst="corner">
              <a:avLst>
                <a:gd name="adj1" fmla="val 31690"/>
                <a:gd name="adj2" fmla="val 3309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40000" lnSpcReduction="20000"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44" name="ïṩḷïďê">
              <a:extLst>
                <a:ext uri="{FF2B5EF4-FFF2-40B4-BE49-F238E27FC236}">
                  <a16:creationId xmlns:a16="http://schemas.microsoft.com/office/drawing/2014/main" id="{9B0E837B-6148-470F-97BB-3E16190A3BEA}"/>
                </a:ext>
              </a:extLst>
            </p:cNvPr>
            <p:cNvSpPr/>
            <p:nvPr/>
          </p:nvSpPr>
          <p:spPr>
            <a:xfrm flipH="1">
              <a:off x="10179794" y="5141394"/>
              <a:ext cx="624689" cy="588476"/>
            </a:xfrm>
            <a:prstGeom prst="corner">
              <a:avLst>
                <a:gd name="adj1" fmla="val 31690"/>
                <a:gd name="adj2" fmla="val 3309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40000" lnSpcReduction="20000"/>
            </a:bodyPr>
            <a:lstStyle/>
            <a:p>
              <a:pPr algn="ctr"/>
              <a:endParaRPr lang="zh-CN" altLang="en-US"/>
            </a:p>
          </p:txBody>
        </p:sp>
        <p:grpSp>
          <p:nvGrpSpPr>
            <p:cNvPr id="45" name="iṡľíḋé">
              <a:extLst>
                <a:ext uri="{FF2B5EF4-FFF2-40B4-BE49-F238E27FC236}">
                  <a16:creationId xmlns:a16="http://schemas.microsoft.com/office/drawing/2014/main" id="{21CD351B-4769-4F73-B9CA-35C2F31801DC}"/>
                </a:ext>
              </a:extLst>
            </p:cNvPr>
            <p:cNvGrpSpPr/>
            <p:nvPr/>
          </p:nvGrpSpPr>
          <p:grpSpPr>
            <a:xfrm>
              <a:off x="2104993" y="4172207"/>
              <a:ext cx="7982014" cy="1467595"/>
              <a:chOff x="673099" y="4382102"/>
              <a:chExt cx="10845800" cy="1467595"/>
            </a:xfrm>
          </p:grpSpPr>
          <p:sp>
            <p:nvSpPr>
              <p:cNvPr id="46" name="îŝľíḋê">
                <a:extLst>
                  <a:ext uri="{FF2B5EF4-FFF2-40B4-BE49-F238E27FC236}">
                    <a16:creationId xmlns:a16="http://schemas.microsoft.com/office/drawing/2014/main" id="{64DC2847-DA63-4AF3-B015-B0D0DC7F9B4A}"/>
                  </a:ext>
                </a:extLst>
              </p:cNvPr>
              <p:cNvSpPr txBox="1"/>
              <p:nvPr/>
            </p:nvSpPr>
            <p:spPr>
              <a:xfrm>
                <a:off x="673104" y="4382102"/>
                <a:ext cx="10845795" cy="77677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buSzPct val="25000"/>
                </a:pPr>
                <a:r>
                  <a:rPr lang="en-US" sz="2800" b="1" dirty="0"/>
                  <a:t>Unified fonts make reading more fluent.</a:t>
                </a:r>
              </a:p>
            </p:txBody>
          </p:sp>
          <p:sp>
            <p:nvSpPr>
              <p:cNvPr id="47" name="ïSļíḑè">
                <a:extLst>
                  <a:ext uri="{FF2B5EF4-FFF2-40B4-BE49-F238E27FC236}">
                    <a16:creationId xmlns:a16="http://schemas.microsoft.com/office/drawing/2014/main" id="{23E9BBEA-FB54-47C3-BA28-CE85931B8740}"/>
                  </a:ext>
                </a:extLst>
              </p:cNvPr>
              <p:cNvSpPr txBox="1"/>
              <p:nvPr/>
            </p:nvSpPr>
            <p:spPr>
              <a:xfrm>
                <a:off x="673099" y="5158880"/>
                <a:ext cx="10845797" cy="6908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buSzPct val="25000"/>
                </a:pPr>
                <a:r>
                  <a:rPr lang="en-US" sz="1100" dirty="0"/>
                  <a:t>Theme color makes PPT more convenient to change.</a:t>
                </a:r>
              </a:p>
              <a:p>
                <a:pPr algn="ctr">
                  <a:lnSpc>
                    <a:spcPct val="150000"/>
                  </a:lnSpc>
                  <a:buSzPct val="25000"/>
                </a:pPr>
                <a:r>
                  <a:rPr lang="en-US" sz="1100" dirty="0"/>
                  <a:t>Adjust the spacing to adapt to Chinese typesetting, use the reference line in PP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02304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29" name="22105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5849A10-6526-43A6-A6DC-FA84086D966A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2083" y="1130300"/>
            <a:ext cx="10846817" cy="4542166"/>
            <a:chOff x="672083" y="1130300"/>
            <a:chExt cx="10846817" cy="4542166"/>
          </a:xfrm>
        </p:grpSpPr>
        <p:grpSp>
          <p:nvGrpSpPr>
            <p:cNvPr id="30" name="íṥḷiḑé">
              <a:extLst>
                <a:ext uri="{FF2B5EF4-FFF2-40B4-BE49-F238E27FC236}">
                  <a16:creationId xmlns:a16="http://schemas.microsoft.com/office/drawing/2014/main" id="{851E54E6-FBC4-4D1D-A47F-8F5F11EE0EDE}"/>
                </a:ext>
              </a:extLst>
            </p:cNvPr>
            <p:cNvGrpSpPr/>
            <p:nvPr/>
          </p:nvGrpSpPr>
          <p:grpSpPr>
            <a:xfrm>
              <a:off x="4472919" y="1130300"/>
              <a:ext cx="3246162" cy="4542166"/>
              <a:chOff x="4472919" y="1157917"/>
              <a:chExt cx="3246162" cy="4542166"/>
            </a:xfrm>
          </p:grpSpPr>
          <p:sp>
            <p:nvSpPr>
              <p:cNvPr id="79" name="ïṥ1iḓê">
                <a:extLst>
                  <a:ext uri="{FF2B5EF4-FFF2-40B4-BE49-F238E27FC236}">
                    <a16:creationId xmlns:a16="http://schemas.microsoft.com/office/drawing/2014/main" id="{BA45D538-0CFE-4E27-8610-923C95F38A9A}"/>
                  </a:ext>
                </a:extLst>
              </p:cNvPr>
              <p:cNvSpPr/>
              <p:nvPr/>
            </p:nvSpPr>
            <p:spPr bwMode="auto">
              <a:xfrm>
                <a:off x="4472919" y="1598805"/>
                <a:ext cx="3246162" cy="4101278"/>
              </a:xfrm>
              <a:custGeom>
                <a:avLst/>
                <a:gdLst>
                  <a:gd name="T0" fmla="*/ 882 w 882"/>
                  <a:gd name="T1" fmla="*/ 1082 h 1115"/>
                  <a:gd name="T2" fmla="*/ 849 w 882"/>
                  <a:gd name="T3" fmla="*/ 1115 h 1115"/>
                  <a:gd name="T4" fmla="*/ 33 w 882"/>
                  <a:gd name="T5" fmla="*/ 1115 h 1115"/>
                  <a:gd name="T6" fmla="*/ 0 w 882"/>
                  <a:gd name="T7" fmla="*/ 1082 h 1115"/>
                  <a:gd name="T8" fmla="*/ 0 w 882"/>
                  <a:gd name="T9" fmla="*/ 33 h 1115"/>
                  <a:gd name="T10" fmla="*/ 33 w 882"/>
                  <a:gd name="T11" fmla="*/ 0 h 1115"/>
                  <a:gd name="T12" fmla="*/ 849 w 882"/>
                  <a:gd name="T13" fmla="*/ 0 h 1115"/>
                  <a:gd name="T14" fmla="*/ 882 w 882"/>
                  <a:gd name="T15" fmla="*/ 33 h 1115"/>
                  <a:gd name="T16" fmla="*/ 882 w 882"/>
                  <a:gd name="T17" fmla="*/ 1082 h 1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2" h="1115">
                    <a:moveTo>
                      <a:pt x="882" y="1082"/>
                    </a:moveTo>
                    <a:cubicBezTo>
                      <a:pt x="882" y="1100"/>
                      <a:pt x="867" y="1115"/>
                      <a:pt x="849" y="1115"/>
                    </a:cubicBezTo>
                    <a:cubicBezTo>
                      <a:pt x="33" y="1115"/>
                      <a:pt x="33" y="1115"/>
                      <a:pt x="33" y="1115"/>
                    </a:cubicBezTo>
                    <a:cubicBezTo>
                      <a:pt x="15" y="1115"/>
                      <a:pt x="0" y="1100"/>
                      <a:pt x="0" y="1082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15"/>
                      <a:pt x="15" y="0"/>
                      <a:pt x="33" y="0"/>
                    </a:cubicBezTo>
                    <a:cubicBezTo>
                      <a:pt x="849" y="0"/>
                      <a:pt x="849" y="0"/>
                      <a:pt x="849" y="0"/>
                    </a:cubicBezTo>
                    <a:cubicBezTo>
                      <a:pt x="867" y="0"/>
                      <a:pt x="882" y="15"/>
                      <a:pt x="882" y="33"/>
                    </a:cubicBezTo>
                    <a:lnTo>
                      <a:pt x="882" y="108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0" name="iṧ1iďè">
                <a:extLst>
                  <a:ext uri="{FF2B5EF4-FFF2-40B4-BE49-F238E27FC236}">
                    <a16:creationId xmlns:a16="http://schemas.microsoft.com/office/drawing/2014/main" id="{A12C11FF-FBC1-4C18-84D4-F8FE1E96451B}"/>
                  </a:ext>
                </a:extLst>
              </p:cNvPr>
              <p:cNvSpPr/>
              <p:nvPr/>
            </p:nvSpPr>
            <p:spPr bwMode="auto">
              <a:xfrm>
                <a:off x="4704642" y="1857186"/>
                <a:ext cx="2778616" cy="3629631"/>
              </a:xfrm>
              <a:custGeom>
                <a:avLst/>
                <a:gdLst>
                  <a:gd name="T0" fmla="*/ 730 w 755"/>
                  <a:gd name="T1" fmla="*/ 0 h 987"/>
                  <a:gd name="T2" fmla="*/ 25 w 755"/>
                  <a:gd name="T3" fmla="*/ 0 h 987"/>
                  <a:gd name="T4" fmla="*/ 0 w 755"/>
                  <a:gd name="T5" fmla="*/ 25 h 987"/>
                  <a:gd name="T6" fmla="*/ 0 w 755"/>
                  <a:gd name="T7" fmla="*/ 962 h 987"/>
                  <a:gd name="T8" fmla="*/ 25 w 755"/>
                  <a:gd name="T9" fmla="*/ 987 h 987"/>
                  <a:gd name="T10" fmla="*/ 623 w 755"/>
                  <a:gd name="T11" fmla="*/ 987 h 987"/>
                  <a:gd name="T12" fmla="*/ 755 w 755"/>
                  <a:gd name="T13" fmla="*/ 854 h 987"/>
                  <a:gd name="T14" fmla="*/ 755 w 755"/>
                  <a:gd name="T15" fmla="*/ 25 h 987"/>
                  <a:gd name="T16" fmla="*/ 730 w 755"/>
                  <a:gd name="T17" fmla="*/ 0 h 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5" h="987">
                    <a:moveTo>
                      <a:pt x="730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12" y="0"/>
                      <a:pt x="0" y="11"/>
                      <a:pt x="0" y="25"/>
                    </a:cubicBezTo>
                    <a:cubicBezTo>
                      <a:pt x="0" y="962"/>
                      <a:pt x="0" y="962"/>
                      <a:pt x="0" y="962"/>
                    </a:cubicBezTo>
                    <a:cubicBezTo>
                      <a:pt x="0" y="976"/>
                      <a:pt x="12" y="987"/>
                      <a:pt x="25" y="987"/>
                    </a:cubicBezTo>
                    <a:cubicBezTo>
                      <a:pt x="623" y="987"/>
                      <a:pt x="623" y="987"/>
                      <a:pt x="623" y="987"/>
                    </a:cubicBezTo>
                    <a:cubicBezTo>
                      <a:pt x="755" y="854"/>
                      <a:pt x="755" y="854"/>
                      <a:pt x="755" y="854"/>
                    </a:cubicBezTo>
                    <a:cubicBezTo>
                      <a:pt x="755" y="25"/>
                      <a:pt x="755" y="25"/>
                      <a:pt x="755" y="25"/>
                    </a:cubicBezTo>
                    <a:cubicBezTo>
                      <a:pt x="755" y="11"/>
                      <a:pt x="744" y="0"/>
                      <a:pt x="73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1" name="íṧļîďè">
                <a:extLst>
                  <a:ext uri="{FF2B5EF4-FFF2-40B4-BE49-F238E27FC236}">
                    <a16:creationId xmlns:a16="http://schemas.microsoft.com/office/drawing/2014/main" id="{2E513010-1122-4708-A68E-5A8F6F0F5424}"/>
                  </a:ext>
                </a:extLst>
              </p:cNvPr>
              <p:cNvSpPr/>
              <p:nvPr/>
            </p:nvSpPr>
            <p:spPr bwMode="auto">
              <a:xfrm>
                <a:off x="5178339" y="1631615"/>
                <a:ext cx="1833271" cy="352710"/>
              </a:xfrm>
              <a:custGeom>
                <a:avLst/>
                <a:gdLst>
                  <a:gd name="T0" fmla="*/ 467 w 498"/>
                  <a:gd name="T1" fmla="*/ 96 h 96"/>
                  <a:gd name="T2" fmla="*/ 31 w 498"/>
                  <a:gd name="T3" fmla="*/ 96 h 96"/>
                  <a:gd name="T4" fmla="*/ 0 w 498"/>
                  <a:gd name="T5" fmla="*/ 65 h 96"/>
                  <a:gd name="T6" fmla="*/ 0 w 498"/>
                  <a:gd name="T7" fmla="*/ 31 h 96"/>
                  <a:gd name="T8" fmla="*/ 31 w 498"/>
                  <a:gd name="T9" fmla="*/ 0 h 96"/>
                  <a:gd name="T10" fmla="*/ 467 w 498"/>
                  <a:gd name="T11" fmla="*/ 0 h 96"/>
                  <a:gd name="T12" fmla="*/ 498 w 498"/>
                  <a:gd name="T13" fmla="*/ 31 h 96"/>
                  <a:gd name="T14" fmla="*/ 498 w 498"/>
                  <a:gd name="T15" fmla="*/ 65 h 96"/>
                  <a:gd name="T16" fmla="*/ 467 w 498"/>
                  <a:gd name="T17" fmla="*/ 96 h 96"/>
                  <a:gd name="T18" fmla="*/ 31 w 498"/>
                  <a:gd name="T19" fmla="*/ 13 h 96"/>
                  <a:gd name="T20" fmla="*/ 12 w 498"/>
                  <a:gd name="T21" fmla="*/ 31 h 96"/>
                  <a:gd name="T22" fmla="*/ 12 w 498"/>
                  <a:gd name="T23" fmla="*/ 65 h 96"/>
                  <a:gd name="T24" fmla="*/ 31 w 498"/>
                  <a:gd name="T25" fmla="*/ 83 h 96"/>
                  <a:gd name="T26" fmla="*/ 467 w 498"/>
                  <a:gd name="T27" fmla="*/ 83 h 96"/>
                  <a:gd name="T28" fmla="*/ 485 w 498"/>
                  <a:gd name="T29" fmla="*/ 65 h 96"/>
                  <a:gd name="T30" fmla="*/ 485 w 498"/>
                  <a:gd name="T31" fmla="*/ 31 h 96"/>
                  <a:gd name="T32" fmla="*/ 467 w 498"/>
                  <a:gd name="T33" fmla="*/ 13 h 96"/>
                  <a:gd name="T34" fmla="*/ 31 w 498"/>
                  <a:gd name="T35" fmla="*/ 1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8" h="96">
                    <a:moveTo>
                      <a:pt x="467" y="96"/>
                    </a:moveTo>
                    <a:cubicBezTo>
                      <a:pt x="31" y="96"/>
                      <a:pt x="31" y="96"/>
                      <a:pt x="31" y="96"/>
                    </a:cubicBezTo>
                    <a:cubicBezTo>
                      <a:pt x="14" y="96"/>
                      <a:pt x="0" y="82"/>
                      <a:pt x="0" y="65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14"/>
                      <a:pt x="14" y="0"/>
                      <a:pt x="31" y="0"/>
                    </a:cubicBezTo>
                    <a:cubicBezTo>
                      <a:pt x="467" y="0"/>
                      <a:pt x="467" y="0"/>
                      <a:pt x="467" y="0"/>
                    </a:cubicBezTo>
                    <a:cubicBezTo>
                      <a:pt x="484" y="0"/>
                      <a:pt x="498" y="14"/>
                      <a:pt x="498" y="31"/>
                    </a:cubicBezTo>
                    <a:cubicBezTo>
                      <a:pt x="498" y="65"/>
                      <a:pt x="498" y="65"/>
                      <a:pt x="498" y="65"/>
                    </a:cubicBezTo>
                    <a:cubicBezTo>
                      <a:pt x="498" y="82"/>
                      <a:pt x="484" y="96"/>
                      <a:pt x="467" y="96"/>
                    </a:cubicBezTo>
                    <a:close/>
                    <a:moveTo>
                      <a:pt x="31" y="13"/>
                    </a:moveTo>
                    <a:cubicBezTo>
                      <a:pt x="21" y="13"/>
                      <a:pt x="12" y="21"/>
                      <a:pt x="12" y="31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12" y="75"/>
                      <a:pt x="21" y="83"/>
                      <a:pt x="31" y="83"/>
                    </a:cubicBezTo>
                    <a:cubicBezTo>
                      <a:pt x="467" y="83"/>
                      <a:pt x="467" y="83"/>
                      <a:pt x="467" y="83"/>
                    </a:cubicBezTo>
                    <a:cubicBezTo>
                      <a:pt x="477" y="83"/>
                      <a:pt x="485" y="75"/>
                      <a:pt x="485" y="65"/>
                    </a:cubicBezTo>
                    <a:cubicBezTo>
                      <a:pt x="485" y="31"/>
                      <a:pt x="485" y="31"/>
                      <a:pt x="485" y="31"/>
                    </a:cubicBezTo>
                    <a:cubicBezTo>
                      <a:pt x="485" y="21"/>
                      <a:pt x="477" y="13"/>
                      <a:pt x="467" y="13"/>
                    </a:cubicBezTo>
                    <a:lnTo>
                      <a:pt x="31" y="1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2" name="î$ļïḑè">
                <a:extLst>
                  <a:ext uri="{FF2B5EF4-FFF2-40B4-BE49-F238E27FC236}">
                    <a16:creationId xmlns:a16="http://schemas.microsoft.com/office/drawing/2014/main" id="{103953EE-2066-4A8C-89A3-BCE0FC88FF54}"/>
                  </a:ext>
                </a:extLst>
              </p:cNvPr>
              <p:cNvSpPr/>
              <p:nvPr/>
            </p:nvSpPr>
            <p:spPr bwMode="auto">
              <a:xfrm>
                <a:off x="6997256" y="4996713"/>
                <a:ext cx="486002" cy="490103"/>
              </a:xfrm>
              <a:custGeom>
                <a:avLst/>
                <a:gdLst>
                  <a:gd name="T0" fmla="*/ 25 w 132"/>
                  <a:gd name="T1" fmla="*/ 0 h 133"/>
                  <a:gd name="T2" fmla="*/ 0 w 132"/>
                  <a:gd name="T3" fmla="*/ 25 h 133"/>
                  <a:gd name="T4" fmla="*/ 0 w 132"/>
                  <a:gd name="T5" fmla="*/ 133 h 133"/>
                  <a:gd name="T6" fmla="*/ 132 w 132"/>
                  <a:gd name="T7" fmla="*/ 0 h 133"/>
                  <a:gd name="T8" fmla="*/ 25 w 132"/>
                  <a:gd name="T9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133">
                    <a:moveTo>
                      <a:pt x="25" y="0"/>
                    </a:moveTo>
                    <a:cubicBezTo>
                      <a:pt x="11" y="0"/>
                      <a:pt x="0" y="11"/>
                      <a:pt x="0" y="25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132" y="0"/>
                      <a:pt x="132" y="0"/>
                      <a:pt x="132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3" name="ïś1îḑé">
                <a:extLst>
                  <a:ext uri="{FF2B5EF4-FFF2-40B4-BE49-F238E27FC236}">
                    <a16:creationId xmlns:a16="http://schemas.microsoft.com/office/drawing/2014/main" id="{0765F9A4-C528-4113-86CA-936BD22AA30E}"/>
                  </a:ext>
                </a:extLst>
              </p:cNvPr>
              <p:cNvSpPr/>
              <p:nvPr/>
            </p:nvSpPr>
            <p:spPr bwMode="auto">
              <a:xfrm>
                <a:off x="5125022" y="2519541"/>
                <a:ext cx="393723" cy="391673"/>
              </a:xfrm>
              <a:custGeom>
                <a:avLst/>
                <a:gdLst>
                  <a:gd name="T0" fmla="*/ 107 w 107"/>
                  <a:gd name="T1" fmla="*/ 82 h 107"/>
                  <a:gd name="T2" fmla="*/ 82 w 107"/>
                  <a:gd name="T3" fmla="*/ 107 h 107"/>
                  <a:gd name="T4" fmla="*/ 25 w 107"/>
                  <a:gd name="T5" fmla="*/ 107 h 107"/>
                  <a:gd name="T6" fmla="*/ 0 w 107"/>
                  <a:gd name="T7" fmla="*/ 82 h 107"/>
                  <a:gd name="T8" fmla="*/ 0 w 107"/>
                  <a:gd name="T9" fmla="*/ 25 h 107"/>
                  <a:gd name="T10" fmla="*/ 25 w 107"/>
                  <a:gd name="T11" fmla="*/ 0 h 107"/>
                  <a:gd name="T12" fmla="*/ 82 w 107"/>
                  <a:gd name="T13" fmla="*/ 0 h 107"/>
                  <a:gd name="T14" fmla="*/ 107 w 107"/>
                  <a:gd name="T15" fmla="*/ 25 h 107"/>
                  <a:gd name="T16" fmla="*/ 107 w 107"/>
                  <a:gd name="T17" fmla="*/ 8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107">
                    <a:moveTo>
                      <a:pt x="107" y="82"/>
                    </a:moveTo>
                    <a:cubicBezTo>
                      <a:pt x="107" y="96"/>
                      <a:pt x="96" y="107"/>
                      <a:pt x="82" y="107"/>
                    </a:cubicBezTo>
                    <a:cubicBezTo>
                      <a:pt x="25" y="107"/>
                      <a:pt x="25" y="107"/>
                      <a:pt x="25" y="107"/>
                    </a:cubicBezTo>
                    <a:cubicBezTo>
                      <a:pt x="11" y="107"/>
                      <a:pt x="0" y="96"/>
                      <a:pt x="0" y="82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5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96" y="0"/>
                      <a:pt x="107" y="11"/>
                      <a:pt x="107" y="25"/>
                    </a:cubicBezTo>
                    <a:lnTo>
                      <a:pt x="107" y="8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4" name="îṣḻiḍe">
                <a:extLst>
                  <a:ext uri="{FF2B5EF4-FFF2-40B4-BE49-F238E27FC236}">
                    <a16:creationId xmlns:a16="http://schemas.microsoft.com/office/drawing/2014/main" id="{F35E28C0-B842-40D3-8A32-F0C89486655D}"/>
                  </a:ext>
                </a:extLst>
              </p:cNvPr>
              <p:cNvSpPr/>
              <p:nvPr/>
            </p:nvSpPr>
            <p:spPr bwMode="auto">
              <a:xfrm>
                <a:off x="5053250" y="2378048"/>
                <a:ext cx="699269" cy="430634"/>
              </a:xfrm>
              <a:custGeom>
                <a:avLst/>
                <a:gdLst>
                  <a:gd name="T0" fmla="*/ 66 w 190"/>
                  <a:gd name="T1" fmla="*/ 117 h 117"/>
                  <a:gd name="T2" fmla="*/ 64 w 190"/>
                  <a:gd name="T3" fmla="*/ 117 h 117"/>
                  <a:gd name="T4" fmla="*/ 40 w 190"/>
                  <a:gd name="T5" fmla="*/ 105 h 117"/>
                  <a:gd name="T6" fmla="*/ 4 w 190"/>
                  <a:gd name="T7" fmla="*/ 62 h 117"/>
                  <a:gd name="T8" fmla="*/ 5 w 190"/>
                  <a:gd name="T9" fmla="*/ 48 h 117"/>
                  <a:gd name="T10" fmla="*/ 19 w 190"/>
                  <a:gd name="T11" fmla="*/ 49 h 117"/>
                  <a:gd name="T12" fmla="*/ 55 w 190"/>
                  <a:gd name="T13" fmla="*/ 93 h 117"/>
                  <a:gd name="T14" fmla="*/ 65 w 190"/>
                  <a:gd name="T15" fmla="*/ 97 h 117"/>
                  <a:gd name="T16" fmla="*/ 75 w 190"/>
                  <a:gd name="T17" fmla="*/ 94 h 117"/>
                  <a:gd name="T18" fmla="*/ 172 w 190"/>
                  <a:gd name="T19" fmla="*/ 4 h 117"/>
                  <a:gd name="T20" fmla="*/ 186 w 190"/>
                  <a:gd name="T21" fmla="*/ 4 h 117"/>
                  <a:gd name="T22" fmla="*/ 185 w 190"/>
                  <a:gd name="T23" fmla="*/ 18 h 117"/>
                  <a:gd name="T24" fmla="*/ 89 w 190"/>
                  <a:gd name="T25" fmla="*/ 108 h 117"/>
                  <a:gd name="T26" fmla="*/ 66 w 190"/>
                  <a:gd name="T2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117">
                    <a:moveTo>
                      <a:pt x="66" y="117"/>
                    </a:moveTo>
                    <a:cubicBezTo>
                      <a:pt x="65" y="117"/>
                      <a:pt x="65" y="117"/>
                      <a:pt x="64" y="117"/>
                    </a:cubicBezTo>
                    <a:cubicBezTo>
                      <a:pt x="55" y="117"/>
                      <a:pt x="46" y="112"/>
                      <a:pt x="40" y="105"/>
                    </a:cubicBezTo>
                    <a:cubicBezTo>
                      <a:pt x="4" y="62"/>
                      <a:pt x="4" y="62"/>
                      <a:pt x="4" y="62"/>
                    </a:cubicBezTo>
                    <a:cubicBezTo>
                      <a:pt x="0" y="57"/>
                      <a:pt x="1" y="51"/>
                      <a:pt x="5" y="48"/>
                    </a:cubicBezTo>
                    <a:cubicBezTo>
                      <a:pt x="9" y="44"/>
                      <a:pt x="15" y="45"/>
                      <a:pt x="19" y="49"/>
                    </a:cubicBezTo>
                    <a:cubicBezTo>
                      <a:pt x="55" y="93"/>
                      <a:pt x="55" y="93"/>
                      <a:pt x="55" y="93"/>
                    </a:cubicBezTo>
                    <a:cubicBezTo>
                      <a:pt x="58" y="95"/>
                      <a:pt x="61" y="97"/>
                      <a:pt x="65" y="97"/>
                    </a:cubicBezTo>
                    <a:cubicBezTo>
                      <a:pt x="69" y="98"/>
                      <a:pt x="72" y="96"/>
                      <a:pt x="75" y="94"/>
                    </a:cubicBezTo>
                    <a:cubicBezTo>
                      <a:pt x="172" y="4"/>
                      <a:pt x="172" y="4"/>
                      <a:pt x="172" y="4"/>
                    </a:cubicBezTo>
                    <a:cubicBezTo>
                      <a:pt x="176" y="0"/>
                      <a:pt x="182" y="0"/>
                      <a:pt x="186" y="4"/>
                    </a:cubicBezTo>
                    <a:cubicBezTo>
                      <a:pt x="190" y="8"/>
                      <a:pt x="189" y="14"/>
                      <a:pt x="185" y="18"/>
                    </a:cubicBezTo>
                    <a:cubicBezTo>
                      <a:pt x="89" y="108"/>
                      <a:pt x="89" y="108"/>
                      <a:pt x="89" y="108"/>
                    </a:cubicBezTo>
                    <a:cubicBezTo>
                      <a:pt x="82" y="114"/>
                      <a:pt x="74" y="117"/>
                      <a:pt x="66" y="1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5" name="iş1íde">
                <a:extLst>
                  <a:ext uri="{FF2B5EF4-FFF2-40B4-BE49-F238E27FC236}">
                    <a16:creationId xmlns:a16="http://schemas.microsoft.com/office/drawing/2014/main" id="{2993C2E1-D3C2-40C3-B383-00C541D8118D}"/>
                  </a:ext>
                </a:extLst>
              </p:cNvPr>
              <p:cNvSpPr/>
              <p:nvPr/>
            </p:nvSpPr>
            <p:spPr bwMode="auto">
              <a:xfrm>
                <a:off x="5125022" y="3386962"/>
                <a:ext cx="393723" cy="393723"/>
              </a:xfrm>
              <a:custGeom>
                <a:avLst/>
                <a:gdLst>
                  <a:gd name="T0" fmla="*/ 107 w 107"/>
                  <a:gd name="T1" fmla="*/ 82 h 107"/>
                  <a:gd name="T2" fmla="*/ 82 w 107"/>
                  <a:gd name="T3" fmla="*/ 107 h 107"/>
                  <a:gd name="T4" fmla="*/ 25 w 107"/>
                  <a:gd name="T5" fmla="*/ 107 h 107"/>
                  <a:gd name="T6" fmla="*/ 0 w 107"/>
                  <a:gd name="T7" fmla="*/ 82 h 107"/>
                  <a:gd name="T8" fmla="*/ 0 w 107"/>
                  <a:gd name="T9" fmla="*/ 25 h 107"/>
                  <a:gd name="T10" fmla="*/ 25 w 107"/>
                  <a:gd name="T11" fmla="*/ 0 h 107"/>
                  <a:gd name="T12" fmla="*/ 82 w 107"/>
                  <a:gd name="T13" fmla="*/ 0 h 107"/>
                  <a:gd name="T14" fmla="*/ 107 w 107"/>
                  <a:gd name="T15" fmla="*/ 25 h 107"/>
                  <a:gd name="T16" fmla="*/ 107 w 107"/>
                  <a:gd name="T17" fmla="*/ 8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107">
                    <a:moveTo>
                      <a:pt x="107" y="82"/>
                    </a:moveTo>
                    <a:cubicBezTo>
                      <a:pt x="107" y="96"/>
                      <a:pt x="96" y="107"/>
                      <a:pt x="82" y="107"/>
                    </a:cubicBezTo>
                    <a:cubicBezTo>
                      <a:pt x="25" y="107"/>
                      <a:pt x="25" y="107"/>
                      <a:pt x="25" y="107"/>
                    </a:cubicBezTo>
                    <a:cubicBezTo>
                      <a:pt x="11" y="107"/>
                      <a:pt x="0" y="96"/>
                      <a:pt x="0" y="82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5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96" y="0"/>
                      <a:pt x="107" y="11"/>
                      <a:pt x="107" y="25"/>
                    </a:cubicBezTo>
                    <a:lnTo>
                      <a:pt x="107" y="8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6" name="íŝḻidè">
                <a:extLst>
                  <a:ext uri="{FF2B5EF4-FFF2-40B4-BE49-F238E27FC236}">
                    <a16:creationId xmlns:a16="http://schemas.microsoft.com/office/drawing/2014/main" id="{2C7DD494-67A2-45DE-A2A1-A083086142DA}"/>
                  </a:ext>
                </a:extLst>
              </p:cNvPr>
              <p:cNvSpPr/>
              <p:nvPr/>
            </p:nvSpPr>
            <p:spPr bwMode="auto">
              <a:xfrm>
                <a:off x="5053250" y="3247519"/>
                <a:ext cx="699269" cy="430634"/>
              </a:xfrm>
              <a:custGeom>
                <a:avLst/>
                <a:gdLst>
                  <a:gd name="T0" fmla="*/ 66 w 190"/>
                  <a:gd name="T1" fmla="*/ 117 h 117"/>
                  <a:gd name="T2" fmla="*/ 64 w 190"/>
                  <a:gd name="T3" fmla="*/ 117 h 117"/>
                  <a:gd name="T4" fmla="*/ 40 w 190"/>
                  <a:gd name="T5" fmla="*/ 105 h 117"/>
                  <a:gd name="T6" fmla="*/ 4 w 190"/>
                  <a:gd name="T7" fmla="*/ 62 h 117"/>
                  <a:gd name="T8" fmla="*/ 5 w 190"/>
                  <a:gd name="T9" fmla="*/ 48 h 117"/>
                  <a:gd name="T10" fmla="*/ 19 w 190"/>
                  <a:gd name="T11" fmla="*/ 49 h 117"/>
                  <a:gd name="T12" fmla="*/ 55 w 190"/>
                  <a:gd name="T13" fmla="*/ 92 h 117"/>
                  <a:gd name="T14" fmla="*/ 65 w 190"/>
                  <a:gd name="T15" fmla="*/ 97 h 117"/>
                  <a:gd name="T16" fmla="*/ 75 w 190"/>
                  <a:gd name="T17" fmla="*/ 94 h 117"/>
                  <a:gd name="T18" fmla="*/ 172 w 190"/>
                  <a:gd name="T19" fmla="*/ 4 h 117"/>
                  <a:gd name="T20" fmla="*/ 186 w 190"/>
                  <a:gd name="T21" fmla="*/ 4 h 117"/>
                  <a:gd name="T22" fmla="*/ 185 w 190"/>
                  <a:gd name="T23" fmla="*/ 18 h 117"/>
                  <a:gd name="T24" fmla="*/ 89 w 190"/>
                  <a:gd name="T25" fmla="*/ 108 h 117"/>
                  <a:gd name="T26" fmla="*/ 66 w 190"/>
                  <a:gd name="T2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117">
                    <a:moveTo>
                      <a:pt x="66" y="117"/>
                    </a:moveTo>
                    <a:cubicBezTo>
                      <a:pt x="65" y="117"/>
                      <a:pt x="65" y="117"/>
                      <a:pt x="64" y="117"/>
                    </a:cubicBezTo>
                    <a:cubicBezTo>
                      <a:pt x="55" y="116"/>
                      <a:pt x="46" y="112"/>
                      <a:pt x="40" y="105"/>
                    </a:cubicBezTo>
                    <a:cubicBezTo>
                      <a:pt x="4" y="62"/>
                      <a:pt x="4" y="62"/>
                      <a:pt x="4" y="62"/>
                    </a:cubicBezTo>
                    <a:cubicBezTo>
                      <a:pt x="0" y="57"/>
                      <a:pt x="1" y="51"/>
                      <a:pt x="5" y="48"/>
                    </a:cubicBezTo>
                    <a:cubicBezTo>
                      <a:pt x="9" y="44"/>
                      <a:pt x="15" y="45"/>
                      <a:pt x="19" y="49"/>
                    </a:cubicBezTo>
                    <a:cubicBezTo>
                      <a:pt x="55" y="92"/>
                      <a:pt x="55" y="92"/>
                      <a:pt x="55" y="92"/>
                    </a:cubicBezTo>
                    <a:cubicBezTo>
                      <a:pt x="58" y="95"/>
                      <a:pt x="61" y="97"/>
                      <a:pt x="65" y="97"/>
                    </a:cubicBezTo>
                    <a:cubicBezTo>
                      <a:pt x="69" y="98"/>
                      <a:pt x="72" y="96"/>
                      <a:pt x="75" y="94"/>
                    </a:cubicBezTo>
                    <a:cubicBezTo>
                      <a:pt x="172" y="4"/>
                      <a:pt x="172" y="4"/>
                      <a:pt x="172" y="4"/>
                    </a:cubicBezTo>
                    <a:cubicBezTo>
                      <a:pt x="176" y="0"/>
                      <a:pt x="182" y="0"/>
                      <a:pt x="186" y="4"/>
                    </a:cubicBezTo>
                    <a:cubicBezTo>
                      <a:pt x="190" y="8"/>
                      <a:pt x="189" y="14"/>
                      <a:pt x="185" y="18"/>
                    </a:cubicBezTo>
                    <a:cubicBezTo>
                      <a:pt x="89" y="108"/>
                      <a:pt x="89" y="108"/>
                      <a:pt x="89" y="108"/>
                    </a:cubicBezTo>
                    <a:cubicBezTo>
                      <a:pt x="82" y="114"/>
                      <a:pt x="74" y="117"/>
                      <a:pt x="66" y="1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7" name="î$ļîḍé">
                <a:extLst>
                  <a:ext uri="{FF2B5EF4-FFF2-40B4-BE49-F238E27FC236}">
                    <a16:creationId xmlns:a16="http://schemas.microsoft.com/office/drawing/2014/main" id="{49691B88-902E-44B1-B91D-1572E80DF605}"/>
                  </a:ext>
                </a:extLst>
              </p:cNvPr>
              <p:cNvSpPr/>
              <p:nvPr/>
            </p:nvSpPr>
            <p:spPr bwMode="auto">
              <a:xfrm>
                <a:off x="5125022" y="4254382"/>
                <a:ext cx="393723" cy="393723"/>
              </a:xfrm>
              <a:custGeom>
                <a:avLst/>
                <a:gdLst>
                  <a:gd name="T0" fmla="*/ 107 w 107"/>
                  <a:gd name="T1" fmla="*/ 82 h 107"/>
                  <a:gd name="T2" fmla="*/ 82 w 107"/>
                  <a:gd name="T3" fmla="*/ 107 h 107"/>
                  <a:gd name="T4" fmla="*/ 25 w 107"/>
                  <a:gd name="T5" fmla="*/ 107 h 107"/>
                  <a:gd name="T6" fmla="*/ 0 w 107"/>
                  <a:gd name="T7" fmla="*/ 82 h 107"/>
                  <a:gd name="T8" fmla="*/ 0 w 107"/>
                  <a:gd name="T9" fmla="*/ 25 h 107"/>
                  <a:gd name="T10" fmla="*/ 25 w 107"/>
                  <a:gd name="T11" fmla="*/ 0 h 107"/>
                  <a:gd name="T12" fmla="*/ 82 w 107"/>
                  <a:gd name="T13" fmla="*/ 0 h 107"/>
                  <a:gd name="T14" fmla="*/ 107 w 107"/>
                  <a:gd name="T15" fmla="*/ 25 h 107"/>
                  <a:gd name="T16" fmla="*/ 107 w 107"/>
                  <a:gd name="T17" fmla="*/ 8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107">
                    <a:moveTo>
                      <a:pt x="107" y="82"/>
                    </a:moveTo>
                    <a:cubicBezTo>
                      <a:pt x="107" y="96"/>
                      <a:pt x="96" y="107"/>
                      <a:pt x="82" y="107"/>
                    </a:cubicBezTo>
                    <a:cubicBezTo>
                      <a:pt x="25" y="107"/>
                      <a:pt x="25" y="107"/>
                      <a:pt x="25" y="107"/>
                    </a:cubicBezTo>
                    <a:cubicBezTo>
                      <a:pt x="11" y="107"/>
                      <a:pt x="0" y="96"/>
                      <a:pt x="0" y="82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5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96" y="0"/>
                      <a:pt x="107" y="11"/>
                      <a:pt x="107" y="25"/>
                    </a:cubicBezTo>
                    <a:lnTo>
                      <a:pt x="107" y="8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8" name="ïsḻïḋè">
                <a:extLst>
                  <a:ext uri="{FF2B5EF4-FFF2-40B4-BE49-F238E27FC236}">
                    <a16:creationId xmlns:a16="http://schemas.microsoft.com/office/drawing/2014/main" id="{0FF58DE8-B523-4BE5-9417-D40C1D3E755E}"/>
                  </a:ext>
                </a:extLst>
              </p:cNvPr>
              <p:cNvSpPr/>
              <p:nvPr/>
            </p:nvSpPr>
            <p:spPr bwMode="auto">
              <a:xfrm>
                <a:off x="5053250" y="4114938"/>
                <a:ext cx="699269" cy="430634"/>
              </a:xfrm>
              <a:custGeom>
                <a:avLst/>
                <a:gdLst>
                  <a:gd name="T0" fmla="*/ 66 w 190"/>
                  <a:gd name="T1" fmla="*/ 117 h 117"/>
                  <a:gd name="T2" fmla="*/ 64 w 190"/>
                  <a:gd name="T3" fmla="*/ 117 h 117"/>
                  <a:gd name="T4" fmla="*/ 40 w 190"/>
                  <a:gd name="T5" fmla="*/ 105 h 117"/>
                  <a:gd name="T6" fmla="*/ 4 w 190"/>
                  <a:gd name="T7" fmla="*/ 62 h 117"/>
                  <a:gd name="T8" fmla="*/ 5 w 190"/>
                  <a:gd name="T9" fmla="*/ 48 h 117"/>
                  <a:gd name="T10" fmla="*/ 19 w 190"/>
                  <a:gd name="T11" fmla="*/ 49 h 117"/>
                  <a:gd name="T12" fmla="*/ 55 w 190"/>
                  <a:gd name="T13" fmla="*/ 92 h 117"/>
                  <a:gd name="T14" fmla="*/ 65 w 190"/>
                  <a:gd name="T15" fmla="*/ 97 h 117"/>
                  <a:gd name="T16" fmla="*/ 75 w 190"/>
                  <a:gd name="T17" fmla="*/ 94 h 117"/>
                  <a:gd name="T18" fmla="*/ 172 w 190"/>
                  <a:gd name="T19" fmla="*/ 4 h 117"/>
                  <a:gd name="T20" fmla="*/ 186 w 190"/>
                  <a:gd name="T21" fmla="*/ 4 h 117"/>
                  <a:gd name="T22" fmla="*/ 185 w 190"/>
                  <a:gd name="T23" fmla="*/ 18 h 117"/>
                  <a:gd name="T24" fmla="*/ 89 w 190"/>
                  <a:gd name="T25" fmla="*/ 108 h 117"/>
                  <a:gd name="T26" fmla="*/ 66 w 190"/>
                  <a:gd name="T2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0" h="117">
                    <a:moveTo>
                      <a:pt x="66" y="117"/>
                    </a:moveTo>
                    <a:cubicBezTo>
                      <a:pt x="65" y="117"/>
                      <a:pt x="65" y="117"/>
                      <a:pt x="64" y="117"/>
                    </a:cubicBezTo>
                    <a:cubicBezTo>
                      <a:pt x="55" y="116"/>
                      <a:pt x="46" y="112"/>
                      <a:pt x="40" y="105"/>
                    </a:cubicBezTo>
                    <a:cubicBezTo>
                      <a:pt x="4" y="62"/>
                      <a:pt x="4" y="62"/>
                      <a:pt x="4" y="62"/>
                    </a:cubicBezTo>
                    <a:cubicBezTo>
                      <a:pt x="0" y="57"/>
                      <a:pt x="1" y="51"/>
                      <a:pt x="5" y="48"/>
                    </a:cubicBezTo>
                    <a:cubicBezTo>
                      <a:pt x="9" y="44"/>
                      <a:pt x="15" y="45"/>
                      <a:pt x="19" y="49"/>
                    </a:cubicBezTo>
                    <a:cubicBezTo>
                      <a:pt x="55" y="92"/>
                      <a:pt x="55" y="92"/>
                      <a:pt x="55" y="92"/>
                    </a:cubicBezTo>
                    <a:cubicBezTo>
                      <a:pt x="58" y="95"/>
                      <a:pt x="61" y="97"/>
                      <a:pt x="65" y="97"/>
                    </a:cubicBezTo>
                    <a:cubicBezTo>
                      <a:pt x="69" y="98"/>
                      <a:pt x="72" y="96"/>
                      <a:pt x="75" y="94"/>
                    </a:cubicBezTo>
                    <a:cubicBezTo>
                      <a:pt x="172" y="4"/>
                      <a:pt x="172" y="4"/>
                      <a:pt x="172" y="4"/>
                    </a:cubicBezTo>
                    <a:cubicBezTo>
                      <a:pt x="176" y="0"/>
                      <a:pt x="182" y="0"/>
                      <a:pt x="186" y="4"/>
                    </a:cubicBezTo>
                    <a:cubicBezTo>
                      <a:pt x="190" y="8"/>
                      <a:pt x="189" y="14"/>
                      <a:pt x="185" y="18"/>
                    </a:cubicBezTo>
                    <a:cubicBezTo>
                      <a:pt x="89" y="108"/>
                      <a:pt x="89" y="108"/>
                      <a:pt x="89" y="108"/>
                    </a:cubicBezTo>
                    <a:cubicBezTo>
                      <a:pt x="82" y="114"/>
                      <a:pt x="74" y="117"/>
                      <a:pt x="66" y="11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9" name="ïṣ1íḋè">
                <a:extLst>
                  <a:ext uri="{FF2B5EF4-FFF2-40B4-BE49-F238E27FC236}">
                    <a16:creationId xmlns:a16="http://schemas.microsoft.com/office/drawing/2014/main" id="{9037DC33-9F77-4B99-8A3F-72972F54837E}"/>
                  </a:ext>
                </a:extLst>
              </p:cNvPr>
              <p:cNvSpPr/>
              <p:nvPr/>
            </p:nvSpPr>
            <p:spPr bwMode="auto">
              <a:xfrm>
                <a:off x="5750468" y="2661036"/>
                <a:ext cx="1455954" cy="118937"/>
              </a:xfrm>
              <a:custGeom>
                <a:avLst/>
                <a:gdLst>
                  <a:gd name="T0" fmla="*/ 396 w 396"/>
                  <a:gd name="T1" fmla="*/ 23 h 32"/>
                  <a:gd name="T2" fmla="*/ 387 w 396"/>
                  <a:gd name="T3" fmla="*/ 32 h 32"/>
                  <a:gd name="T4" fmla="*/ 8 w 396"/>
                  <a:gd name="T5" fmla="*/ 32 h 32"/>
                  <a:gd name="T6" fmla="*/ 0 w 396"/>
                  <a:gd name="T7" fmla="*/ 23 h 32"/>
                  <a:gd name="T8" fmla="*/ 0 w 396"/>
                  <a:gd name="T9" fmla="*/ 9 h 32"/>
                  <a:gd name="T10" fmla="*/ 8 w 396"/>
                  <a:gd name="T11" fmla="*/ 0 h 32"/>
                  <a:gd name="T12" fmla="*/ 387 w 396"/>
                  <a:gd name="T13" fmla="*/ 0 h 32"/>
                  <a:gd name="T14" fmla="*/ 396 w 396"/>
                  <a:gd name="T15" fmla="*/ 9 h 32"/>
                  <a:gd name="T16" fmla="*/ 396 w 396"/>
                  <a:gd name="T17" fmla="*/ 2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6" h="32">
                    <a:moveTo>
                      <a:pt x="396" y="23"/>
                    </a:moveTo>
                    <a:cubicBezTo>
                      <a:pt x="396" y="28"/>
                      <a:pt x="392" y="32"/>
                      <a:pt x="387" y="32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3" y="32"/>
                      <a:pt x="0" y="28"/>
                      <a:pt x="0" y="23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387" y="0"/>
                      <a:pt x="387" y="0"/>
                      <a:pt x="387" y="0"/>
                    </a:cubicBezTo>
                    <a:cubicBezTo>
                      <a:pt x="392" y="0"/>
                      <a:pt x="396" y="4"/>
                      <a:pt x="396" y="9"/>
                    </a:cubicBezTo>
                    <a:lnTo>
                      <a:pt x="396" y="2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0" name="îṩľîḓê">
                <a:extLst>
                  <a:ext uri="{FF2B5EF4-FFF2-40B4-BE49-F238E27FC236}">
                    <a16:creationId xmlns:a16="http://schemas.microsoft.com/office/drawing/2014/main" id="{601C1233-B6A2-4C9B-81B4-932A4F849B7A}"/>
                  </a:ext>
                </a:extLst>
              </p:cNvPr>
              <p:cNvSpPr/>
              <p:nvPr/>
            </p:nvSpPr>
            <p:spPr bwMode="auto">
              <a:xfrm>
                <a:off x="5750468" y="3526406"/>
                <a:ext cx="1455954" cy="114836"/>
              </a:xfrm>
              <a:custGeom>
                <a:avLst/>
                <a:gdLst>
                  <a:gd name="T0" fmla="*/ 396 w 396"/>
                  <a:gd name="T1" fmla="*/ 23 h 31"/>
                  <a:gd name="T2" fmla="*/ 387 w 396"/>
                  <a:gd name="T3" fmla="*/ 31 h 31"/>
                  <a:gd name="T4" fmla="*/ 8 w 396"/>
                  <a:gd name="T5" fmla="*/ 31 h 31"/>
                  <a:gd name="T6" fmla="*/ 0 w 396"/>
                  <a:gd name="T7" fmla="*/ 23 h 31"/>
                  <a:gd name="T8" fmla="*/ 0 w 396"/>
                  <a:gd name="T9" fmla="*/ 8 h 31"/>
                  <a:gd name="T10" fmla="*/ 8 w 396"/>
                  <a:gd name="T11" fmla="*/ 0 h 31"/>
                  <a:gd name="T12" fmla="*/ 387 w 396"/>
                  <a:gd name="T13" fmla="*/ 0 h 31"/>
                  <a:gd name="T14" fmla="*/ 396 w 396"/>
                  <a:gd name="T15" fmla="*/ 8 h 31"/>
                  <a:gd name="T16" fmla="*/ 396 w 396"/>
                  <a:gd name="T17" fmla="*/ 2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6" h="31">
                    <a:moveTo>
                      <a:pt x="396" y="23"/>
                    </a:moveTo>
                    <a:cubicBezTo>
                      <a:pt x="396" y="27"/>
                      <a:pt x="392" y="31"/>
                      <a:pt x="387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3" y="31"/>
                      <a:pt x="0" y="27"/>
                      <a:pt x="0" y="2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387" y="0"/>
                      <a:pt x="387" y="0"/>
                      <a:pt x="387" y="0"/>
                    </a:cubicBezTo>
                    <a:cubicBezTo>
                      <a:pt x="392" y="0"/>
                      <a:pt x="396" y="4"/>
                      <a:pt x="396" y="8"/>
                    </a:cubicBezTo>
                    <a:lnTo>
                      <a:pt x="396" y="2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1" name="í$líḍê">
                <a:extLst>
                  <a:ext uri="{FF2B5EF4-FFF2-40B4-BE49-F238E27FC236}">
                    <a16:creationId xmlns:a16="http://schemas.microsoft.com/office/drawing/2014/main" id="{D11A489F-90FF-4F02-9EDA-1A083A7772DC}"/>
                  </a:ext>
                </a:extLst>
              </p:cNvPr>
              <p:cNvSpPr/>
              <p:nvPr/>
            </p:nvSpPr>
            <p:spPr bwMode="auto">
              <a:xfrm>
                <a:off x="5750468" y="4387674"/>
                <a:ext cx="1455954" cy="116887"/>
              </a:xfrm>
              <a:custGeom>
                <a:avLst/>
                <a:gdLst>
                  <a:gd name="T0" fmla="*/ 396 w 396"/>
                  <a:gd name="T1" fmla="*/ 23 h 32"/>
                  <a:gd name="T2" fmla="*/ 387 w 396"/>
                  <a:gd name="T3" fmla="*/ 32 h 32"/>
                  <a:gd name="T4" fmla="*/ 8 w 396"/>
                  <a:gd name="T5" fmla="*/ 32 h 32"/>
                  <a:gd name="T6" fmla="*/ 0 w 396"/>
                  <a:gd name="T7" fmla="*/ 23 h 32"/>
                  <a:gd name="T8" fmla="*/ 0 w 396"/>
                  <a:gd name="T9" fmla="*/ 9 h 32"/>
                  <a:gd name="T10" fmla="*/ 8 w 396"/>
                  <a:gd name="T11" fmla="*/ 0 h 32"/>
                  <a:gd name="T12" fmla="*/ 387 w 396"/>
                  <a:gd name="T13" fmla="*/ 0 h 32"/>
                  <a:gd name="T14" fmla="*/ 396 w 396"/>
                  <a:gd name="T15" fmla="*/ 9 h 32"/>
                  <a:gd name="T16" fmla="*/ 396 w 396"/>
                  <a:gd name="T17" fmla="*/ 2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6" h="32">
                    <a:moveTo>
                      <a:pt x="396" y="23"/>
                    </a:moveTo>
                    <a:cubicBezTo>
                      <a:pt x="396" y="28"/>
                      <a:pt x="392" y="32"/>
                      <a:pt x="387" y="32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3" y="32"/>
                      <a:pt x="0" y="28"/>
                      <a:pt x="0" y="23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387" y="0"/>
                      <a:pt x="387" y="0"/>
                      <a:pt x="387" y="0"/>
                    </a:cubicBezTo>
                    <a:cubicBezTo>
                      <a:pt x="392" y="0"/>
                      <a:pt x="396" y="4"/>
                      <a:pt x="396" y="9"/>
                    </a:cubicBezTo>
                    <a:lnTo>
                      <a:pt x="396" y="2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2" name="íŝlîďè">
                <a:extLst>
                  <a:ext uri="{FF2B5EF4-FFF2-40B4-BE49-F238E27FC236}">
                    <a16:creationId xmlns:a16="http://schemas.microsoft.com/office/drawing/2014/main" id="{D5E12D41-7FAB-4178-BEF9-A4BBE64B4410}"/>
                  </a:ext>
                </a:extLst>
              </p:cNvPr>
              <p:cNvSpPr/>
              <p:nvPr/>
            </p:nvSpPr>
            <p:spPr bwMode="auto">
              <a:xfrm>
                <a:off x="5885810" y="1157917"/>
                <a:ext cx="420382" cy="449091"/>
              </a:xfrm>
              <a:custGeom>
                <a:avLst/>
                <a:gdLst>
                  <a:gd name="T0" fmla="*/ 114 w 114"/>
                  <a:gd name="T1" fmla="*/ 122 h 122"/>
                  <a:gd name="T2" fmla="*/ 114 w 114"/>
                  <a:gd name="T3" fmla="*/ 56 h 122"/>
                  <a:gd name="T4" fmla="*/ 57 w 114"/>
                  <a:gd name="T5" fmla="*/ 0 h 122"/>
                  <a:gd name="T6" fmla="*/ 0 w 114"/>
                  <a:gd name="T7" fmla="*/ 56 h 122"/>
                  <a:gd name="T8" fmla="*/ 0 w 114"/>
                  <a:gd name="T9" fmla="*/ 122 h 122"/>
                  <a:gd name="T10" fmla="*/ 114 w 114"/>
                  <a:gd name="T11" fmla="*/ 122 h 122"/>
                  <a:gd name="T12" fmla="*/ 57 w 114"/>
                  <a:gd name="T13" fmla="*/ 26 h 122"/>
                  <a:gd name="T14" fmla="*/ 83 w 114"/>
                  <a:gd name="T15" fmla="*/ 52 h 122"/>
                  <a:gd name="T16" fmla="*/ 57 w 114"/>
                  <a:gd name="T17" fmla="*/ 79 h 122"/>
                  <a:gd name="T18" fmla="*/ 31 w 114"/>
                  <a:gd name="T19" fmla="*/ 52 h 122"/>
                  <a:gd name="T20" fmla="*/ 57 w 114"/>
                  <a:gd name="T21" fmla="*/ 2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4" h="122">
                    <a:moveTo>
                      <a:pt x="114" y="122"/>
                    </a:moveTo>
                    <a:cubicBezTo>
                      <a:pt x="114" y="56"/>
                      <a:pt x="114" y="56"/>
                      <a:pt x="114" y="56"/>
                    </a:cubicBezTo>
                    <a:cubicBezTo>
                      <a:pt x="114" y="25"/>
                      <a:pt x="88" y="0"/>
                      <a:pt x="57" y="0"/>
                    </a:cubicBezTo>
                    <a:cubicBezTo>
                      <a:pt x="25" y="0"/>
                      <a:pt x="0" y="25"/>
                      <a:pt x="0" y="56"/>
                    </a:cubicBezTo>
                    <a:cubicBezTo>
                      <a:pt x="0" y="122"/>
                      <a:pt x="0" y="122"/>
                      <a:pt x="0" y="122"/>
                    </a:cubicBezTo>
                    <a:lnTo>
                      <a:pt x="114" y="122"/>
                    </a:lnTo>
                    <a:close/>
                    <a:moveTo>
                      <a:pt x="57" y="26"/>
                    </a:moveTo>
                    <a:cubicBezTo>
                      <a:pt x="71" y="26"/>
                      <a:pt x="83" y="38"/>
                      <a:pt x="83" y="52"/>
                    </a:cubicBezTo>
                    <a:cubicBezTo>
                      <a:pt x="83" y="67"/>
                      <a:pt x="71" y="79"/>
                      <a:pt x="57" y="79"/>
                    </a:cubicBezTo>
                    <a:cubicBezTo>
                      <a:pt x="42" y="79"/>
                      <a:pt x="31" y="67"/>
                      <a:pt x="31" y="52"/>
                    </a:cubicBezTo>
                    <a:cubicBezTo>
                      <a:pt x="31" y="38"/>
                      <a:pt x="42" y="26"/>
                      <a:pt x="57" y="2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3" name="i$líḋè">
                <a:extLst>
                  <a:ext uri="{FF2B5EF4-FFF2-40B4-BE49-F238E27FC236}">
                    <a16:creationId xmlns:a16="http://schemas.microsoft.com/office/drawing/2014/main" id="{BB82A71E-4551-4C06-BFC9-B223E6010789}"/>
                  </a:ext>
                </a:extLst>
              </p:cNvPr>
              <p:cNvSpPr/>
              <p:nvPr/>
            </p:nvSpPr>
            <p:spPr bwMode="auto">
              <a:xfrm>
                <a:off x="5325985" y="1496273"/>
                <a:ext cx="1537979" cy="315798"/>
              </a:xfrm>
              <a:custGeom>
                <a:avLst/>
                <a:gdLst>
                  <a:gd name="T0" fmla="*/ 418 w 418"/>
                  <a:gd name="T1" fmla="*/ 62 h 86"/>
                  <a:gd name="T2" fmla="*/ 393 w 418"/>
                  <a:gd name="T3" fmla="*/ 86 h 86"/>
                  <a:gd name="T4" fmla="*/ 25 w 418"/>
                  <a:gd name="T5" fmla="*/ 86 h 86"/>
                  <a:gd name="T6" fmla="*/ 0 w 418"/>
                  <a:gd name="T7" fmla="*/ 62 h 86"/>
                  <a:gd name="T8" fmla="*/ 0 w 418"/>
                  <a:gd name="T9" fmla="*/ 25 h 86"/>
                  <a:gd name="T10" fmla="*/ 25 w 418"/>
                  <a:gd name="T11" fmla="*/ 0 h 86"/>
                  <a:gd name="T12" fmla="*/ 393 w 418"/>
                  <a:gd name="T13" fmla="*/ 0 h 86"/>
                  <a:gd name="T14" fmla="*/ 418 w 418"/>
                  <a:gd name="T15" fmla="*/ 25 h 86"/>
                  <a:gd name="T16" fmla="*/ 418 w 418"/>
                  <a:gd name="T17" fmla="*/ 6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8" h="86">
                    <a:moveTo>
                      <a:pt x="418" y="62"/>
                    </a:moveTo>
                    <a:cubicBezTo>
                      <a:pt x="418" y="75"/>
                      <a:pt x="406" y="86"/>
                      <a:pt x="393" y="86"/>
                    </a:cubicBezTo>
                    <a:cubicBezTo>
                      <a:pt x="25" y="86"/>
                      <a:pt x="25" y="86"/>
                      <a:pt x="25" y="86"/>
                    </a:cubicBezTo>
                    <a:cubicBezTo>
                      <a:pt x="11" y="86"/>
                      <a:pt x="0" y="75"/>
                      <a:pt x="0" y="62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2"/>
                      <a:pt x="11" y="0"/>
                      <a:pt x="25" y="0"/>
                    </a:cubicBezTo>
                    <a:cubicBezTo>
                      <a:pt x="393" y="0"/>
                      <a:pt x="393" y="0"/>
                      <a:pt x="393" y="0"/>
                    </a:cubicBezTo>
                    <a:cubicBezTo>
                      <a:pt x="406" y="0"/>
                      <a:pt x="418" y="12"/>
                      <a:pt x="418" y="25"/>
                    </a:cubicBezTo>
                    <a:lnTo>
                      <a:pt x="418" y="62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grpSp>
          <p:nvGrpSpPr>
            <p:cNvPr id="31" name="îŝļïḑê">
              <a:extLst>
                <a:ext uri="{FF2B5EF4-FFF2-40B4-BE49-F238E27FC236}">
                  <a16:creationId xmlns:a16="http://schemas.microsoft.com/office/drawing/2014/main" id="{E2B15FE5-C383-45C0-A3C0-75693D1B53F6}"/>
                </a:ext>
              </a:extLst>
            </p:cNvPr>
            <p:cNvGrpSpPr/>
            <p:nvPr/>
          </p:nvGrpSpPr>
          <p:grpSpPr>
            <a:xfrm>
              <a:off x="672083" y="1968103"/>
              <a:ext cx="2944702" cy="3340894"/>
              <a:chOff x="672083" y="1968103"/>
              <a:chExt cx="2944702" cy="3340894"/>
            </a:xfrm>
          </p:grpSpPr>
          <p:grpSp>
            <p:nvGrpSpPr>
              <p:cNvPr id="44" name="işľiḋè">
                <a:extLst>
                  <a:ext uri="{FF2B5EF4-FFF2-40B4-BE49-F238E27FC236}">
                    <a16:creationId xmlns:a16="http://schemas.microsoft.com/office/drawing/2014/main" id="{65BEF3C3-27C2-41DD-BF26-8BC4B6E34A26}"/>
                  </a:ext>
                </a:extLst>
              </p:cNvPr>
              <p:cNvGrpSpPr/>
              <p:nvPr/>
            </p:nvGrpSpPr>
            <p:grpSpPr>
              <a:xfrm>
                <a:off x="672083" y="1968103"/>
                <a:ext cx="2944702" cy="938778"/>
                <a:chOff x="673100" y="1365011"/>
                <a:chExt cx="3613150" cy="938778"/>
              </a:xfrm>
            </p:grpSpPr>
            <p:sp>
              <p:nvSpPr>
                <p:cNvPr id="77" name="i$ļîḑè">
                  <a:extLst>
                    <a:ext uri="{FF2B5EF4-FFF2-40B4-BE49-F238E27FC236}">
                      <a16:creationId xmlns:a16="http://schemas.microsoft.com/office/drawing/2014/main" id="{3495B739-E5A7-4F4A-95FD-24BDFE4B18B1}"/>
                    </a:ext>
                  </a:extLst>
                </p:cNvPr>
                <p:cNvSpPr txBox="1"/>
                <p:nvPr/>
              </p:nvSpPr>
              <p:spPr bwMode="auto">
                <a:xfrm>
                  <a:off x="673100" y="1365011"/>
                  <a:ext cx="3613150" cy="3975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01.Text here</a:t>
                  </a:r>
                </a:p>
              </p:txBody>
            </p:sp>
            <p:sp>
              <p:nvSpPr>
                <p:cNvPr id="78" name="ïşľîḑé">
                  <a:extLst>
                    <a:ext uri="{FF2B5EF4-FFF2-40B4-BE49-F238E27FC236}">
                      <a16:creationId xmlns:a16="http://schemas.microsoft.com/office/drawing/2014/main" id="{AC321F9B-F99D-44D6-95EE-4CF3F8A760F8}"/>
                    </a:ext>
                  </a:extLst>
                </p:cNvPr>
                <p:cNvSpPr/>
                <p:nvPr/>
              </p:nvSpPr>
              <p:spPr bwMode="auto">
                <a:xfrm>
                  <a:off x="673100" y="1762570"/>
                  <a:ext cx="3613150" cy="54121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</p:grpSp>
          <p:grpSp>
            <p:nvGrpSpPr>
              <p:cNvPr id="45" name="ï$ľíḋe">
                <a:extLst>
                  <a:ext uri="{FF2B5EF4-FFF2-40B4-BE49-F238E27FC236}">
                    <a16:creationId xmlns:a16="http://schemas.microsoft.com/office/drawing/2014/main" id="{709784A6-542C-46D5-8CAE-7A3641C4BAF9}"/>
                  </a:ext>
                </a:extLst>
              </p:cNvPr>
              <p:cNvGrpSpPr/>
              <p:nvPr/>
            </p:nvGrpSpPr>
            <p:grpSpPr>
              <a:xfrm>
                <a:off x="672083" y="3169161"/>
                <a:ext cx="2944702" cy="938778"/>
                <a:chOff x="673100" y="1365011"/>
                <a:chExt cx="3613150" cy="938778"/>
              </a:xfrm>
            </p:grpSpPr>
            <p:sp>
              <p:nvSpPr>
                <p:cNvPr id="51" name="iSľîḋe">
                  <a:extLst>
                    <a:ext uri="{FF2B5EF4-FFF2-40B4-BE49-F238E27FC236}">
                      <a16:creationId xmlns:a16="http://schemas.microsoft.com/office/drawing/2014/main" id="{3495B739-E5A7-4F4A-95FD-24BDFE4B18B1}"/>
                    </a:ext>
                  </a:extLst>
                </p:cNvPr>
                <p:cNvSpPr txBox="1"/>
                <p:nvPr/>
              </p:nvSpPr>
              <p:spPr bwMode="auto">
                <a:xfrm>
                  <a:off x="673100" y="1365011"/>
                  <a:ext cx="3613150" cy="3975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02.Text here</a:t>
                  </a:r>
                </a:p>
              </p:txBody>
            </p:sp>
            <p:sp>
              <p:nvSpPr>
                <p:cNvPr id="52" name="íśļiḍé">
                  <a:extLst>
                    <a:ext uri="{FF2B5EF4-FFF2-40B4-BE49-F238E27FC236}">
                      <a16:creationId xmlns:a16="http://schemas.microsoft.com/office/drawing/2014/main" id="{AC321F9B-F99D-44D6-95EE-4CF3F8A760F8}"/>
                    </a:ext>
                  </a:extLst>
                </p:cNvPr>
                <p:cNvSpPr/>
                <p:nvPr/>
              </p:nvSpPr>
              <p:spPr bwMode="auto">
                <a:xfrm>
                  <a:off x="673100" y="1762570"/>
                  <a:ext cx="3613150" cy="54121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</p:grpSp>
          <p:grpSp>
            <p:nvGrpSpPr>
              <p:cNvPr id="46" name="î$lîdè">
                <a:extLst>
                  <a:ext uri="{FF2B5EF4-FFF2-40B4-BE49-F238E27FC236}">
                    <a16:creationId xmlns:a16="http://schemas.microsoft.com/office/drawing/2014/main" id="{828CB2FA-C173-44D5-8AE4-A7281A407425}"/>
                  </a:ext>
                </a:extLst>
              </p:cNvPr>
              <p:cNvGrpSpPr/>
              <p:nvPr/>
            </p:nvGrpSpPr>
            <p:grpSpPr>
              <a:xfrm>
                <a:off x="672083" y="4370219"/>
                <a:ext cx="2944702" cy="938778"/>
                <a:chOff x="673100" y="1365011"/>
                <a:chExt cx="3613150" cy="938778"/>
              </a:xfrm>
            </p:grpSpPr>
            <p:sp>
              <p:nvSpPr>
                <p:cNvPr id="49" name="í$ḷîḋe">
                  <a:extLst>
                    <a:ext uri="{FF2B5EF4-FFF2-40B4-BE49-F238E27FC236}">
                      <a16:creationId xmlns:a16="http://schemas.microsoft.com/office/drawing/2014/main" id="{3495B739-E5A7-4F4A-95FD-24BDFE4B18B1}"/>
                    </a:ext>
                  </a:extLst>
                </p:cNvPr>
                <p:cNvSpPr txBox="1"/>
                <p:nvPr/>
              </p:nvSpPr>
              <p:spPr bwMode="auto">
                <a:xfrm>
                  <a:off x="673100" y="1365011"/>
                  <a:ext cx="3613150" cy="3975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03.Text here</a:t>
                  </a:r>
                </a:p>
              </p:txBody>
            </p:sp>
            <p:sp>
              <p:nvSpPr>
                <p:cNvPr id="50" name="iś1iḑé">
                  <a:extLst>
                    <a:ext uri="{FF2B5EF4-FFF2-40B4-BE49-F238E27FC236}">
                      <a16:creationId xmlns:a16="http://schemas.microsoft.com/office/drawing/2014/main" id="{AC321F9B-F99D-44D6-95EE-4CF3F8A760F8}"/>
                    </a:ext>
                  </a:extLst>
                </p:cNvPr>
                <p:cNvSpPr/>
                <p:nvPr/>
              </p:nvSpPr>
              <p:spPr bwMode="auto">
                <a:xfrm>
                  <a:off x="673100" y="1762570"/>
                  <a:ext cx="3613150" cy="54121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</p:grpSp>
          <p:cxnSp>
            <p:nvCxnSpPr>
              <p:cNvPr id="47" name="直接连接符 46">
                <a:extLst>
                  <a:ext uri="{FF2B5EF4-FFF2-40B4-BE49-F238E27FC236}">
                    <a16:creationId xmlns:a16="http://schemas.microsoft.com/office/drawing/2014/main" id="{E28D9CB6-E8ED-450D-AE24-77CBDC4DDA9E}"/>
                  </a:ext>
                </a:extLst>
              </p:cNvPr>
              <p:cNvCxnSpPr/>
              <p:nvPr/>
            </p:nvCxnSpPr>
            <p:spPr>
              <a:xfrm>
                <a:off x="673100" y="3038021"/>
                <a:ext cx="2816225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接连接符 47">
                <a:extLst>
                  <a:ext uri="{FF2B5EF4-FFF2-40B4-BE49-F238E27FC236}">
                    <a16:creationId xmlns:a16="http://schemas.microsoft.com/office/drawing/2014/main" id="{8735D806-FBB1-4BB8-94B4-BA2B73BA65AB}"/>
                  </a:ext>
                </a:extLst>
              </p:cNvPr>
              <p:cNvCxnSpPr/>
              <p:nvPr/>
            </p:nvCxnSpPr>
            <p:spPr>
              <a:xfrm>
                <a:off x="673100" y="4239079"/>
                <a:ext cx="2816225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ísḻîḑè">
              <a:extLst>
                <a:ext uri="{FF2B5EF4-FFF2-40B4-BE49-F238E27FC236}">
                  <a16:creationId xmlns:a16="http://schemas.microsoft.com/office/drawing/2014/main" id="{1E1F5844-D62E-41D5-8AEE-425181BE3A75}"/>
                </a:ext>
              </a:extLst>
            </p:cNvPr>
            <p:cNvGrpSpPr/>
            <p:nvPr/>
          </p:nvGrpSpPr>
          <p:grpSpPr>
            <a:xfrm flipH="1">
              <a:off x="8574198" y="1968103"/>
              <a:ext cx="2944702" cy="3340894"/>
              <a:chOff x="672083" y="1968103"/>
              <a:chExt cx="2944702" cy="3340894"/>
            </a:xfrm>
          </p:grpSpPr>
          <p:grpSp>
            <p:nvGrpSpPr>
              <p:cNvPr id="33" name="iṥļiḍé">
                <a:extLst>
                  <a:ext uri="{FF2B5EF4-FFF2-40B4-BE49-F238E27FC236}">
                    <a16:creationId xmlns:a16="http://schemas.microsoft.com/office/drawing/2014/main" id="{709D729A-11CE-4386-BAEE-75AB3FD6B1D3}"/>
                  </a:ext>
                </a:extLst>
              </p:cNvPr>
              <p:cNvGrpSpPr/>
              <p:nvPr/>
            </p:nvGrpSpPr>
            <p:grpSpPr>
              <a:xfrm>
                <a:off x="672083" y="1968103"/>
                <a:ext cx="2944702" cy="938778"/>
                <a:chOff x="673100" y="1365011"/>
                <a:chExt cx="3613150" cy="938778"/>
              </a:xfrm>
            </p:grpSpPr>
            <p:sp>
              <p:nvSpPr>
                <p:cNvPr id="42" name="iṧḷïḑè">
                  <a:extLst>
                    <a:ext uri="{FF2B5EF4-FFF2-40B4-BE49-F238E27FC236}">
                      <a16:creationId xmlns:a16="http://schemas.microsoft.com/office/drawing/2014/main" id="{3495B739-E5A7-4F4A-95FD-24BDFE4B18B1}"/>
                    </a:ext>
                  </a:extLst>
                </p:cNvPr>
                <p:cNvSpPr txBox="1"/>
                <p:nvPr/>
              </p:nvSpPr>
              <p:spPr bwMode="auto">
                <a:xfrm>
                  <a:off x="673100" y="1365011"/>
                  <a:ext cx="3613150" cy="3975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04.Text here</a:t>
                  </a:r>
                </a:p>
              </p:txBody>
            </p:sp>
            <p:sp>
              <p:nvSpPr>
                <p:cNvPr id="43" name="îŝ1îḑê">
                  <a:extLst>
                    <a:ext uri="{FF2B5EF4-FFF2-40B4-BE49-F238E27FC236}">
                      <a16:creationId xmlns:a16="http://schemas.microsoft.com/office/drawing/2014/main" id="{AC321F9B-F99D-44D6-95EE-4CF3F8A760F8}"/>
                    </a:ext>
                  </a:extLst>
                </p:cNvPr>
                <p:cNvSpPr/>
                <p:nvPr/>
              </p:nvSpPr>
              <p:spPr bwMode="auto">
                <a:xfrm>
                  <a:off x="673100" y="1762570"/>
                  <a:ext cx="3613150" cy="54121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3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</p:grpSp>
          <p:grpSp>
            <p:nvGrpSpPr>
              <p:cNvPr id="34" name="îŝḷïdé">
                <a:extLst>
                  <a:ext uri="{FF2B5EF4-FFF2-40B4-BE49-F238E27FC236}">
                    <a16:creationId xmlns:a16="http://schemas.microsoft.com/office/drawing/2014/main" id="{463887E5-3E67-46EB-907C-172761A42D28}"/>
                  </a:ext>
                </a:extLst>
              </p:cNvPr>
              <p:cNvGrpSpPr/>
              <p:nvPr/>
            </p:nvGrpSpPr>
            <p:grpSpPr>
              <a:xfrm>
                <a:off x="672083" y="3169161"/>
                <a:ext cx="2944702" cy="938778"/>
                <a:chOff x="673100" y="1365011"/>
                <a:chExt cx="3613150" cy="938778"/>
              </a:xfrm>
            </p:grpSpPr>
            <p:sp>
              <p:nvSpPr>
                <p:cNvPr id="40" name="iṡḻiďê">
                  <a:extLst>
                    <a:ext uri="{FF2B5EF4-FFF2-40B4-BE49-F238E27FC236}">
                      <a16:creationId xmlns:a16="http://schemas.microsoft.com/office/drawing/2014/main" id="{3495B739-E5A7-4F4A-95FD-24BDFE4B18B1}"/>
                    </a:ext>
                  </a:extLst>
                </p:cNvPr>
                <p:cNvSpPr txBox="1"/>
                <p:nvPr/>
              </p:nvSpPr>
              <p:spPr bwMode="auto">
                <a:xfrm>
                  <a:off x="673100" y="1365011"/>
                  <a:ext cx="3613150" cy="3975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05.Text here</a:t>
                  </a:r>
                </a:p>
              </p:txBody>
            </p:sp>
            <p:sp>
              <p:nvSpPr>
                <p:cNvPr id="41" name="îSḷiḋè">
                  <a:extLst>
                    <a:ext uri="{FF2B5EF4-FFF2-40B4-BE49-F238E27FC236}">
                      <a16:creationId xmlns:a16="http://schemas.microsoft.com/office/drawing/2014/main" id="{AC321F9B-F99D-44D6-95EE-4CF3F8A760F8}"/>
                    </a:ext>
                  </a:extLst>
                </p:cNvPr>
                <p:cNvSpPr/>
                <p:nvPr/>
              </p:nvSpPr>
              <p:spPr bwMode="auto">
                <a:xfrm>
                  <a:off x="673100" y="1762570"/>
                  <a:ext cx="3613150" cy="54121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3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</p:grpSp>
          <p:grpSp>
            <p:nvGrpSpPr>
              <p:cNvPr id="35" name="ïśḷidè">
                <a:extLst>
                  <a:ext uri="{FF2B5EF4-FFF2-40B4-BE49-F238E27FC236}">
                    <a16:creationId xmlns:a16="http://schemas.microsoft.com/office/drawing/2014/main" id="{05ED1646-710D-419E-8791-F624E0BF339A}"/>
                  </a:ext>
                </a:extLst>
              </p:cNvPr>
              <p:cNvGrpSpPr/>
              <p:nvPr/>
            </p:nvGrpSpPr>
            <p:grpSpPr>
              <a:xfrm>
                <a:off x="672083" y="4370219"/>
                <a:ext cx="2944702" cy="938778"/>
                <a:chOff x="673100" y="1365011"/>
                <a:chExt cx="3613150" cy="938778"/>
              </a:xfrm>
            </p:grpSpPr>
            <p:sp>
              <p:nvSpPr>
                <p:cNvPr id="38" name="îṡḷíḑè">
                  <a:extLst>
                    <a:ext uri="{FF2B5EF4-FFF2-40B4-BE49-F238E27FC236}">
                      <a16:creationId xmlns:a16="http://schemas.microsoft.com/office/drawing/2014/main" id="{3495B739-E5A7-4F4A-95FD-24BDFE4B18B1}"/>
                    </a:ext>
                  </a:extLst>
                </p:cNvPr>
                <p:cNvSpPr txBox="1"/>
                <p:nvPr/>
              </p:nvSpPr>
              <p:spPr bwMode="auto">
                <a:xfrm>
                  <a:off x="673100" y="1365011"/>
                  <a:ext cx="3613150" cy="3975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06.Text here</a:t>
                  </a:r>
                </a:p>
              </p:txBody>
            </p:sp>
            <p:sp>
              <p:nvSpPr>
                <p:cNvPr id="39" name="ísļïḑè">
                  <a:extLst>
                    <a:ext uri="{FF2B5EF4-FFF2-40B4-BE49-F238E27FC236}">
                      <a16:creationId xmlns:a16="http://schemas.microsoft.com/office/drawing/2014/main" id="{AC321F9B-F99D-44D6-95EE-4CF3F8A760F8}"/>
                    </a:ext>
                  </a:extLst>
                </p:cNvPr>
                <p:cNvSpPr/>
                <p:nvPr/>
              </p:nvSpPr>
              <p:spPr bwMode="auto">
                <a:xfrm>
                  <a:off x="673100" y="1762570"/>
                  <a:ext cx="3613150" cy="54121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3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</p:grpSp>
          <p:cxnSp>
            <p:nvCxnSpPr>
              <p:cNvPr id="36" name="直接连接符 35">
                <a:extLst>
                  <a:ext uri="{FF2B5EF4-FFF2-40B4-BE49-F238E27FC236}">
                    <a16:creationId xmlns:a16="http://schemas.microsoft.com/office/drawing/2014/main" id="{A90C7469-3AE3-4D2A-A202-A51963151303}"/>
                  </a:ext>
                </a:extLst>
              </p:cNvPr>
              <p:cNvCxnSpPr/>
              <p:nvPr/>
            </p:nvCxnSpPr>
            <p:spPr>
              <a:xfrm>
                <a:off x="673100" y="3038021"/>
                <a:ext cx="2816225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>
                <a:extLst>
                  <a:ext uri="{FF2B5EF4-FFF2-40B4-BE49-F238E27FC236}">
                    <a16:creationId xmlns:a16="http://schemas.microsoft.com/office/drawing/2014/main" id="{756021DD-B1E9-4F2B-8040-AE9301C30ED1}"/>
                  </a:ext>
                </a:extLst>
              </p:cNvPr>
              <p:cNvCxnSpPr/>
              <p:nvPr/>
            </p:nvCxnSpPr>
            <p:spPr>
              <a:xfrm>
                <a:off x="673100" y="4239079"/>
                <a:ext cx="2816225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5340629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pSp>
        <p:nvGrpSpPr>
          <p:cNvPr id="198" name="ïS1idê">
            <a:extLst>
              <a:ext uri="{FF2B5EF4-FFF2-40B4-BE49-F238E27FC236}">
                <a16:creationId xmlns:a16="http://schemas.microsoft.com/office/drawing/2014/main" id="{51702AE5-E72A-436F-8304-5EDD4EFBC2AD}"/>
              </a:ext>
            </a:extLst>
          </p:cNvPr>
          <p:cNvGrpSpPr/>
          <p:nvPr/>
        </p:nvGrpSpPr>
        <p:grpSpPr>
          <a:xfrm>
            <a:off x="1082601" y="1269517"/>
            <a:ext cx="4597624" cy="4751770"/>
            <a:chOff x="849666" y="1269518"/>
            <a:chExt cx="4597624" cy="4751770"/>
          </a:xfrm>
        </p:grpSpPr>
        <p:sp>
          <p:nvSpPr>
            <p:cNvPr id="214" name="ïšlïďé">
              <a:extLst>
                <a:ext uri="{FF2B5EF4-FFF2-40B4-BE49-F238E27FC236}">
                  <a16:creationId xmlns:a16="http://schemas.microsoft.com/office/drawing/2014/main" id="{9F4C1DAA-2771-43F1-A4F4-7ED5D2222038}"/>
                </a:ext>
              </a:extLst>
            </p:cNvPr>
            <p:cNvSpPr/>
            <p:nvPr/>
          </p:nvSpPr>
          <p:spPr>
            <a:xfrm>
              <a:off x="849666" y="1433424"/>
              <a:ext cx="4587864" cy="4587864"/>
            </a:xfrm>
            <a:prstGeom prst="arc">
              <a:avLst>
                <a:gd name="adj1" fmla="val 20230496"/>
                <a:gd name="adj2" fmla="val 21370915"/>
              </a:avLst>
            </a:prstGeom>
            <a:noFill/>
            <a:ln w="28575" cap="rnd">
              <a:solidFill>
                <a:schemeClr val="bg1">
                  <a:lumMod val="6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íṣ1íḍé">
              <a:extLst>
                <a:ext uri="{FF2B5EF4-FFF2-40B4-BE49-F238E27FC236}">
                  <a16:creationId xmlns:a16="http://schemas.microsoft.com/office/drawing/2014/main" id="{AEAE1E5E-BEAE-48E2-A14A-7CE330006CF9}"/>
                </a:ext>
              </a:extLst>
            </p:cNvPr>
            <p:cNvSpPr/>
            <p:nvPr/>
          </p:nvSpPr>
          <p:spPr>
            <a:xfrm>
              <a:off x="859426" y="1433424"/>
              <a:ext cx="4587864" cy="4587864"/>
            </a:xfrm>
            <a:prstGeom prst="arc">
              <a:avLst>
                <a:gd name="adj1" fmla="val 43325"/>
                <a:gd name="adj2" fmla="val 3696807"/>
              </a:avLst>
            </a:prstGeom>
            <a:noFill/>
            <a:ln w="285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6" name="îṥḷïďe">
              <a:extLst>
                <a:ext uri="{FF2B5EF4-FFF2-40B4-BE49-F238E27FC236}">
                  <a16:creationId xmlns:a16="http://schemas.microsoft.com/office/drawing/2014/main" id="{BE6EFC2E-EEDE-4CFF-92F8-2F62CF741082}"/>
                </a:ext>
              </a:extLst>
            </p:cNvPr>
            <p:cNvSpPr/>
            <p:nvPr/>
          </p:nvSpPr>
          <p:spPr>
            <a:xfrm>
              <a:off x="1155689" y="1729688"/>
              <a:ext cx="3995334" cy="399533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7" name="i$ḷïḑe">
              <a:extLst>
                <a:ext uri="{FF2B5EF4-FFF2-40B4-BE49-F238E27FC236}">
                  <a16:creationId xmlns:a16="http://schemas.microsoft.com/office/drawing/2014/main" id="{B3A5A22F-9FBD-425B-A1B1-FF197D45BF96}"/>
                </a:ext>
              </a:extLst>
            </p:cNvPr>
            <p:cNvSpPr/>
            <p:nvPr/>
          </p:nvSpPr>
          <p:spPr>
            <a:xfrm>
              <a:off x="1511761" y="2085760"/>
              <a:ext cx="3283189" cy="328318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8" name="iśḷiḍè">
              <a:extLst>
                <a:ext uri="{FF2B5EF4-FFF2-40B4-BE49-F238E27FC236}">
                  <a16:creationId xmlns:a16="http://schemas.microsoft.com/office/drawing/2014/main" id="{77DD54DE-D0F9-43D8-B763-891724BC130F}"/>
                </a:ext>
              </a:extLst>
            </p:cNvPr>
            <p:cNvSpPr/>
            <p:nvPr/>
          </p:nvSpPr>
          <p:spPr>
            <a:xfrm>
              <a:off x="1871473" y="2445471"/>
              <a:ext cx="2563766" cy="256376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9" name="îṣlîdè">
              <a:extLst>
                <a:ext uri="{FF2B5EF4-FFF2-40B4-BE49-F238E27FC236}">
                  <a16:creationId xmlns:a16="http://schemas.microsoft.com/office/drawing/2014/main" id="{1CD359B4-9602-4876-8E53-F81DB8AC6794}"/>
                </a:ext>
              </a:extLst>
            </p:cNvPr>
            <p:cNvSpPr/>
            <p:nvPr/>
          </p:nvSpPr>
          <p:spPr>
            <a:xfrm>
              <a:off x="2172453" y="2759926"/>
              <a:ext cx="1934857" cy="193485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20" name="íśļïḑè">
              <a:extLst>
                <a:ext uri="{FF2B5EF4-FFF2-40B4-BE49-F238E27FC236}">
                  <a16:creationId xmlns:a16="http://schemas.microsoft.com/office/drawing/2014/main" id="{8E1FD57A-1A9E-42A7-8301-9E2462A5EE2B}"/>
                </a:ext>
              </a:extLst>
            </p:cNvPr>
            <p:cNvSpPr/>
            <p:nvPr/>
          </p:nvSpPr>
          <p:spPr>
            <a:xfrm>
              <a:off x="2437092" y="3024566"/>
              <a:ext cx="1405578" cy="140557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21" name="íślîḑe">
              <a:extLst>
                <a:ext uri="{FF2B5EF4-FFF2-40B4-BE49-F238E27FC236}">
                  <a16:creationId xmlns:a16="http://schemas.microsoft.com/office/drawing/2014/main" id="{A45D3749-65A3-4BC8-AC63-34B7938AE457}"/>
                </a:ext>
              </a:extLst>
            </p:cNvPr>
            <p:cNvSpPr/>
            <p:nvPr/>
          </p:nvSpPr>
          <p:spPr>
            <a:xfrm>
              <a:off x="2665468" y="3252941"/>
              <a:ext cx="948827" cy="94882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22" name="ïšliḑe">
              <a:extLst>
                <a:ext uri="{FF2B5EF4-FFF2-40B4-BE49-F238E27FC236}">
                  <a16:creationId xmlns:a16="http://schemas.microsoft.com/office/drawing/2014/main" id="{8912BF62-7F6D-45B0-8890-27EA74D915DC}"/>
                </a:ext>
              </a:extLst>
            </p:cNvPr>
            <p:cNvSpPr/>
            <p:nvPr/>
          </p:nvSpPr>
          <p:spPr>
            <a:xfrm>
              <a:off x="2899637" y="3487111"/>
              <a:ext cx="480488" cy="4804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223" name="ï$ḷide">
              <a:extLst>
                <a:ext uri="{FF2B5EF4-FFF2-40B4-BE49-F238E27FC236}">
                  <a16:creationId xmlns:a16="http://schemas.microsoft.com/office/drawing/2014/main" id="{9C271DD3-8F40-4A97-98A7-A561AA4CB91C}"/>
                </a:ext>
              </a:extLst>
            </p:cNvPr>
            <p:cNvGrpSpPr/>
            <p:nvPr/>
          </p:nvGrpSpPr>
          <p:grpSpPr>
            <a:xfrm rot="18972328" flipH="1">
              <a:off x="1710889" y="1269518"/>
              <a:ext cx="907690" cy="2899262"/>
              <a:chOff x="943993" y="1899821"/>
              <a:chExt cx="584445" cy="1866782"/>
            </a:xfr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225" name="işľiḓé">
                <a:extLst>
                  <a:ext uri="{FF2B5EF4-FFF2-40B4-BE49-F238E27FC236}">
                    <a16:creationId xmlns:a16="http://schemas.microsoft.com/office/drawing/2014/main" id="{4365F1B4-6200-4096-B7DF-0CAE1ED42E18}"/>
                  </a:ext>
                </a:extLst>
              </p:cNvPr>
              <p:cNvSpPr/>
              <p:nvPr/>
            </p:nvSpPr>
            <p:spPr>
              <a:xfrm>
                <a:off x="1186649" y="1973314"/>
                <a:ext cx="44388" cy="1793289"/>
              </a:xfrm>
              <a:custGeom>
                <a:avLst/>
                <a:gdLst>
                  <a:gd name="connsiteX0" fmla="*/ 44388 w 44388"/>
                  <a:gd name="connsiteY0" fmla="*/ 0 h 1793289"/>
                  <a:gd name="connsiteX1" fmla="*/ 44388 w 44388"/>
                  <a:gd name="connsiteY1" fmla="*/ 1793289 h 1793289"/>
                  <a:gd name="connsiteX2" fmla="*/ 0 w 44388"/>
                  <a:gd name="connsiteY2" fmla="*/ 1748901 h 1793289"/>
                  <a:gd name="connsiteX3" fmla="*/ 0 w 44388"/>
                  <a:gd name="connsiteY3" fmla="*/ 44388 h 1793289"/>
                  <a:gd name="connsiteX4" fmla="*/ 44388 w 44388"/>
                  <a:gd name="connsiteY4" fmla="*/ 0 h 179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388" h="1793289">
                    <a:moveTo>
                      <a:pt x="44388" y="0"/>
                    </a:moveTo>
                    <a:lnTo>
                      <a:pt x="44388" y="1793289"/>
                    </a:lnTo>
                    <a:cubicBezTo>
                      <a:pt x="19873" y="1793289"/>
                      <a:pt x="0" y="1773416"/>
                      <a:pt x="0" y="1748901"/>
                    </a:cubicBezTo>
                    <a:lnTo>
                      <a:pt x="0" y="44388"/>
                    </a:lnTo>
                    <a:cubicBezTo>
                      <a:pt x="0" y="19873"/>
                      <a:pt x="19873" y="0"/>
                      <a:pt x="4438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26" name="ïṩlïďé">
                <a:extLst>
                  <a:ext uri="{FF2B5EF4-FFF2-40B4-BE49-F238E27FC236}">
                    <a16:creationId xmlns:a16="http://schemas.microsoft.com/office/drawing/2014/main" id="{112D4A11-12C7-484C-BB95-18D3FB34B174}"/>
                  </a:ext>
                </a:extLst>
              </p:cNvPr>
              <p:cNvSpPr/>
              <p:nvPr/>
            </p:nvSpPr>
            <p:spPr>
              <a:xfrm flipH="1">
                <a:off x="1231038" y="1973313"/>
                <a:ext cx="44388" cy="1793289"/>
              </a:xfrm>
              <a:custGeom>
                <a:avLst/>
                <a:gdLst>
                  <a:gd name="connsiteX0" fmla="*/ 44388 w 44388"/>
                  <a:gd name="connsiteY0" fmla="*/ 0 h 1793289"/>
                  <a:gd name="connsiteX1" fmla="*/ 44388 w 44388"/>
                  <a:gd name="connsiteY1" fmla="*/ 1793289 h 1793289"/>
                  <a:gd name="connsiteX2" fmla="*/ 0 w 44388"/>
                  <a:gd name="connsiteY2" fmla="*/ 1748901 h 1793289"/>
                  <a:gd name="connsiteX3" fmla="*/ 0 w 44388"/>
                  <a:gd name="connsiteY3" fmla="*/ 44388 h 1793289"/>
                  <a:gd name="connsiteX4" fmla="*/ 44388 w 44388"/>
                  <a:gd name="connsiteY4" fmla="*/ 0 h 1793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388" h="1793289">
                    <a:moveTo>
                      <a:pt x="44388" y="0"/>
                    </a:moveTo>
                    <a:lnTo>
                      <a:pt x="44388" y="1793289"/>
                    </a:lnTo>
                    <a:cubicBezTo>
                      <a:pt x="19873" y="1793289"/>
                      <a:pt x="0" y="1773416"/>
                      <a:pt x="0" y="1748901"/>
                    </a:cubicBezTo>
                    <a:lnTo>
                      <a:pt x="0" y="44388"/>
                    </a:lnTo>
                    <a:cubicBezTo>
                      <a:pt x="0" y="19873"/>
                      <a:pt x="19873" y="0"/>
                      <a:pt x="44388" y="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27" name="ísľiḑé">
                <a:extLst>
                  <a:ext uri="{FF2B5EF4-FFF2-40B4-BE49-F238E27FC236}">
                    <a16:creationId xmlns:a16="http://schemas.microsoft.com/office/drawing/2014/main" id="{1E012C74-C3A9-42A7-8A2E-2594F3DE0FB6}"/>
                  </a:ext>
                </a:extLst>
              </p:cNvPr>
              <p:cNvSpPr/>
              <p:nvPr/>
            </p:nvSpPr>
            <p:spPr>
              <a:xfrm rot="16200000" flipV="1">
                <a:off x="1159899" y="1993153"/>
                <a:ext cx="461872" cy="275207"/>
              </a:xfrm>
              <a:prstGeom prst="parallelogram">
                <a:avLst>
                  <a:gd name="adj" fmla="val 57754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28" name="íṩļíḑe">
                <a:extLst>
                  <a:ext uri="{FF2B5EF4-FFF2-40B4-BE49-F238E27FC236}">
                    <a16:creationId xmlns:a16="http://schemas.microsoft.com/office/drawing/2014/main" id="{71C3F157-F90A-4800-8DFA-94632B9A05AD}"/>
                  </a:ext>
                </a:extLst>
              </p:cNvPr>
              <p:cNvSpPr/>
              <p:nvPr/>
            </p:nvSpPr>
            <p:spPr>
              <a:xfrm rot="5400000" flipH="1" flipV="1">
                <a:off x="834385" y="2009429"/>
                <a:ext cx="461872" cy="242655"/>
              </a:xfrm>
              <a:prstGeom prst="parallelogram">
                <a:avLst>
                  <a:gd name="adj" fmla="val 65071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sp>
          <p:nvSpPr>
            <p:cNvPr id="224" name="ïṡḷîḋè">
              <a:extLst>
                <a:ext uri="{FF2B5EF4-FFF2-40B4-BE49-F238E27FC236}">
                  <a16:creationId xmlns:a16="http://schemas.microsoft.com/office/drawing/2014/main" id="{56A6403B-D525-4B00-A427-A8D4164348BE}"/>
                </a:ext>
              </a:extLst>
            </p:cNvPr>
            <p:cNvSpPr/>
            <p:nvPr/>
          </p:nvSpPr>
          <p:spPr>
            <a:xfrm>
              <a:off x="849666" y="1433424"/>
              <a:ext cx="4587864" cy="4587864"/>
            </a:xfrm>
            <a:prstGeom prst="arc">
              <a:avLst>
                <a:gd name="adj1" fmla="val 19067119"/>
                <a:gd name="adj2" fmla="val 19881577"/>
              </a:avLst>
            </a:prstGeom>
            <a:noFill/>
            <a:ln w="285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cxnSp>
        <p:nvCxnSpPr>
          <p:cNvPr id="204" name="直接连接符 203">
            <a:extLst>
              <a:ext uri="{FF2B5EF4-FFF2-40B4-BE49-F238E27FC236}">
                <a16:creationId xmlns:a16="http://schemas.microsoft.com/office/drawing/2014/main" id="{C773575C-D82E-4777-B3B4-FE4A3127A3E8}"/>
              </a:ext>
            </a:extLst>
          </p:cNvPr>
          <p:cNvCxnSpPr/>
          <p:nvPr/>
        </p:nvCxnSpPr>
        <p:spPr>
          <a:xfrm>
            <a:off x="6899478" y="2523117"/>
            <a:ext cx="439659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直接连接符 204">
            <a:extLst>
              <a:ext uri="{FF2B5EF4-FFF2-40B4-BE49-F238E27FC236}">
                <a16:creationId xmlns:a16="http://schemas.microsoft.com/office/drawing/2014/main" id="{436AA26E-1EEF-4728-92BB-5A96C505B6F1}"/>
              </a:ext>
            </a:extLst>
          </p:cNvPr>
          <p:cNvCxnSpPr/>
          <p:nvPr/>
        </p:nvCxnSpPr>
        <p:spPr>
          <a:xfrm>
            <a:off x="6899478" y="3348217"/>
            <a:ext cx="439659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直接连接符 205">
            <a:extLst>
              <a:ext uri="{FF2B5EF4-FFF2-40B4-BE49-F238E27FC236}">
                <a16:creationId xmlns:a16="http://schemas.microsoft.com/office/drawing/2014/main" id="{7143C827-0193-4CBF-8901-4964ABD0EC1C}"/>
              </a:ext>
            </a:extLst>
          </p:cNvPr>
          <p:cNvCxnSpPr/>
          <p:nvPr/>
        </p:nvCxnSpPr>
        <p:spPr>
          <a:xfrm>
            <a:off x="6899478" y="4173317"/>
            <a:ext cx="439659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直接连接符 206">
            <a:extLst>
              <a:ext uri="{FF2B5EF4-FFF2-40B4-BE49-F238E27FC236}">
                <a16:creationId xmlns:a16="http://schemas.microsoft.com/office/drawing/2014/main" id="{7BDFC0E9-8C9B-4FEC-AAAA-03088C2AA1DA}"/>
              </a:ext>
            </a:extLst>
          </p:cNvPr>
          <p:cNvCxnSpPr/>
          <p:nvPr/>
        </p:nvCxnSpPr>
        <p:spPr>
          <a:xfrm>
            <a:off x="6899478" y="4998418"/>
            <a:ext cx="439659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组合 8">
            <a:extLst>
              <a:ext uri="{FF2B5EF4-FFF2-40B4-BE49-F238E27FC236}">
                <a16:creationId xmlns:a16="http://schemas.microsoft.com/office/drawing/2014/main" id="{35C990FB-AC4F-4387-9E3C-77E7B7D72F8D}"/>
              </a:ext>
            </a:extLst>
          </p:cNvPr>
          <p:cNvGrpSpPr/>
          <p:nvPr/>
        </p:nvGrpSpPr>
        <p:grpSpPr>
          <a:xfrm>
            <a:off x="6924914" y="1876832"/>
            <a:ext cx="4593986" cy="401224"/>
            <a:chOff x="6924914" y="1876832"/>
            <a:chExt cx="4593986" cy="401224"/>
          </a:xfrm>
        </p:grpSpPr>
        <p:sp>
          <p:nvSpPr>
            <p:cNvPr id="199" name="iṣ1iḍe">
              <a:extLst>
                <a:ext uri="{FF2B5EF4-FFF2-40B4-BE49-F238E27FC236}">
                  <a16:creationId xmlns:a16="http://schemas.microsoft.com/office/drawing/2014/main" id="{0712B919-72D6-4D2E-B2D2-9A7343A40E42}"/>
                </a:ext>
              </a:extLst>
            </p:cNvPr>
            <p:cNvSpPr/>
            <p:nvPr/>
          </p:nvSpPr>
          <p:spPr bwMode="auto">
            <a:xfrm>
              <a:off x="7332551" y="1876832"/>
              <a:ext cx="4186349" cy="401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200" dirty="0"/>
                <a:t>Copy paste fonts. Choose the only option to retain text.</a:t>
              </a:r>
            </a:p>
          </p:txBody>
        </p:sp>
        <p:sp>
          <p:nvSpPr>
            <p:cNvPr id="208" name="ïslïḓe">
              <a:extLst>
                <a:ext uri="{FF2B5EF4-FFF2-40B4-BE49-F238E27FC236}">
                  <a16:creationId xmlns:a16="http://schemas.microsoft.com/office/drawing/2014/main" id="{C0C74436-F539-4FE9-91FF-5928D6B40BA0}"/>
                </a:ext>
              </a:extLst>
            </p:cNvPr>
            <p:cNvSpPr/>
            <p:nvPr/>
          </p:nvSpPr>
          <p:spPr bwMode="auto">
            <a:xfrm>
              <a:off x="6924914" y="1881957"/>
              <a:ext cx="358573" cy="390974"/>
            </a:xfrm>
            <a:custGeom>
              <a:avLst/>
              <a:gdLst>
                <a:gd name="T0" fmla="*/ 168 w 208"/>
                <a:gd name="T1" fmla="*/ 0 h 224"/>
                <a:gd name="T2" fmla="*/ 168 w 208"/>
                <a:gd name="T3" fmla="*/ 68 h 224"/>
                <a:gd name="T4" fmla="*/ 108 w 208"/>
                <a:gd name="T5" fmla="*/ 68 h 224"/>
                <a:gd name="T6" fmla="*/ 108 w 208"/>
                <a:gd name="T7" fmla="*/ 124 h 224"/>
                <a:gd name="T8" fmla="*/ 192 w 208"/>
                <a:gd name="T9" fmla="*/ 124 h 224"/>
                <a:gd name="T10" fmla="*/ 192 w 208"/>
                <a:gd name="T11" fmla="*/ 184 h 224"/>
                <a:gd name="T12" fmla="*/ 208 w 208"/>
                <a:gd name="T13" fmla="*/ 184 h 224"/>
                <a:gd name="T14" fmla="*/ 208 w 208"/>
                <a:gd name="T15" fmla="*/ 224 h 224"/>
                <a:gd name="T16" fmla="*/ 168 w 208"/>
                <a:gd name="T17" fmla="*/ 224 h 224"/>
                <a:gd name="T18" fmla="*/ 168 w 208"/>
                <a:gd name="T19" fmla="*/ 184 h 224"/>
                <a:gd name="T20" fmla="*/ 184 w 208"/>
                <a:gd name="T21" fmla="*/ 184 h 224"/>
                <a:gd name="T22" fmla="*/ 184 w 208"/>
                <a:gd name="T23" fmla="*/ 132 h 224"/>
                <a:gd name="T24" fmla="*/ 108 w 208"/>
                <a:gd name="T25" fmla="*/ 132 h 224"/>
                <a:gd name="T26" fmla="*/ 108 w 208"/>
                <a:gd name="T27" fmla="*/ 184 h 224"/>
                <a:gd name="T28" fmla="*/ 124 w 208"/>
                <a:gd name="T29" fmla="*/ 184 h 224"/>
                <a:gd name="T30" fmla="*/ 124 w 208"/>
                <a:gd name="T31" fmla="*/ 224 h 224"/>
                <a:gd name="T32" fmla="*/ 84 w 208"/>
                <a:gd name="T33" fmla="*/ 224 h 224"/>
                <a:gd name="T34" fmla="*/ 84 w 208"/>
                <a:gd name="T35" fmla="*/ 184 h 224"/>
                <a:gd name="T36" fmla="*/ 100 w 208"/>
                <a:gd name="T37" fmla="*/ 184 h 224"/>
                <a:gd name="T38" fmla="*/ 100 w 208"/>
                <a:gd name="T39" fmla="*/ 132 h 224"/>
                <a:gd name="T40" fmla="*/ 24 w 208"/>
                <a:gd name="T41" fmla="*/ 132 h 224"/>
                <a:gd name="T42" fmla="*/ 24 w 208"/>
                <a:gd name="T43" fmla="*/ 184 h 224"/>
                <a:gd name="T44" fmla="*/ 40 w 208"/>
                <a:gd name="T45" fmla="*/ 184 h 224"/>
                <a:gd name="T46" fmla="*/ 40 w 208"/>
                <a:gd name="T47" fmla="*/ 224 h 224"/>
                <a:gd name="T48" fmla="*/ 0 w 208"/>
                <a:gd name="T49" fmla="*/ 224 h 224"/>
                <a:gd name="T50" fmla="*/ 0 w 208"/>
                <a:gd name="T51" fmla="*/ 184 h 224"/>
                <a:gd name="T52" fmla="*/ 16 w 208"/>
                <a:gd name="T53" fmla="*/ 184 h 224"/>
                <a:gd name="T54" fmla="*/ 16 w 208"/>
                <a:gd name="T55" fmla="*/ 124 h 224"/>
                <a:gd name="T56" fmla="*/ 100 w 208"/>
                <a:gd name="T57" fmla="*/ 124 h 224"/>
                <a:gd name="T58" fmla="*/ 100 w 208"/>
                <a:gd name="T59" fmla="*/ 68 h 224"/>
                <a:gd name="T60" fmla="*/ 40 w 208"/>
                <a:gd name="T61" fmla="*/ 68 h 224"/>
                <a:gd name="T62" fmla="*/ 40 w 208"/>
                <a:gd name="T63" fmla="*/ 0 h 224"/>
                <a:gd name="T64" fmla="*/ 168 w 208"/>
                <a:gd name="T65" fmla="*/ 0 h 224"/>
                <a:gd name="T66" fmla="*/ 32 w 208"/>
                <a:gd name="T67" fmla="*/ 192 h 224"/>
                <a:gd name="T68" fmla="*/ 8 w 208"/>
                <a:gd name="T69" fmla="*/ 192 h 224"/>
                <a:gd name="T70" fmla="*/ 8 w 208"/>
                <a:gd name="T71" fmla="*/ 216 h 224"/>
                <a:gd name="T72" fmla="*/ 32 w 208"/>
                <a:gd name="T73" fmla="*/ 216 h 224"/>
                <a:gd name="T74" fmla="*/ 32 w 208"/>
                <a:gd name="T75" fmla="*/ 192 h 224"/>
                <a:gd name="T76" fmla="*/ 116 w 208"/>
                <a:gd name="T77" fmla="*/ 192 h 224"/>
                <a:gd name="T78" fmla="*/ 92 w 208"/>
                <a:gd name="T79" fmla="*/ 192 h 224"/>
                <a:gd name="T80" fmla="*/ 92 w 208"/>
                <a:gd name="T81" fmla="*/ 216 h 224"/>
                <a:gd name="T82" fmla="*/ 116 w 208"/>
                <a:gd name="T83" fmla="*/ 216 h 224"/>
                <a:gd name="T84" fmla="*/ 116 w 208"/>
                <a:gd name="T85" fmla="*/ 192 h 224"/>
                <a:gd name="T86" fmla="*/ 200 w 208"/>
                <a:gd name="T87" fmla="*/ 192 h 224"/>
                <a:gd name="T88" fmla="*/ 176 w 208"/>
                <a:gd name="T89" fmla="*/ 192 h 224"/>
                <a:gd name="T90" fmla="*/ 176 w 208"/>
                <a:gd name="T91" fmla="*/ 216 h 224"/>
                <a:gd name="T92" fmla="*/ 200 w 208"/>
                <a:gd name="T93" fmla="*/ 216 h 224"/>
                <a:gd name="T94" fmla="*/ 200 w 208"/>
                <a:gd name="T95" fmla="*/ 192 h 224"/>
                <a:gd name="T96" fmla="*/ 160 w 208"/>
                <a:gd name="T97" fmla="*/ 8 h 224"/>
                <a:gd name="T98" fmla="*/ 48 w 208"/>
                <a:gd name="T99" fmla="*/ 8 h 224"/>
                <a:gd name="T100" fmla="*/ 48 w 208"/>
                <a:gd name="T101" fmla="*/ 60 h 224"/>
                <a:gd name="T102" fmla="*/ 160 w 208"/>
                <a:gd name="T103" fmla="*/ 60 h 224"/>
                <a:gd name="T104" fmla="*/ 160 w 208"/>
                <a:gd name="T105" fmla="*/ 8 h 224"/>
                <a:gd name="T106" fmla="*/ 66 w 208"/>
                <a:gd name="T107" fmla="*/ 36 h 224"/>
                <a:gd name="T108" fmla="*/ 72 w 208"/>
                <a:gd name="T109" fmla="*/ 42 h 224"/>
                <a:gd name="T110" fmla="*/ 66 w 208"/>
                <a:gd name="T111" fmla="*/ 48 h 224"/>
                <a:gd name="T112" fmla="*/ 60 w 208"/>
                <a:gd name="T113" fmla="*/ 42 h 224"/>
                <a:gd name="T114" fmla="*/ 66 w 208"/>
                <a:gd name="T115" fmla="*/ 3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" h="224">
                  <a:moveTo>
                    <a:pt x="168" y="0"/>
                  </a:moveTo>
                  <a:cubicBezTo>
                    <a:pt x="168" y="68"/>
                    <a:pt x="168" y="68"/>
                    <a:pt x="168" y="68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8" y="124"/>
                    <a:pt x="108" y="124"/>
                    <a:pt x="108" y="124"/>
                  </a:cubicBezTo>
                  <a:cubicBezTo>
                    <a:pt x="192" y="124"/>
                    <a:pt x="192" y="124"/>
                    <a:pt x="192" y="124"/>
                  </a:cubicBezTo>
                  <a:cubicBezTo>
                    <a:pt x="192" y="184"/>
                    <a:pt x="192" y="184"/>
                    <a:pt x="192" y="184"/>
                  </a:cubicBezTo>
                  <a:cubicBezTo>
                    <a:pt x="208" y="184"/>
                    <a:pt x="208" y="184"/>
                    <a:pt x="208" y="184"/>
                  </a:cubicBezTo>
                  <a:cubicBezTo>
                    <a:pt x="208" y="224"/>
                    <a:pt x="208" y="224"/>
                    <a:pt x="208" y="224"/>
                  </a:cubicBezTo>
                  <a:cubicBezTo>
                    <a:pt x="168" y="224"/>
                    <a:pt x="168" y="224"/>
                    <a:pt x="168" y="224"/>
                  </a:cubicBezTo>
                  <a:cubicBezTo>
                    <a:pt x="168" y="184"/>
                    <a:pt x="168" y="184"/>
                    <a:pt x="168" y="184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84" y="132"/>
                    <a:pt x="184" y="132"/>
                    <a:pt x="184" y="132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08" y="184"/>
                    <a:pt x="108" y="184"/>
                    <a:pt x="108" y="184"/>
                  </a:cubicBezTo>
                  <a:cubicBezTo>
                    <a:pt x="124" y="184"/>
                    <a:pt x="124" y="184"/>
                    <a:pt x="124" y="184"/>
                  </a:cubicBezTo>
                  <a:cubicBezTo>
                    <a:pt x="124" y="224"/>
                    <a:pt x="124" y="224"/>
                    <a:pt x="124" y="224"/>
                  </a:cubicBezTo>
                  <a:cubicBezTo>
                    <a:pt x="84" y="224"/>
                    <a:pt x="84" y="224"/>
                    <a:pt x="84" y="224"/>
                  </a:cubicBezTo>
                  <a:cubicBezTo>
                    <a:pt x="84" y="184"/>
                    <a:pt x="84" y="184"/>
                    <a:pt x="84" y="184"/>
                  </a:cubicBezTo>
                  <a:cubicBezTo>
                    <a:pt x="100" y="184"/>
                    <a:pt x="100" y="184"/>
                    <a:pt x="100" y="184"/>
                  </a:cubicBezTo>
                  <a:cubicBezTo>
                    <a:pt x="100" y="132"/>
                    <a:pt x="100" y="132"/>
                    <a:pt x="100" y="132"/>
                  </a:cubicBezTo>
                  <a:cubicBezTo>
                    <a:pt x="24" y="132"/>
                    <a:pt x="24" y="132"/>
                    <a:pt x="24" y="132"/>
                  </a:cubicBezTo>
                  <a:cubicBezTo>
                    <a:pt x="24" y="184"/>
                    <a:pt x="24" y="184"/>
                    <a:pt x="24" y="184"/>
                  </a:cubicBezTo>
                  <a:cubicBezTo>
                    <a:pt x="40" y="184"/>
                    <a:pt x="40" y="184"/>
                    <a:pt x="40" y="184"/>
                  </a:cubicBezTo>
                  <a:cubicBezTo>
                    <a:pt x="40" y="224"/>
                    <a:pt x="40" y="224"/>
                    <a:pt x="40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16" y="184"/>
                    <a:pt x="16" y="184"/>
                    <a:pt x="16" y="18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00" y="124"/>
                    <a:pt x="100" y="124"/>
                    <a:pt x="100" y="124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168" y="0"/>
                  </a:lnTo>
                  <a:close/>
                  <a:moveTo>
                    <a:pt x="32" y="192"/>
                  </a:moveTo>
                  <a:cubicBezTo>
                    <a:pt x="8" y="192"/>
                    <a:pt x="8" y="192"/>
                    <a:pt x="8" y="192"/>
                  </a:cubicBezTo>
                  <a:cubicBezTo>
                    <a:pt x="8" y="216"/>
                    <a:pt x="8" y="216"/>
                    <a:pt x="8" y="216"/>
                  </a:cubicBezTo>
                  <a:cubicBezTo>
                    <a:pt x="32" y="216"/>
                    <a:pt x="32" y="216"/>
                    <a:pt x="32" y="216"/>
                  </a:cubicBezTo>
                  <a:lnTo>
                    <a:pt x="32" y="192"/>
                  </a:lnTo>
                  <a:close/>
                  <a:moveTo>
                    <a:pt x="116" y="192"/>
                  </a:moveTo>
                  <a:cubicBezTo>
                    <a:pt x="92" y="192"/>
                    <a:pt x="92" y="192"/>
                    <a:pt x="92" y="192"/>
                  </a:cubicBezTo>
                  <a:cubicBezTo>
                    <a:pt x="92" y="216"/>
                    <a:pt x="92" y="216"/>
                    <a:pt x="92" y="216"/>
                  </a:cubicBezTo>
                  <a:cubicBezTo>
                    <a:pt x="116" y="216"/>
                    <a:pt x="116" y="216"/>
                    <a:pt x="116" y="216"/>
                  </a:cubicBezTo>
                  <a:lnTo>
                    <a:pt x="116" y="192"/>
                  </a:lnTo>
                  <a:close/>
                  <a:moveTo>
                    <a:pt x="200" y="192"/>
                  </a:moveTo>
                  <a:cubicBezTo>
                    <a:pt x="176" y="192"/>
                    <a:pt x="176" y="192"/>
                    <a:pt x="176" y="192"/>
                  </a:cubicBezTo>
                  <a:cubicBezTo>
                    <a:pt x="176" y="216"/>
                    <a:pt x="176" y="216"/>
                    <a:pt x="176" y="216"/>
                  </a:cubicBezTo>
                  <a:cubicBezTo>
                    <a:pt x="200" y="216"/>
                    <a:pt x="200" y="216"/>
                    <a:pt x="200" y="216"/>
                  </a:cubicBezTo>
                  <a:lnTo>
                    <a:pt x="200" y="192"/>
                  </a:lnTo>
                  <a:close/>
                  <a:moveTo>
                    <a:pt x="160" y="8"/>
                  </a:moveTo>
                  <a:cubicBezTo>
                    <a:pt x="48" y="8"/>
                    <a:pt x="48" y="8"/>
                    <a:pt x="48" y="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160" y="60"/>
                    <a:pt x="160" y="60"/>
                    <a:pt x="160" y="60"/>
                  </a:cubicBezTo>
                  <a:lnTo>
                    <a:pt x="160" y="8"/>
                  </a:lnTo>
                  <a:close/>
                  <a:moveTo>
                    <a:pt x="66" y="36"/>
                  </a:moveTo>
                  <a:cubicBezTo>
                    <a:pt x="69" y="36"/>
                    <a:pt x="72" y="39"/>
                    <a:pt x="72" y="42"/>
                  </a:cubicBezTo>
                  <a:cubicBezTo>
                    <a:pt x="72" y="45"/>
                    <a:pt x="69" y="48"/>
                    <a:pt x="66" y="48"/>
                  </a:cubicBezTo>
                  <a:cubicBezTo>
                    <a:pt x="63" y="48"/>
                    <a:pt x="60" y="45"/>
                    <a:pt x="60" y="42"/>
                  </a:cubicBezTo>
                  <a:cubicBezTo>
                    <a:pt x="60" y="39"/>
                    <a:pt x="63" y="36"/>
                    <a:pt x="66" y="36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8" name="组合 7">
            <a:extLst>
              <a:ext uri="{FF2B5EF4-FFF2-40B4-BE49-F238E27FC236}">
                <a16:creationId xmlns:a16="http://schemas.microsoft.com/office/drawing/2014/main" id="{AFF36654-CA36-4527-80DE-CF962F4665BE}"/>
              </a:ext>
            </a:extLst>
          </p:cNvPr>
          <p:cNvGrpSpPr/>
          <p:nvPr/>
        </p:nvGrpSpPr>
        <p:grpSpPr>
          <a:xfrm>
            <a:off x="6908714" y="2711112"/>
            <a:ext cx="4610186" cy="401224"/>
            <a:chOff x="6908714" y="2557232"/>
            <a:chExt cx="4610186" cy="401224"/>
          </a:xfrm>
        </p:grpSpPr>
        <p:sp>
          <p:nvSpPr>
            <p:cNvPr id="200" name="iśļiďe">
              <a:extLst>
                <a:ext uri="{FF2B5EF4-FFF2-40B4-BE49-F238E27FC236}">
                  <a16:creationId xmlns:a16="http://schemas.microsoft.com/office/drawing/2014/main" id="{AECA83C3-2383-4691-9239-05D99698356E}"/>
                </a:ext>
              </a:extLst>
            </p:cNvPr>
            <p:cNvSpPr/>
            <p:nvPr/>
          </p:nvSpPr>
          <p:spPr bwMode="auto">
            <a:xfrm>
              <a:off x="7332551" y="2557232"/>
              <a:ext cx="4186349" cy="401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200" dirty="0"/>
                <a:t>Copy paste fonts. Choose the only option to retain text.</a:t>
              </a:r>
            </a:p>
          </p:txBody>
        </p:sp>
        <p:sp>
          <p:nvSpPr>
            <p:cNvPr id="209" name="î$ļidè">
              <a:extLst>
                <a:ext uri="{FF2B5EF4-FFF2-40B4-BE49-F238E27FC236}">
                  <a16:creationId xmlns:a16="http://schemas.microsoft.com/office/drawing/2014/main" id="{79AD5E10-8F7A-4191-B94F-3539C0019680}"/>
                </a:ext>
              </a:extLst>
            </p:cNvPr>
            <p:cNvSpPr/>
            <p:nvPr/>
          </p:nvSpPr>
          <p:spPr bwMode="auto">
            <a:xfrm>
              <a:off x="6908714" y="2609315"/>
              <a:ext cx="390974" cy="297052"/>
            </a:xfrm>
            <a:custGeom>
              <a:avLst/>
              <a:gdLst>
                <a:gd name="T0" fmla="*/ 224 w 224"/>
                <a:gd name="T1" fmla="*/ 0 h 168"/>
                <a:gd name="T2" fmla="*/ 224 w 224"/>
                <a:gd name="T3" fmla="*/ 168 h 168"/>
                <a:gd name="T4" fmla="*/ 0 w 224"/>
                <a:gd name="T5" fmla="*/ 168 h 168"/>
                <a:gd name="T6" fmla="*/ 0 w 224"/>
                <a:gd name="T7" fmla="*/ 0 h 168"/>
                <a:gd name="T8" fmla="*/ 224 w 224"/>
                <a:gd name="T9" fmla="*/ 0 h 168"/>
                <a:gd name="T10" fmla="*/ 157 w 224"/>
                <a:gd name="T11" fmla="*/ 64 h 168"/>
                <a:gd name="T12" fmla="*/ 104 w 224"/>
                <a:gd name="T13" fmla="*/ 134 h 168"/>
                <a:gd name="T14" fmla="*/ 59 w 224"/>
                <a:gd name="T15" fmla="*/ 90 h 168"/>
                <a:gd name="T16" fmla="*/ 8 w 224"/>
                <a:gd name="T17" fmla="*/ 149 h 168"/>
                <a:gd name="T18" fmla="*/ 8 w 224"/>
                <a:gd name="T19" fmla="*/ 160 h 168"/>
                <a:gd name="T20" fmla="*/ 216 w 224"/>
                <a:gd name="T21" fmla="*/ 160 h 168"/>
                <a:gd name="T22" fmla="*/ 216 w 224"/>
                <a:gd name="T23" fmla="*/ 142 h 168"/>
                <a:gd name="T24" fmla="*/ 157 w 224"/>
                <a:gd name="T25" fmla="*/ 64 h 168"/>
                <a:gd name="T26" fmla="*/ 216 w 224"/>
                <a:gd name="T27" fmla="*/ 8 h 168"/>
                <a:gd name="T28" fmla="*/ 8 w 224"/>
                <a:gd name="T29" fmla="*/ 8 h 168"/>
                <a:gd name="T30" fmla="*/ 8 w 224"/>
                <a:gd name="T31" fmla="*/ 137 h 168"/>
                <a:gd name="T32" fmla="*/ 58 w 224"/>
                <a:gd name="T33" fmla="*/ 78 h 168"/>
                <a:gd name="T34" fmla="*/ 103 w 224"/>
                <a:gd name="T35" fmla="*/ 122 h 168"/>
                <a:gd name="T36" fmla="*/ 158 w 224"/>
                <a:gd name="T37" fmla="*/ 51 h 168"/>
                <a:gd name="T38" fmla="*/ 216 w 224"/>
                <a:gd name="T39" fmla="*/ 129 h 168"/>
                <a:gd name="T40" fmla="*/ 216 w 224"/>
                <a:gd name="T41" fmla="*/ 8 h 168"/>
                <a:gd name="T42" fmla="*/ 40 w 224"/>
                <a:gd name="T43" fmla="*/ 20 h 168"/>
                <a:gd name="T44" fmla="*/ 60 w 224"/>
                <a:gd name="T45" fmla="*/ 40 h 168"/>
                <a:gd name="T46" fmla="*/ 40 w 224"/>
                <a:gd name="T47" fmla="*/ 60 h 168"/>
                <a:gd name="T48" fmla="*/ 20 w 224"/>
                <a:gd name="T49" fmla="*/ 40 h 168"/>
                <a:gd name="T50" fmla="*/ 40 w 224"/>
                <a:gd name="T51" fmla="*/ 20 h 168"/>
                <a:gd name="T52" fmla="*/ 40 w 224"/>
                <a:gd name="T53" fmla="*/ 28 h 168"/>
                <a:gd name="T54" fmla="*/ 28 w 224"/>
                <a:gd name="T55" fmla="*/ 40 h 168"/>
                <a:gd name="T56" fmla="*/ 40 w 224"/>
                <a:gd name="T57" fmla="*/ 52 h 168"/>
                <a:gd name="T58" fmla="*/ 52 w 224"/>
                <a:gd name="T59" fmla="*/ 40 h 168"/>
                <a:gd name="T60" fmla="*/ 40 w 224"/>
                <a:gd name="T61" fmla="*/ 2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4" h="168">
                  <a:moveTo>
                    <a:pt x="224" y="0"/>
                  </a:moveTo>
                  <a:cubicBezTo>
                    <a:pt x="224" y="168"/>
                    <a:pt x="224" y="168"/>
                    <a:pt x="224" y="1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24" y="0"/>
                  </a:lnTo>
                  <a:close/>
                  <a:moveTo>
                    <a:pt x="157" y="64"/>
                  </a:moveTo>
                  <a:cubicBezTo>
                    <a:pt x="104" y="134"/>
                    <a:pt x="104" y="134"/>
                    <a:pt x="104" y="134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8" y="149"/>
                    <a:pt x="8" y="149"/>
                    <a:pt x="8" y="149"/>
                  </a:cubicBezTo>
                  <a:cubicBezTo>
                    <a:pt x="8" y="160"/>
                    <a:pt x="8" y="160"/>
                    <a:pt x="8" y="160"/>
                  </a:cubicBezTo>
                  <a:cubicBezTo>
                    <a:pt x="216" y="160"/>
                    <a:pt x="216" y="160"/>
                    <a:pt x="216" y="160"/>
                  </a:cubicBezTo>
                  <a:cubicBezTo>
                    <a:pt x="216" y="142"/>
                    <a:pt x="216" y="142"/>
                    <a:pt x="216" y="142"/>
                  </a:cubicBezTo>
                  <a:lnTo>
                    <a:pt x="157" y="64"/>
                  </a:lnTo>
                  <a:close/>
                  <a:moveTo>
                    <a:pt x="216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103" y="122"/>
                    <a:pt x="103" y="122"/>
                    <a:pt x="103" y="122"/>
                  </a:cubicBezTo>
                  <a:cubicBezTo>
                    <a:pt x="158" y="51"/>
                    <a:pt x="158" y="51"/>
                    <a:pt x="158" y="51"/>
                  </a:cubicBezTo>
                  <a:cubicBezTo>
                    <a:pt x="216" y="129"/>
                    <a:pt x="216" y="129"/>
                    <a:pt x="216" y="129"/>
                  </a:cubicBezTo>
                  <a:lnTo>
                    <a:pt x="216" y="8"/>
                  </a:lnTo>
                  <a:close/>
                  <a:moveTo>
                    <a:pt x="40" y="20"/>
                  </a:moveTo>
                  <a:cubicBezTo>
                    <a:pt x="51" y="20"/>
                    <a:pt x="60" y="29"/>
                    <a:pt x="60" y="40"/>
                  </a:cubicBezTo>
                  <a:cubicBezTo>
                    <a:pt x="60" y="51"/>
                    <a:pt x="51" y="60"/>
                    <a:pt x="40" y="60"/>
                  </a:cubicBezTo>
                  <a:cubicBezTo>
                    <a:pt x="29" y="60"/>
                    <a:pt x="20" y="51"/>
                    <a:pt x="20" y="40"/>
                  </a:cubicBezTo>
                  <a:cubicBezTo>
                    <a:pt x="20" y="29"/>
                    <a:pt x="29" y="20"/>
                    <a:pt x="40" y="20"/>
                  </a:cubicBezTo>
                  <a:close/>
                  <a:moveTo>
                    <a:pt x="40" y="28"/>
                  </a:moveTo>
                  <a:cubicBezTo>
                    <a:pt x="33" y="28"/>
                    <a:pt x="28" y="33"/>
                    <a:pt x="28" y="40"/>
                  </a:cubicBezTo>
                  <a:cubicBezTo>
                    <a:pt x="28" y="47"/>
                    <a:pt x="33" y="52"/>
                    <a:pt x="40" y="52"/>
                  </a:cubicBezTo>
                  <a:cubicBezTo>
                    <a:pt x="47" y="52"/>
                    <a:pt x="52" y="47"/>
                    <a:pt x="52" y="40"/>
                  </a:cubicBezTo>
                  <a:cubicBezTo>
                    <a:pt x="52" y="33"/>
                    <a:pt x="47" y="28"/>
                    <a:pt x="40" y="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EAF6517D-4B73-44C6-8EAF-F46FC9D8ED58}"/>
              </a:ext>
            </a:extLst>
          </p:cNvPr>
          <p:cNvGrpSpPr/>
          <p:nvPr/>
        </p:nvGrpSpPr>
        <p:grpSpPr>
          <a:xfrm>
            <a:off x="6924914" y="3545392"/>
            <a:ext cx="4593986" cy="401224"/>
            <a:chOff x="6924914" y="3237632"/>
            <a:chExt cx="4593986" cy="401224"/>
          </a:xfrm>
        </p:grpSpPr>
        <p:sp>
          <p:nvSpPr>
            <p:cNvPr id="201" name="iṥľîḋè">
              <a:extLst>
                <a:ext uri="{FF2B5EF4-FFF2-40B4-BE49-F238E27FC236}">
                  <a16:creationId xmlns:a16="http://schemas.microsoft.com/office/drawing/2014/main" id="{30A5B2BF-2136-4261-892A-DD19494A2CF9}"/>
                </a:ext>
              </a:extLst>
            </p:cNvPr>
            <p:cNvSpPr/>
            <p:nvPr/>
          </p:nvSpPr>
          <p:spPr bwMode="auto">
            <a:xfrm>
              <a:off x="7332551" y="3237632"/>
              <a:ext cx="4186349" cy="401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200" dirty="0"/>
                <a:t>Copy paste fonts. Choose the only option to retain text.</a:t>
              </a:r>
            </a:p>
          </p:txBody>
        </p:sp>
        <p:sp>
          <p:nvSpPr>
            <p:cNvPr id="210" name="iṩľíḍe">
              <a:extLst>
                <a:ext uri="{FF2B5EF4-FFF2-40B4-BE49-F238E27FC236}">
                  <a16:creationId xmlns:a16="http://schemas.microsoft.com/office/drawing/2014/main" id="{8865FE9E-6986-46B4-9C21-9D4CBC134149}"/>
                </a:ext>
              </a:extLst>
            </p:cNvPr>
            <p:cNvSpPr/>
            <p:nvPr/>
          </p:nvSpPr>
          <p:spPr bwMode="auto">
            <a:xfrm>
              <a:off x="6924914" y="3242753"/>
              <a:ext cx="358573" cy="390974"/>
            </a:xfrm>
            <a:custGeom>
              <a:avLst/>
              <a:gdLst>
                <a:gd name="T0" fmla="*/ 156 w 208"/>
                <a:gd name="T1" fmla="*/ 0 h 224"/>
                <a:gd name="T2" fmla="*/ 156 w 208"/>
                <a:gd name="T3" fmla="*/ 8 h 224"/>
                <a:gd name="T4" fmla="*/ 144 w 208"/>
                <a:gd name="T5" fmla="*/ 8 h 224"/>
                <a:gd name="T6" fmla="*/ 144 w 208"/>
                <a:gd name="T7" fmla="*/ 59 h 224"/>
                <a:gd name="T8" fmla="*/ 208 w 208"/>
                <a:gd name="T9" fmla="*/ 204 h 224"/>
                <a:gd name="T10" fmla="*/ 201 w 208"/>
                <a:gd name="T11" fmla="*/ 224 h 224"/>
                <a:gd name="T12" fmla="*/ 7 w 208"/>
                <a:gd name="T13" fmla="*/ 224 h 224"/>
                <a:gd name="T14" fmla="*/ 0 w 208"/>
                <a:gd name="T15" fmla="*/ 204 h 224"/>
                <a:gd name="T16" fmla="*/ 64 w 208"/>
                <a:gd name="T17" fmla="*/ 59 h 224"/>
                <a:gd name="T18" fmla="*/ 64 w 208"/>
                <a:gd name="T19" fmla="*/ 8 h 224"/>
                <a:gd name="T20" fmla="*/ 52 w 208"/>
                <a:gd name="T21" fmla="*/ 8 h 224"/>
                <a:gd name="T22" fmla="*/ 52 w 208"/>
                <a:gd name="T23" fmla="*/ 0 h 224"/>
                <a:gd name="T24" fmla="*/ 156 w 208"/>
                <a:gd name="T25" fmla="*/ 0 h 224"/>
                <a:gd name="T26" fmla="*/ 108 w 208"/>
                <a:gd name="T27" fmla="*/ 174 h 224"/>
                <a:gd name="T28" fmla="*/ 106 w 208"/>
                <a:gd name="T29" fmla="*/ 175 h 224"/>
                <a:gd name="T30" fmla="*/ 22 w 208"/>
                <a:gd name="T31" fmla="*/ 174 h 224"/>
                <a:gd name="T32" fmla="*/ 8 w 208"/>
                <a:gd name="T33" fmla="*/ 204 h 224"/>
                <a:gd name="T34" fmla="*/ 13 w 208"/>
                <a:gd name="T35" fmla="*/ 216 h 224"/>
                <a:gd name="T36" fmla="*/ 195 w 208"/>
                <a:gd name="T37" fmla="*/ 216 h 224"/>
                <a:gd name="T38" fmla="*/ 200 w 208"/>
                <a:gd name="T39" fmla="*/ 204 h 224"/>
                <a:gd name="T40" fmla="*/ 185 w 208"/>
                <a:gd name="T41" fmla="*/ 171 h 224"/>
                <a:gd name="T42" fmla="*/ 108 w 208"/>
                <a:gd name="T43" fmla="*/ 174 h 224"/>
                <a:gd name="T44" fmla="*/ 136 w 208"/>
                <a:gd name="T45" fmla="*/ 8 h 224"/>
                <a:gd name="T46" fmla="*/ 72 w 208"/>
                <a:gd name="T47" fmla="*/ 8 h 224"/>
                <a:gd name="T48" fmla="*/ 72 w 208"/>
                <a:gd name="T49" fmla="*/ 61 h 224"/>
                <a:gd name="T50" fmla="*/ 25 w 208"/>
                <a:gd name="T51" fmla="*/ 166 h 224"/>
                <a:gd name="T52" fmla="*/ 101 w 208"/>
                <a:gd name="T53" fmla="*/ 170 h 224"/>
                <a:gd name="T54" fmla="*/ 102 w 208"/>
                <a:gd name="T55" fmla="*/ 169 h 224"/>
                <a:gd name="T56" fmla="*/ 180 w 208"/>
                <a:gd name="T57" fmla="*/ 160 h 224"/>
                <a:gd name="T58" fmla="*/ 136 w 208"/>
                <a:gd name="T59" fmla="*/ 61 h 224"/>
                <a:gd name="T60" fmla="*/ 136 w 208"/>
                <a:gd name="T61" fmla="*/ 8 h 224"/>
                <a:gd name="T62" fmla="*/ 130 w 208"/>
                <a:gd name="T63" fmla="*/ 104 h 224"/>
                <a:gd name="T64" fmla="*/ 148 w 208"/>
                <a:gd name="T65" fmla="*/ 122 h 224"/>
                <a:gd name="T66" fmla="*/ 130 w 208"/>
                <a:gd name="T67" fmla="*/ 140 h 224"/>
                <a:gd name="T68" fmla="*/ 112 w 208"/>
                <a:gd name="T69" fmla="*/ 122 h 224"/>
                <a:gd name="T70" fmla="*/ 130 w 208"/>
                <a:gd name="T71" fmla="*/ 104 h 224"/>
                <a:gd name="T72" fmla="*/ 130 w 208"/>
                <a:gd name="T73" fmla="*/ 112 h 224"/>
                <a:gd name="T74" fmla="*/ 120 w 208"/>
                <a:gd name="T75" fmla="*/ 122 h 224"/>
                <a:gd name="T76" fmla="*/ 130 w 208"/>
                <a:gd name="T77" fmla="*/ 132 h 224"/>
                <a:gd name="T78" fmla="*/ 140 w 208"/>
                <a:gd name="T79" fmla="*/ 122 h 224"/>
                <a:gd name="T80" fmla="*/ 130 w 208"/>
                <a:gd name="T81" fmla="*/ 11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8" h="224">
                  <a:moveTo>
                    <a:pt x="156" y="0"/>
                  </a:moveTo>
                  <a:cubicBezTo>
                    <a:pt x="156" y="8"/>
                    <a:pt x="156" y="8"/>
                    <a:pt x="156" y="8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4" y="59"/>
                    <a:pt x="144" y="59"/>
                    <a:pt x="144" y="59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1" y="224"/>
                    <a:pt x="201" y="224"/>
                    <a:pt x="201" y="224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156" y="0"/>
                  </a:lnTo>
                  <a:close/>
                  <a:moveTo>
                    <a:pt x="108" y="174"/>
                  </a:moveTo>
                  <a:cubicBezTo>
                    <a:pt x="106" y="175"/>
                    <a:pt x="106" y="175"/>
                    <a:pt x="106" y="175"/>
                  </a:cubicBezTo>
                  <a:cubicBezTo>
                    <a:pt x="83" y="192"/>
                    <a:pt x="50" y="191"/>
                    <a:pt x="22" y="174"/>
                  </a:cubicBezTo>
                  <a:cubicBezTo>
                    <a:pt x="8" y="204"/>
                    <a:pt x="8" y="204"/>
                    <a:pt x="8" y="204"/>
                  </a:cubicBezTo>
                  <a:cubicBezTo>
                    <a:pt x="13" y="216"/>
                    <a:pt x="13" y="216"/>
                    <a:pt x="13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85" y="171"/>
                    <a:pt x="185" y="171"/>
                    <a:pt x="185" y="171"/>
                  </a:cubicBezTo>
                  <a:cubicBezTo>
                    <a:pt x="159" y="159"/>
                    <a:pt x="128" y="160"/>
                    <a:pt x="108" y="174"/>
                  </a:cubicBezTo>
                  <a:close/>
                  <a:moveTo>
                    <a:pt x="136" y="8"/>
                  </a:moveTo>
                  <a:cubicBezTo>
                    <a:pt x="72" y="8"/>
                    <a:pt x="72" y="8"/>
                    <a:pt x="72" y="8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25" y="166"/>
                    <a:pt x="25" y="166"/>
                    <a:pt x="25" y="166"/>
                  </a:cubicBezTo>
                  <a:cubicBezTo>
                    <a:pt x="50" y="182"/>
                    <a:pt x="80" y="183"/>
                    <a:pt x="101" y="170"/>
                  </a:cubicBezTo>
                  <a:cubicBezTo>
                    <a:pt x="102" y="169"/>
                    <a:pt x="102" y="169"/>
                    <a:pt x="102" y="169"/>
                  </a:cubicBezTo>
                  <a:cubicBezTo>
                    <a:pt x="123" y="154"/>
                    <a:pt x="153" y="151"/>
                    <a:pt x="180" y="160"/>
                  </a:cubicBezTo>
                  <a:cubicBezTo>
                    <a:pt x="136" y="61"/>
                    <a:pt x="136" y="61"/>
                    <a:pt x="136" y="61"/>
                  </a:cubicBezTo>
                  <a:lnTo>
                    <a:pt x="136" y="8"/>
                  </a:lnTo>
                  <a:close/>
                  <a:moveTo>
                    <a:pt x="130" y="104"/>
                  </a:moveTo>
                  <a:cubicBezTo>
                    <a:pt x="140" y="104"/>
                    <a:pt x="148" y="112"/>
                    <a:pt x="148" y="122"/>
                  </a:cubicBezTo>
                  <a:cubicBezTo>
                    <a:pt x="148" y="132"/>
                    <a:pt x="140" y="140"/>
                    <a:pt x="130" y="140"/>
                  </a:cubicBezTo>
                  <a:cubicBezTo>
                    <a:pt x="120" y="140"/>
                    <a:pt x="112" y="132"/>
                    <a:pt x="112" y="122"/>
                  </a:cubicBezTo>
                  <a:cubicBezTo>
                    <a:pt x="112" y="112"/>
                    <a:pt x="120" y="104"/>
                    <a:pt x="130" y="104"/>
                  </a:cubicBezTo>
                  <a:close/>
                  <a:moveTo>
                    <a:pt x="130" y="112"/>
                  </a:moveTo>
                  <a:cubicBezTo>
                    <a:pt x="124" y="112"/>
                    <a:pt x="120" y="116"/>
                    <a:pt x="120" y="122"/>
                  </a:cubicBezTo>
                  <a:cubicBezTo>
                    <a:pt x="120" y="128"/>
                    <a:pt x="124" y="132"/>
                    <a:pt x="130" y="132"/>
                  </a:cubicBezTo>
                  <a:cubicBezTo>
                    <a:pt x="136" y="132"/>
                    <a:pt x="140" y="128"/>
                    <a:pt x="140" y="122"/>
                  </a:cubicBezTo>
                  <a:cubicBezTo>
                    <a:pt x="140" y="116"/>
                    <a:pt x="136" y="112"/>
                    <a:pt x="130" y="112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26219D37-91C7-47F0-BE00-9B1D8E3D55AE}"/>
              </a:ext>
            </a:extLst>
          </p:cNvPr>
          <p:cNvGrpSpPr/>
          <p:nvPr/>
        </p:nvGrpSpPr>
        <p:grpSpPr>
          <a:xfrm>
            <a:off x="6910875" y="4379672"/>
            <a:ext cx="4608025" cy="401224"/>
            <a:chOff x="6910875" y="3918032"/>
            <a:chExt cx="4608025" cy="401224"/>
          </a:xfrm>
        </p:grpSpPr>
        <p:sp>
          <p:nvSpPr>
            <p:cNvPr id="202" name="îṥľîḑe">
              <a:extLst>
                <a:ext uri="{FF2B5EF4-FFF2-40B4-BE49-F238E27FC236}">
                  <a16:creationId xmlns:a16="http://schemas.microsoft.com/office/drawing/2014/main" id="{9B33A4EB-16AE-4E1C-89F4-3576667DD8F0}"/>
                </a:ext>
              </a:extLst>
            </p:cNvPr>
            <p:cNvSpPr/>
            <p:nvPr/>
          </p:nvSpPr>
          <p:spPr bwMode="auto">
            <a:xfrm>
              <a:off x="7332551" y="3918032"/>
              <a:ext cx="4186349" cy="401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200" dirty="0"/>
                <a:t>Copy paste fonts. Choose the only option to retain text.</a:t>
              </a:r>
            </a:p>
          </p:txBody>
        </p:sp>
        <p:sp>
          <p:nvSpPr>
            <p:cNvPr id="211" name="ï$1ídé">
              <a:extLst>
                <a:ext uri="{FF2B5EF4-FFF2-40B4-BE49-F238E27FC236}">
                  <a16:creationId xmlns:a16="http://schemas.microsoft.com/office/drawing/2014/main" id="{B2C7EDC4-99EB-450E-AF4B-D631DCA2885C}"/>
                </a:ext>
              </a:extLst>
            </p:cNvPr>
            <p:cNvSpPr/>
            <p:nvPr/>
          </p:nvSpPr>
          <p:spPr bwMode="auto">
            <a:xfrm>
              <a:off x="6910875" y="3923151"/>
              <a:ext cx="386652" cy="390973"/>
            </a:xfrm>
            <a:custGeom>
              <a:avLst/>
              <a:gdLst>
                <a:gd name="T0" fmla="*/ 160 w 224"/>
                <a:gd name="T1" fmla="*/ 0 h 224"/>
                <a:gd name="T2" fmla="*/ 160 w 224"/>
                <a:gd name="T3" fmla="*/ 48 h 224"/>
                <a:gd name="T4" fmla="*/ 224 w 224"/>
                <a:gd name="T5" fmla="*/ 48 h 224"/>
                <a:gd name="T6" fmla="*/ 224 w 224"/>
                <a:gd name="T7" fmla="*/ 176 h 224"/>
                <a:gd name="T8" fmla="*/ 160 w 224"/>
                <a:gd name="T9" fmla="*/ 176 h 224"/>
                <a:gd name="T10" fmla="*/ 160 w 224"/>
                <a:gd name="T11" fmla="*/ 224 h 224"/>
                <a:gd name="T12" fmla="*/ 64 w 224"/>
                <a:gd name="T13" fmla="*/ 224 h 224"/>
                <a:gd name="T14" fmla="*/ 64 w 224"/>
                <a:gd name="T15" fmla="*/ 176 h 224"/>
                <a:gd name="T16" fmla="*/ 0 w 224"/>
                <a:gd name="T17" fmla="*/ 176 h 224"/>
                <a:gd name="T18" fmla="*/ 0 w 224"/>
                <a:gd name="T19" fmla="*/ 76 h 224"/>
                <a:gd name="T20" fmla="*/ 26 w 224"/>
                <a:gd name="T21" fmla="*/ 48 h 224"/>
                <a:gd name="T22" fmla="*/ 64 w 224"/>
                <a:gd name="T23" fmla="*/ 48 h 224"/>
                <a:gd name="T24" fmla="*/ 64 w 224"/>
                <a:gd name="T25" fmla="*/ 0 h 224"/>
                <a:gd name="T26" fmla="*/ 160 w 224"/>
                <a:gd name="T27" fmla="*/ 0 h 224"/>
                <a:gd name="T28" fmla="*/ 152 w 224"/>
                <a:gd name="T29" fmla="*/ 120 h 224"/>
                <a:gd name="T30" fmla="*/ 72 w 224"/>
                <a:gd name="T31" fmla="*/ 120 h 224"/>
                <a:gd name="T32" fmla="*/ 72 w 224"/>
                <a:gd name="T33" fmla="*/ 216 h 224"/>
                <a:gd name="T34" fmla="*/ 152 w 224"/>
                <a:gd name="T35" fmla="*/ 216 h 224"/>
                <a:gd name="T36" fmla="*/ 152 w 224"/>
                <a:gd name="T37" fmla="*/ 120 h 224"/>
                <a:gd name="T38" fmla="*/ 216 w 224"/>
                <a:gd name="T39" fmla="*/ 56 h 224"/>
                <a:gd name="T40" fmla="*/ 30 w 224"/>
                <a:gd name="T41" fmla="*/ 56 h 224"/>
                <a:gd name="T42" fmla="*/ 8 w 224"/>
                <a:gd name="T43" fmla="*/ 80 h 224"/>
                <a:gd name="T44" fmla="*/ 8 w 224"/>
                <a:gd name="T45" fmla="*/ 168 h 224"/>
                <a:gd name="T46" fmla="*/ 64 w 224"/>
                <a:gd name="T47" fmla="*/ 168 h 224"/>
                <a:gd name="T48" fmla="*/ 64 w 224"/>
                <a:gd name="T49" fmla="*/ 112 h 224"/>
                <a:gd name="T50" fmla="*/ 160 w 224"/>
                <a:gd name="T51" fmla="*/ 112 h 224"/>
                <a:gd name="T52" fmla="*/ 160 w 224"/>
                <a:gd name="T53" fmla="*/ 168 h 224"/>
                <a:gd name="T54" fmla="*/ 216 w 224"/>
                <a:gd name="T55" fmla="*/ 168 h 224"/>
                <a:gd name="T56" fmla="*/ 216 w 224"/>
                <a:gd name="T57" fmla="*/ 56 h 224"/>
                <a:gd name="T58" fmla="*/ 194 w 224"/>
                <a:gd name="T59" fmla="*/ 72 h 224"/>
                <a:gd name="T60" fmla="*/ 200 w 224"/>
                <a:gd name="T61" fmla="*/ 78 h 224"/>
                <a:gd name="T62" fmla="*/ 194 w 224"/>
                <a:gd name="T63" fmla="*/ 84 h 224"/>
                <a:gd name="T64" fmla="*/ 188 w 224"/>
                <a:gd name="T65" fmla="*/ 78 h 224"/>
                <a:gd name="T66" fmla="*/ 194 w 224"/>
                <a:gd name="T67" fmla="*/ 72 h 224"/>
                <a:gd name="T68" fmla="*/ 152 w 224"/>
                <a:gd name="T69" fmla="*/ 8 h 224"/>
                <a:gd name="T70" fmla="*/ 72 w 224"/>
                <a:gd name="T71" fmla="*/ 8 h 224"/>
                <a:gd name="T72" fmla="*/ 72 w 224"/>
                <a:gd name="T73" fmla="*/ 48 h 224"/>
                <a:gd name="T74" fmla="*/ 152 w 224"/>
                <a:gd name="T75" fmla="*/ 48 h 224"/>
                <a:gd name="T76" fmla="*/ 152 w 224"/>
                <a:gd name="T77" fmla="*/ 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24" h="224">
                  <a:moveTo>
                    <a:pt x="160" y="0"/>
                  </a:moveTo>
                  <a:cubicBezTo>
                    <a:pt x="160" y="48"/>
                    <a:pt x="160" y="48"/>
                    <a:pt x="160" y="48"/>
                  </a:cubicBezTo>
                  <a:cubicBezTo>
                    <a:pt x="224" y="48"/>
                    <a:pt x="224" y="48"/>
                    <a:pt x="224" y="48"/>
                  </a:cubicBezTo>
                  <a:cubicBezTo>
                    <a:pt x="224" y="176"/>
                    <a:pt x="224" y="176"/>
                    <a:pt x="224" y="176"/>
                  </a:cubicBezTo>
                  <a:cubicBezTo>
                    <a:pt x="160" y="176"/>
                    <a:pt x="160" y="176"/>
                    <a:pt x="160" y="176"/>
                  </a:cubicBezTo>
                  <a:cubicBezTo>
                    <a:pt x="160" y="224"/>
                    <a:pt x="160" y="224"/>
                    <a:pt x="160" y="224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160" y="0"/>
                  </a:lnTo>
                  <a:close/>
                  <a:moveTo>
                    <a:pt x="152" y="120"/>
                  </a:moveTo>
                  <a:cubicBezTo>
                    <a:pt x="72" y="120"/>
                    <a:pt x="72" y="120"/>
                    <a:pt x="72" y="120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152" y="216"/>
                    <a:pt x="152" y="216"/>
                    <a:pt x="152" y="216"/>
                  </a:cubicBezTo>
                  <a:lnTo>
                    <a:pt x="152" y="120"/>
                  </a:lnTo>
                  <a:close/>
                  <a:moveTo>
                    <a:pt x="216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168"/>
                    <a:pt x="8" y="168"/>
                    <a:pt x="8" y="168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4" y="112"/>
                    <a:pt x="64" y="112"/>
                    <a:pt x="64" y="112"/>
                  </a:cubicBezTo>
                  <a:cubicBezTo>
                    <a:pt x="160" y="112"/>
                    <a:pt x="160" y="112"/>
                    <a:pt x="160" y="112"/>
                  </a:cubicBezTo>
                  <a:cubicBezTo>
                    <a:pt x="160" y="168"/>
                    <a:pt x="160" y="168"/>
                    <a:pt x="160" y="168"/>
                  </a:cubicBezTo>
                  <a:cubicBezTo>
                    <a:pt x="216" y="168"/>
                    <a:pt x="216" y="168"/>
                    <a:pt x="216" y="168"/>
                  </a:cubicBezTo>
                  <a:lnTo>
                    <a:pt x="216" y="56"/>
                  </a:lnTo>
                  <a:close/>
                  <a:moveTo>
                    <a:pt x="194" y="72"/>
                  </a:moveTo>
                  <a:cubicBezTo>
                    <a:pt x="197" y="72"/>
                    <a:pt x="200" y="75"/>
                    <a:pt x="200" y="78"/>
                  </a:cubicBezTo>
                  <a:cubicBezTo>
                    <a:pt x="200" y="81"/>
                    <a:pt x="197" y="84"/>
                    <a:pt x="194" y="84"/>
                  </a:cubicBezTo>
                  <a:cubicBezTo>
                    <a:pt x="191" y="84"/>
                    <a:pt x="188" y="81"/>
                    <a:pt x="188" y="78"/>
                  </a:cubicBezTo>
                  <a:cubicBezTo>
                    <a:pt x="188" y="75"/>
                    <a:pt x="191" y="72"/>
                    <a:pt x="194" y="72"/>
                  </a:cubicBezTo>
                  <a:close/>
                  <a:moveTo>
                    <a:pt x="152" y="8"/>
                  </a:moveTo>
                  <a:cubicBezTo>
                    <a:pt x="72" y="8"/>
                    <a:pt x="72" y="8"/>
                    <a:pt x="72" y="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152" y="48"/>
                    <a:pt x="152" y="48"/>
                    <a:pt x="152" y="48"/>
                  </a:cubicBezTo>
                  <a:lnTo>
                    <a:pt x="152" y="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组合 5">
            <a:extLst>
              <a:ext uri="{FF2B5EF4-FFF2-40B4-BE49-F238E27FC236}">
                <a16:creationId xmlns:a16="http://schemas.microsoft.com/office/drawing/2014/main" id="{8F5FCC66-5CB1-4235-A127-E3E574129DC6}"/>
              </a:ext>
            </a:extLst>
          </p:cNvPr>
          <p:cNvGrpSpPr/>
          <p:nvPr/>
        </p:nvGrpSpPr>
        <p:grpSpPr>
          <a:xfrm>
            <a:off x="6908714" y="5213953"/>
            <a:ext cx="4610186" cy="401224"/>
            <a:chOff x="6908714" y="5213953"/>
            <a:chExt cx="4610186" cy="401224"/>
          </a:xfrm>
        </p:grpSpPr>
        <p:sp>
          <p:nvSpPr>
            <p:cNvPr id="203" name="îṥľiḋè">
              <a:extLst>
                <a:ext uri="{FF2B5EF4-FFF2-40B4-BE49-F238E27FC236}">
                  <a16:creationId xmlns:a16="http://schemas.microsoft.com/office/drawing/2014/main" id="{CF8FD61D-0E71-44B2-A50A-0D97F2FFF601}"/>
                </a:ext>
              </a:extLst>
            </p:cNvPr>
            <p:cNvSpPr/>
            <p:nvPr/>
          </p:nvSpPr>
          <p:spPr bwMode="auto">
            <a:xfrm>
              <a:off x="7332551" y="5213953"/>
              <a:ext cx="4186349" cy="401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altLang="zh-CN" sz="1200" dirty="0"/>
                <a:t>Copy paste fonts. Choose the only option to retain text.</a:t>
              </a:r>
            </a:p>
          </p:txBody>
        </p:sp>
        <p:sp>
          <p:nvSpPr>
            <p:cNvPr id="212" name="iṥ1iḑê">
              <a:extLst>
                <a:ext uri="{FF2B5EF4-FFF2-40B4-BE49-F238E27FC236}">
                  <a16:creationId xmlns:a16="http://schemas.microsoft.com/office/drawing/2014/main" id="{8841357A-3B41-4DCA-920C-65A84ECF5BB0}"/>
                </a:ext>
              </a:extLst>
            </p:cNvPr>
            <p:cNvSpPr/>
            <p:nvPr/>
          </p:nvSpPr>
          <p:spPr bwMode="auto">
            <a:xfrm>
              <a:off x="6908714" y="5251377"/>
              <a:ext cx="390974" cy="326358"/>
            </a:xfrm>
            <a:custGeom>
              <a:avLst/>
              <a:gdLst>
                <a:gd name="T0" fmla="*/ 224 w 224"/>
                <a:gd name="T1" fmla="*/ 0 h 184"/>
                <a:gd name="T2" fmla="*/ 224 w 224"/>
                <a:gd name="T3" fmla="*/ 156 h 184"/>
                <a:gd name="T4" fmla="*/ 86 w 224"/>
                <a:gd name="T5" fmla="*/ 156 h 184"/>
                <a:gd name="T6" fmla="*/ 48 w 224"/>
                <a:gd name="T7" fmla="*/ 184 h 184"/>
                <a:gd name="T8" fmla="*/ 48 w 224"/>
                <a:gd name="T9" fmla="*/ 156 h 184"/>
                <a:gd name="T10" fmla="*/ 0 w 224"/>
                <a:gd name="T11" fmla="*/ 156 h 184"/>
                <a:gd name="T12" fmla="*/ 0 w 224"/>
                <a:gd name="T13" fmla="*/ 0 h 184"/>
                <a:gd name="T14" fmla="*/ 224 w 224"/>
                <a:gd name="T15" fmla="*/ 0 h 184"/>
                <a:gd name="T16" fmla="*/ 216 w 224"/>
                <a:gd name="T17" fmla="*/ 8 h 184"/>
                <a:gd name="T18" fmla="*/ 8 w 224"/>
                <a:gd name="T19" fmla="*/ 8 h 184"/>
                <a:gd name="T20" fmla="*/ 8 w 224"/>
                <a:gd name="T21" fmla="*/ 148 h 184"/>
                <a:gd name="T22" fmla="*/ 56 w 224"/>
                <a:gd name="T23" fmla="*/ 148 h 184"/>
                <a:gd name="T24" fmla="*/ 56 w 224"/>
                <a:gd name="T25" fmla="*/ 168 h 184"/>
                <a:gd name="T26" fmla="*/ 83 w 224"/>
                <a:gd name="T27" fmla="*/ 148 h 184"/>
                <a:gd name="T28" fmla="*/ 216 w 224"/>
                <a:gd name="T29" fmla="*/ 148 h 184"/>
                <a:gd name="T30" fmla="*/ 216 w 224"/>
                <a:gd name="T31" fmla="*/ 8 h 184"/>
                <a:gd name="T32" fmla="*/ 56 w 224"/>
                <a:gd name="T33" fmla="*/ 60 h 184"/>
                <a:gd name="T34" fmla="*/ 74 w 224"/>
                <a:gd name="T35" fmla="*/ 78 h 184"/>
                <a:gd name="T36" fmla="*/ 56 w 224"/>
                <a:gd name="T37" fmla="*/ 96 h 184"/>
                <a:gd name="T38" fmla="*/ 38 w 224"/>
                <a:gd name="T39" fmla="*/ 78 h 184"/>
                <a:gd name="T40" fmla="*/ 56 w 224"/>
                <a:gd name="T41" fmla="*/ 60 h 184"/>
                <a:gd name="T42" fmla="*/ 112 w 224"/>
                <a:gd name="T43" fmla="*/ 60 h 184"/>
                <a:gd name="T44" fmla="*/ 130 w 224"/>
                <a:gd name="T45" fmla="*/ 78 h 184"/>
                <a:gd name="T46" fmla="*/ 112 w 224"/>
                <a:gd name="T47" fmla="*/ 96 h 184"/>
                <a:gd name="T48" fmla="*/ 94 w 224"/>
                <a:gd name="T49" fmla="*/ 78 h 184"/>
                <a:gd name="T50" fmla="*/ 112 w 224"/>
                <a:gd name="T51" fmla="*/ 60 h 184"/>
                <a:gd name="T52" fmla="*/ 168 w 224"/>
                <a:gd name="T53" fmla="*/ 60 h 184"/>
                <a:gd name="T54" fmla="*/ 186 w 224"/>
                <a:gd name="T55" fmla="*/ 78 h 184"/>
                <a:gd name="T56" fmla="*/ 168 w 224"/>
                <a:gd name="T57" fmla="*/ 96 h 184"/>
                <a:gd name="T58" fmla="*/ 150 w 224"/>
                <a:gd name="T59" fmla="*/ 78 h 184"/>
                <a:gd name="T60" fmla="*/ 168 w 224"/>
                <a:gd name="T61" fmla="*/ 60 h 184"/>
                <a:gd name="T62" fmla="*/ 56 w 224"/>
                <a:gd name="T63" fmla="*/ 68 h 184"/>
                <a:gd name="T64" fmla="*/ 46 w 224"/>
                <a:gd name="T65" fmla="*/ 78 h 184"/>
                <a:gd name="T66" fmla="*/ 56 w 224"/>
                <a:gd name="T67" fmla="*/ 88 h 184"/>
                <a:gd name="T68" fmla="*/ 66 w 224"/>
                <a:gd name="T69" fmla="*/ 78 h 184"/>
                <a:gd name="T70" fmla="*/ 56 w 224"/>
                <a:gd name="T71" fmla="*/ 68 h 184"/>
                <a:gd name="T72" fmla="*/ 112 w 224"/>
                <a:gd name="T73" fmla="*/ 68 h 184"/>
                <a:gd name="T74" fmla="*/ 102 w 224"/>
                <a:gd name="T75" fmla="*/ 78 h 184"/>
                <a:gd name="T76" fmla="*/ 112 w 224"/>
                <a:gd name="T77" fmla="*/ 88 h 184"/>
                <a:gd name="T78" fmla="*/ 122 w 224"/>
                <a:gd name="T79" fmla="*/ 78 h 184"/>
                <a:gd name="T80" fmla="*/ 112 w 224"/>
                <a:gd name="T81" fmla="*/ 68 h 184"/>
                <a:gd name="T82" fmla="*/ 168 w 224"/>
                <a:gd name="T83" fmla="*/ 68 h 184"/>
                <a:gd name="T84" fmla="*/ 158 w 224"/>
                <a:gd name="T85" fmla="*/ 78 h 184"/>
                <a:gd name="T86" fmla="*/ 168 w 224"/>
                <a:gd name="T87" fmla="*/ 88 h 184"/>
                <a:gd name="T88" fmla="*/ 178 w 224"/>
                <a:gd name="T89" fmla="*/ 78 h 184"/>
                <a:gd name="T90" fmla="*/ 168 w 224"/>
                <a:gd name="T91" fmla="*/ 6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4" h="184">
                  <a:moveTo>
                    <a:pt x="224" y="0"/>
                  </a:moveTo>
                  <a:cubicBezTo>
                    <a:pt x="224" y="156"/>
                    <a:pt x="224" y="156"/>
                    <a:pt x="224" y="156"/>
                  </a:cubicBezTo>
                  <a:cubicBezTo>
                    <a:pt x="86" y="156"/>
                    <a:pt x="86" y="156"/>
                    <a:pt x="86" y="156"/>
                  </a:cubicBezTo>
                  <a:cubicBezTo>
                    <a:pt x="48" y="184"/>
                    <a:pt x="48" y="184"/>
                    <a:pt x="48" y="184"/>
                  </a:cubicBezTo>
                  <a:cubicBezTo>
                    <a:pt x="48" y="156"/>
                    <a:pt x="48" y="156"/>
                    <a:pt x="48" y="156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24" y="0"/>
                  </a:lnTo>
                  <a:close/>
                  <a:moveTo>
                    <a:pt x="216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8" y="148"/>
                    <a:pt x="8" y="148"/>
                    <a:pt x="8" y="148"/>
                  </a:cubicBezTo>
                  <a:cubicBezTo>
                    <a:pt x="56" y="148"/>
                    <a:pt x="56" y="148"/>
                    <a:pt x="56" y="148"/>
                  </a:cubicBezTo>
                  <a:cubicBezTo>
                    <a:pt x="56" y="168"/>
                    <a:pt x="56" y="168"/>
                    <a:pt x="56" y="168"/>
                  </a:cubicBezTo>
                  <a:cubicBezTo>
                    <a:pt x="83" y="148"/>
                    <a:pt x="83" y="148"/>
                    <a:pt x="83" y="148"/>
                  </a:cubicBezTo>
                  <a:cubicBezTo>
                    <a:pt x="216" y="148"/>
                    <a:pt x="216" y="148"/>
                    <a:pt x="216" y="148"/>
                  </a:cubicBezTo>
                  <a:lnTo>
                    <a:pt x="216" y="8"/>
                  </a:lnTo>
                  <a:close/>
                  <a:moveTo>
                    <a:pt x="56" y="60"/>
                  </a:moveTo>
                  <a:cubicBezTo>
                    <a:pt x="66" y="60"/>
                    <a:pt x="74" y="68"/>
                    <a:pt x="74" y="78"/>
                  </a:cubicBezTo>
                  <a:cubicBezTo>
                    <a:pt x="74" y="88"/>
                    <a:pt x="66" y="96"/>
                    <a:pt x="56" y="96"/>
                  </a:cubicBezTo>
                  <a:cubicBezTo>
                    <a:pt x="46" y="96"/>
                    <a:pt x="38" y="88"/>
                    <a:pt x="38" y="78"/>
                  </a:cubicBezTo>
                  <a:cubicBezTo>
                    <a:pt x="38" y="68"/>
                    <a:pt x="46" y="60"/>
                    <a:pt x="56" y="60"/>
                  </a:cubicBezTo>
                  <a:close/>
                  <a:moveTo>
                    <a:pt x="112" y="60"/>
                  </a:moveTo>
                  <a:cubicBezTo>
                    <a:pt x="122" y="60"/>
                    <a:pt x="130" y="68"/>
                    <a:pt x="130" y="78"/>
                  </a:cubicBezTo>
                  <a:cubicBezTo>
                    <a:pt x="130" y="88"/>
                    <a:pt x="122" y="96"/>
                    <a:pt x="112" y="96"/>
                  </a:cubicBezTo>
                  <a:cubicBezTo>
                    <a:pt x="102" y="96"/>
                    <a:pt x="94" y="88"/>
                    <a:pt x="94" y="78"/>
                  </a:cubicBezTo>
                  <a:cubicBezTo>
                    <a:pt x="94" y="68"/>
                    <a:pt x="102" y="60"/>
                    <a:pt x="112" y="60"/>
                  </a:cubicBezTo>
                  <a:close/>
                  <a:moveTo>
                    <a:pt x="168" y="60"/>
                  </a:moveTo>
                  <a:cubicBezTo>
                    <a:pt x="178" y="60"/>
                    <a:pt x="186" y="68"/>
                    <a:pt x="186" y="78"/>
                  </a:cubicBezTo>
                  <a:cubicBezTo>
                    <a:pt x="186" y="88"/>
                    <a:pt x="178" y="96"/>
                    <a:pt x="168" y="96"/>
                  </a:cubicBezTo>
                  <a:cubicBezTo>
                    <a:pt x="158" y="96"/>
                    <a:pt x="150" y="88"/>
                    <a:pt x="150" y="78"/>
                  </a:cubicBezTo>
                  <a:cubicBezTo>
                    <a:pt x="150" y="68"/>
                    <a:pt x="158" y="60"/>
                    <a:pt x="168" y="60"/>
                  </a:cubicBezTo>
                  <a:close/>
                  <a:moveTo>
                    <a:pt x="56" y="68"/>
                  </a:moveTo>
                  <a:cubicBezTo>
                    <a:pt x="50" y="68"/>
                    <a:pt x="46" y="72"/>
                    <a:pt x="46" y="78"/>
                  </a:cubicBezTo>
                  <a:cubicBezTo>
                    <a:pt x="46" y="84"/>
                    <a:pt x="50" y="88"/>
                    <a:pt x="56" y="88"/>
                  </a:cubicBezTo>
                  <a:cubicBezTo>
                    <a:pt x="62" y="88"/>
                    <a:pt x="66" y="84"/>
                    <a:pt x="66" y="78"/>
                  </a:cubicBezTo>
                  <a:cubicBezTo>
                    <a:pt x="66" y="72"/>
                    <a:pt x="62" y="68"/>
                    <a:pt x="56" y="68"/>
                  </a:cubicBezTo>
                  <a:close/>
                  <a:moveTo>
                    <a:pt x="112" y="68"/>
                  </a:moveTo>
                  <a:cubicBezTo>
                    <a:pt x="106" y="68"/>
                    <a:pt x="102" y="72"/>
                    <a:pt x="102" y="78"/>
                  </a:cubicBezTo>
                  <a:cubicBezTo>
                    <a:pt x="102" y="84"/>
                    <a:pt x="106" y="88"/>
                    <a:pt x="112" y="88"/>
                  </a:cubicBezTo>
                  <a:cubicBezTo>
                    <a:pt x="118" y="88"/>
                    <a:pt x="122" y="84"/>
                    <a:pt x="122" y="78"/>
                  </a:cubicBezTo>
                  <a:cubicBezTo>
                    <a:pt x="122" y="72"/>
                    <a:pt x="118" y="68"/>
                    <a:pt x="112" y="68"/>
                  </a:cubicBezTo>
                  <a:close/>
                  <a:moveTo>
                    <a:pt x="168" y="68"/>
                  </a:moveTo>
                  <a:cubicBezTo>
                    <a:pt x="162" y="68"/>
                    <a:pt x="158" y="72"/>
                    <a:pt x="158" y="78"/>
                  </a:cubicBezTo>
                  <a:cubicBezTo>
                    <a:pt x="158" y="84"/>
                    <a:pt x="162" y="88"/>
                    <a:pt x="168" y="88"/>
                  </a:cubicBezTo>
                  <a:cubicBezTo>
                    <a:pt x="174" y="88"/>
                    <a:pt x="178" y="84"/>
                    <a:pt x="178" y="78"/>
                  </a:cubicBezTo>
                  <a:cubicBezTo>
                    <a:pt x="178" y="72"/>
                    <a:pt x="174" y="68"/>
                    <a:pt x="168" y="6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9924775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e00eab8d-f822-465e-86d2-4dfa6ec085d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17D9A88-F4F9-42B7-91D8-AA314025413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9925" y="1132050"/>
            <a:ext cx="10852152" cy="5011575"/>
            <a:chOff x="669925" y="1132050"/>
            <a:chExt cx="10852152" cy="5011575"/>
          </a:xfrm>
        </p:grpSpPr>
        <p:sp>
          <p:nvSpPr>
            <p:cNvPr id="6" name="ïSḻîḑè">
              <a:extLst>
                <a:ext uri="{FF2B5EF4-FFF2-40B4-BE49-F238E27FC236}">
                  <a16:creationId xmlns:a16="http://schemas.microsoft.com/office/drawing/2014/main" id="{CB05D7DD-1444-4375-B694-49B624BC4070}"/>
                </a:ext>
              </a:extLst>
            </p:cNvPr>
            <p:cNvSpPr/>
            <p:nvPr/>
          </p:nvSpPr>
          <p:spPr bwMode="auto">
            <a:xfrm>
              <a:off x="669925" y="1132050"/>
              <a:ext cx="5286886" cy="61880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en-US" altLang="zh-CN" b="1" dirty="0">
                  <a:solidFill>
                    <a:schemeClr val="tx1"/>
                  </a:solidFill>
                </a:rPr>
                <a:t>Text here</a:t>
              </a:r>
              <a:endParaRPr lang="zh-CN" alt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7" name="ïšlïḑè">
              <a:extLst>
                <a:ext uri="{FF2B5EF4-FFF2-40B4-BE49-F238E27FC236}">
                  <a16:creationId xmlns:a16="http://schemas.microsoft.com/office/drawing/2014/main" id="{EC82BDF4-D196-4EE1-B2B4-3DE7CF54F0FC}"/>
                </a:ext>
              </a:extLst>
            </p:cNvPr>
            <p:cNvSpPr/>
            <p:nvPr/>
          </p:nvSpPr>
          <p:spPr bwMode="auto">
            <a:xfrm>
              <a:off x="6235191" y="1132050"/>
              <a:ext cx="5286886" cy="61880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en-US" altLang="zh-CN" b="1" dirty="0">
                  <a:solidFill>
                    <a:schemeClr val="tx1"/>
                  </a:solidFill>
                </a:rPr>
                <a:t>Text here</a:t>
              </a:r>
              <a:endParaRPr lang="zh-CN" altLang="en-US" b="1" dirty="0">
                <a:solidFill>
                  <a:schemeClr val="tx1"/>
                </a:solidFill>
              </a:endParaRPr>
            </a:p>
          </p:txBody>
        </p: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46B96723-44E3-4E76-AEC8-5E552F14EE2B}"/>
                </a:ext>
              </a:extLst>
            </p:cNvPr>
            <p:cNvCxnSpPr>
              <a:cxnSpLocks/>
              <a:endCxn id="13" idx="0"/>
            </p:cNvCxnSpPr>
            <p:nvPr/>
          </p:nvCxnSpPr>
          <p:spPr>
            <a:xfrm flipH="1">
              <a:off x="6095207" y="1132050"/>
              <a:ext cx="786" cy="441195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ïşḷïḑê">
              <a:extLst>
                <a:ext uri="{FF2B5EF4-FFF2-40B4-BE49-F238E27FC236}">
                  <a16:creationId xmlns:a16="http://schemas.microsoft.com/office/drawing/2014/main" id="{681B7362-F287-483E-AD4C-EBFAA9327426}"/>
                </a:ext>
              </a:extLst>
            </p:cNvPr>
            <p:cNvSpPr/>
            <p:nvPr/>
          </p:nvSpPr>
          <p:spPr bwMode="auto">
            <a:xfrm>
              <a:off x="688311" y="1860150"/>
              <a:ext cx="5407681" cy="3683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endParaRPr lang="en-US" altLang="zh-CN" sz="1200" dirty="0"/>
            </a:p>
          </p:txBody>
        </p:sp>
        <p:sp>
          <p:nvSpPr>
            <p:cNvPr id="10" name="îśļîdè">
              <a:extLst>
                <a:ext uri="{FF2B5EF4-FFF2-40B4-BE49-F238E27FC236}">
                  <a16:creationId xmlns:a16="http://schemas.microsoft.com/office/drawing/2014/main" id="{50567731-C23B-4058-9CAE-2E3E8D2D5266}"/>
                </a:ext>
              </a:extLst>
            </p:cNvPr>
            <p:cNvSpPr/>
            <p:nvPr/>
          </p:nvSpPr>
          <p:spPr bwMode="auto">
            <a:xfrm>
              <a:off x="6112807" y="1860150"/>
              <a:ext cx="5407681" cy="3683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r>
                <a:rPr lang="en-US" altLang="zh-CN" sz="1200" dirty="0"/>
                <a:t>Supporting text here.</a:t>
              </a:r>
            </a:p>
            <a:p>
              <a:pPr marL="228600" indent="-228600" algn="ctr">
                <a:lnSpc>
                  <a:spcPct val="150000"/>
                </a:lnSpc>
                <a:spcAft>
                  <a:spcPts val="800"/>
                </a:spcAft>
                <a:buFont typeface="+mj-lt"/>
                <a:buAutoNum type="arabicPeriod"/>
              </a:pPr>
              <a:endParaRPr lang="en-US" altLang="zh-CN" sz="1200" dirty="0"/>
            </a:p>
          </p:txBody>
        </p: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84FF11A3-CCA2-453E-B061-B5082C59A589}"/>
                </a:ext>
              </a:extLst>
            </p:cNvPr>
            <p:cNvCxnSpPr/>
            <p:nvPr/>
          </p:nvCxnSpPr>
          <p:spPr>
            <a:xfrm>
              <a:off x="669925" y="1132050"/>
              <a:ext cx="1085056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3574E639-D1A8-4FFF-9090-4208D40A9965}"/>
                </a:ext>
              </a:extLst>
            </p:cNvPr>
            <p:cNvCxnSpPr/>
            <p:nvPr/>
          </p:nvCxnSpPr>
          <p:spPr>
            <a:xfrm>
              <a:off x="669925" y="1750852"/>
              <a:ext cx="1085056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íś1ïďe">
              <a:extLst>
                <a:ext uri="{FF2B5EF4-FFF2-40B4-BE49-F238E27FC236}">
                  <a16:creationId xmlns:a16="http://schemas.microsoft.com/office/drawing/2014/main" id="{5F60AFFF-6126-481D-ADD0-F4D3F49DE416}"/>
                </a:ext>
              </a:extLst>
            </p:cNvPr>
            <p:cNvSpPr/>
            <p:nvPr/>
          </p:nvSpPr>
          <p:spPr>
            <a:xfrm>
              <a:off x="669925" y="5544000"/>
              <a:ext cx="10850563" cy="599625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square" lIns="90000" anchor="ctr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dirty="0"/>
                <a:t>Supporting text here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055449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5A56F34-943B-4203-B6C6-2FF6C3A5B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B63A2D2-E6C5-4CE4-A15B-9264951B8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3FFCBCB-07DC-4797-82F6-3E2F323BD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24" name="îṩľîḍe">
            <a:extLst>
              <a:ext uri="{FF2B5EF4-FFF2-40B4-BE49-F238E27FC236}">
                <a16:creationId xmlns:a16="http://schemas.microsoft.com/office/drawing/2014/main" id="{FCBB9E97-02B0-497A-BD8E-CC4A598CCBAE}"/>
              </a:ext>
            </a:extLst>
          </p:cNvPr>
          <p:cNvSpPr/>
          <p:nvPr/>
        </p:nvSpPr>
        <p:spPr>
          <a:xfrm>
            <a:off x="1178733" y="2220092"/>
            <a:ext cx="2008619" cy="28750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b="1" i="1" dirty="0"/>
              <a:t>Text here</a:t>
            </a:r>
            <a:endParaRPr lang="en-US" sz="2800" b="1" i="1" dirty="0"/>
          </a:p>
        </p:txBody>
      </p:sp>
      <p:sp>
        <p:nvSpPr>
          <p:cNvPr id="25" name="íṡ1ïḋè">
            <a:extLst>
              <a:ext uri="{FF2B5EF4-FFF2-40B4-BE49-F238E27FC236}">
                <a16:creationId xmlns:a16="http://schemas.microsoft.com/office/drawing/2014/main" id="{66B9E057-5AA8-469A-8A56-03A9D1917075}"/>
              </a:ext>
            </a:extLst>
          </p:cNvPr>
          <p:cNvSpPr/>
          <p:nvPr/>
        </p:nvSpPr>
        <p:spPr>
          <a:xfrm>
            <a:off x="4755771" y="1413393"/>
            <a:ext cx="3054729" cy="62935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Text here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26" name="ïşľídé">
            <a:extLst>
              <a:ext uri="{FF2B5EF4-FFF2-40B4-BE49-F238E27FC236}">
                <a16:creationId xmlns:a16="http://schemas.microsoft.com/office/drawing/2014/main" id="{33E1874B-7678-4637-8C2B-DA86995D683C}"/>
              </a:ext>
            </a:extLst>
          </p:cNvPr>
          <p:cNvSpPr/>
          <p:nvPr/>
        </p:nvSpPr>
        <p:spPr>
          <a:xfrm>
            <a:off x="4755771" y="2378157"/>
            <a:ext cx="3054729" cy="62935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Text here</a:t>
            </a:r>
          </a:p>
        </p:txBody>
      </p:sp>
      <p:sp>
        <p:nvSpPr>
          <p:cNvPr id="27" name="îṩḷíďê">
            <a:extLst>
              <a:ext uri="{FF2B5EF4-FFF2-40B4-BE49-F238E27FC236}">
                <a16:creationId xmlns:a16="http://schemas.microsoft.com/office/drawing/2014/main" id="{E4708E33-C03C-41F2-AB93-CDE686C01891}"/>
              </a:ext>
            </a:extLst>
          </p:cNvPr>
          <p:cNvSpPr/>
          <p:nvPr/>
        </p:nvSpPr>
        <p:spPr>
          <a:xfrm>
            <a:off x="4755771" y="4307685"/>
            <a:ext cx="3054729" cy="62935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Text here</a:t>
            </a:r>
          </a:p>
        </p:txBody>
      </p:sp>
      <p:sp>
        <p:nvSpPr>
          <p:cNvPr id="28" name="î$ḻïḋê">
            <a:extLst>
              <a:ext uri="{FF2B5EF4-FFF2-40B4-BE49-F238E27FC236}">
                <a16:creationId xmlns:a16="http://schemas.microsoft.com/office/drawing/2014/main" id="{B48B7E20-CBF7-4DF0-B2C0-FCB6E6F6950A}"/>
              </a:ext>
            </a:extLst>
          </p:cNvPr>
          <p:cNvSpPr/>
          <p:nvPr/>
        </p:nvSpPr>
        <p:spPr>
          <a:xfrm>
            <a:off x="4755771" y="5272450"/>
            <a:ext cx="3054729" cy="62935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Text here</a:t>
            </a:r>
          </a:p>
        </p:txBody>
      </p:sp>
      <p:sp>
        <p:nvSpPr>
          <p:cNvPr id="47" name="iŝľide">
            <a:extLst>
              <a:ext uri="{FF2B5EF4-FFF2-40B4-BE49-F238E27FC236}">
                <a16:creationId xmlns:a16="http://schemas.microsoft.com/office/drawing/2014/main" id="{8CAA3D72-6CBC-40B9-B760-775CE07BA3E6}"/>
              </a:ext>
            </a:extLst>
          </p:cNvPr>
          <p:cNvSpPr/>
          <p:nvPr/>
        </p:nvSpPr>
        <p:spPr>
          <a:xfrm>
            <a:off x="4755771" y="3342921"/>
            <a:ext cx="3054729" cy="62935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Text here</a:t>
            </a:r>
          </a:p>
        </p:txBody>
      </p:sp>
      <p:cxnSp>
        <p:nvCxnSpPr>
          <p:cNvPr id="48" name="肘形连接符 35">
            <a:extLst>
              <a:ext uri="{FF2B5EF4-FFF2-40B4-BE49-F238E27FC236}">
                <a16:creationId xmlns:a16="http://schemas.microsoft.com/office/drawing/2014/main" id="{5A4EF5D7-40A1-4E2E-8204-4380A88168F2}"/>
              </a:ext>
            </a:extLst>
          </p:cNvPr>
          <p:cNvCxnSpPr>
            <a:cxnSpLocks/>
            <a:endCxn id="25" idx="1"/>
          </p:cNvCxnSpPr>
          <p:nvPr/>
        </p:nvCxnSpPr>
        <p:spPr>
          <a:xfrm flipV="1">
            <a:off x="3187352" y="1728072"/>
            <a:ext cx="1568419" cy="1929528"/>
          </a:xfrm>
          <a:prstGeom prst="bentConnector3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肘形连接符 36">
            <a:extLst>
              <a:ext uri="{FF2B5EF4-FFF2-40B4-BE49-F238E27FC236}">
                <a16:creationId xmlns:a16="http://schemas.microsoft.com/office/drawing/2014/main" id="{C4F13A9A-8508-415C-9C38-FEF012243B9F}"/>
              </a:ext>
            </a:extLst>
          </p:cNvPr>
          <p:cNvCxnSpPr>
            <a:cxnSpLocks/>
            <a:endCxn id="28" idx="1"/>
          </p:cNvCxnSpPr>
          <p:nvPr/>
        </p:nvCxnSpPr>
        <p:spPr>
          <a:xfrm>
            <a:off x="3187352" y="3657600"/>
            <a:ext cx="1568419" cy="1929529"/>
          </a:xfrm>
          <a:prstGeom prst="bentConnector3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肘形连接符 37">
            <a:extLst>
              <a:ext uri="{FF2B5EF4-FFF2-40B4-BE49-F238E27FC236}">
                <a16:creationId xmlns:a16="http://schemas.microsoft.com/office/drawing/2014/main" id="{41BB7373-B4C2-4DDE-A147-39793283E698}"/>
              </a:ext>
            </a:extLst>
          </p:cNvPr>
          <p:cNvCxnSpPr>
            <a:cxnSpLocks/>
            <a:endCxn id="26" idx="1"/>
          </p:cNvCxnSpPr>
          <p:nvPr/>
        </p:nvCxnSpPr>
        <p:spPr>
          <a:xfrm flipV="1">
            <a:off x="3187352" y="2692836"/>
            <a:ext cx="1568419" cy="964764"/>
          </a:xfrm>
          <a:prstGeom prst="bentConnector3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肘形连接符 38">
            <a:extLst>
              <a:ext uri="{FF2B5EF4-FFF2-40B4-BE49-F238E27FC236}">
                <a16:creationId xmlns:a16="http://schemas.microsoft.com/office/drawing/2014/main" id="{0E053261-B1B2-48D2-9B6E-D655075DDE6C}"/>
              </a:ext>
            </a:extLst>
          </p:cNvPr>
          <p:cNvCxnSpPr>
            <a:cxnSpLocks/>
            <a:endCxn id="27" idx="1"/>
          </p:cNvCxnSpPr>
          <p:nvPr/>
        </p:nvCxnSpPr>
        <p:spPr>
          <a:xfrm>
            <a:off x="3187352" y="3657600"/>
            <a:ext cx="1568419" cy="964764"/>
          </a:xfrm>
          <a:prstGeom prst="bentConnector3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箭头连接符 51">
            <a:extLst>
              <a:ext uri="{FF2B5EF4-FFF2-40B4-BE49-F238E27FC236}">
                <a16:creationId xmlns:a16="http://schemas.microsoft.com/office/drawing/2014/main" id="{C9D06BC6-DA19-4321-8866-A359D002200C}"/>
              </a:ext>
            </a:extLst>
          </p:cNvPr>
          <p:cNvCxnSpPr>
            <a:cxnSpLocks/>
            <a:endCxn id="47" idx="1"/>
          </p:cNvCxnSpPr>
          <p:nvPr/>
        </p:nvCxnSpPr>
        <p:spPr>
          <a:xfrm>
            <a:off x="3187352" y="3657600"/>
            <a:ext cx="1568419" cy="0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ísḻîďe">
            <a:extLst>
              <a:ext uri="{FF2B5EF4-FFF2-40B4-BE49-F238E27FC236}">
                <a16:creationId xmlns:a16="http://schemas.microsoft.com/office/drawing/2014/main" id="{EA5EBD6D-73E7-40F5-8045-47903A9853D1}"/>
              </a:ext>
            </a:extLst>
          </p:cNvPr>
          <p:cNvSpPr/>
          <p:nvPr/>
        </p:nvSpPr>
        <p:spPr bwMode="auto">
          <a:xfrm>
            <a:off x="1977617" y="2753493"/>
            <a:ext cx="465939" cy="508042"/>
          </a:xfrm>
          <a:custGeom>
            <a:avLst/>
            <a:gdLst>
              <a:gd name="T0" fmla="*/ 168 w 208"/>
              <a:gd name="T1" fmla="*/ 0 h 224"/>
              <a:gd name="T2" fmla="*/ 168 w 208"/>
              <a:gd name="T3" fmla="*/ 68 h 224"/>
              <a:gd name="T4" fmla="*/ 108 w 208"/>
              <a:gd name="T5" fmla="*/ 68 h 224"/>
              <a:gd name="T6" fmla="*/ 108 w 208"/>
              <a:gd name="T7" fmla="*/ 124 h 224"/>
              <a:gd name="T8" fmla="*/ 192 w 208"/>
              <a:gd name="T9" fmla="*/ 124 h 224"/>
              <a:gd name="T10" fmla="*/ 192 w 208"/>
              <a:gd name="T11" fmla="*/ 184 h 224"/>
              <a:gd name="T12" fmla="*/ 208 w 208"/>
              <a:gd name="T13" fmla="*/ 184 h 224"/>
              <a:gd name="T14" fmla="*/ 208 w 208"/>
              <a:gd name="T15" fmla="*/ 224 h 224"/>
              <a:gd name="T16" fmla="*/ 168 w 208"/>
              <a:gd name="T17" fmla="*/ 224 h 224"/>
              <a:gd name="T18" fmla="*/ 168 w 208"/>
              <a:gd name="T19" fmla="*/ 184 h 224"/>
              <a:gd name="T20" fmla="*/ 184 w 208"/>
              <a:gd name="T21" fmla="*/ 184 h 224"/>
              <a:gd name="T22" fmla="*/ 184 w 208"/>
              <a:gd name="T23" fmla="*/ 132 h 224"/>
              <a:gd name="T24" fmla="*/ 108 w 208"/>
              <a:gd name="T25" fmla="*/ 132 h 224"/>
              <a:gd name="T26" fmla="*/ 108 w 208"/>
              <a:gd name="T27" fmla="*/ 184 h 224"/>
              <a:gd name="T28" fmla="*/ 124 w 208"/>
              <a:gd name="T29" fmla="*/ 184 h 224"/>
              <a:gd name="T30" fmla="*/ 124 w 208"/>
              <a:gd name="T31" fmla="*/ 224 h 224"/>
              <a:gd name="T32" fmla="*/ 84 w 208"/>
              <a:gd name="T33" fmla="*/ 224 h 224"/>
              <a:gd name="T34" fmla="*/ 84 w 208"/>
              <a:gd name="T35" fmla="*/ 184 h 224"/>
              <a:gd name="T36" fmla="*/ 100 w 208"/>
              <a:gd name="T37" fmla="*/ 184 h 224"/>
              <a:gd name="T38" fmla="*/ 100 w 208"/>
              <a:gd name="T39" fmla="*/ 132 h 224"/>
              <a:gd name="T40" fmla="*/ 24 w 208"/>
              <a:gd name="T41" fmla="*/ 132 h 224"/>
              <a:gd name="T42" fmla="*/ 24 w 208"/>
              <a:gd name="T43" fmla="*/ 184 h 224"/>
              <a:gd name="T44" fmla="*/ 40 w 208"/>
              <a:gd name="T45" fmla="*/ 184 h 224"/>
              <a:gd name="T46" fmla="*/ 40 w 208"/>
              <a:gd name="T47" fmla="*/ 224 h 224"/>
              <a:gd name="T48" fmla="*/ 0 w 208"/>
              <a:gd name="T49" fmla="*/ 224 h 224"/>
              <a:gd name="T50" fmla="*/ 0 w 208"/>
              <a:gd name="T51" fmla="*/ 184 h 224"/>
              <a:gd name="T52" fmla="*/ 16 w 208"/>
              <a:gd name="T53" fmla="*/ 184 h 224"/>
              <a:gd name="T54" fmla="*/ 16 w 208"/>
              <a:gd name="T55" fmla="*/ 124 h 224"/>
              <a:gd name="T56" fmla="*/ 100 w 208"/>
              <a:gd name="T57" fmla="*/ 124 h 224"/>
              <a:gd name="T58" fmla="*/ 100 w 208"/>
              <a:gd name="T59" fmla="*/ 68 h 224"/>
              <a:gd name="T60" fmla="*/ 40 w 208"/>
              <a:gd name="T61" fmla="*/ 68 h 224"/>
              <a:gd name="T62" fmla="*/ 40 w 208"/>
              <a:gd name="T63" fmla="*/ 0 h 224"/>
              <a:gd name="T64" fmla="*/ 168 w 208"/>
              <a:gd name="T65" fmla="*/ 0 h 224"/>
              <a:gd name="T66" fmla="*/ 32 w 208"/>
              <a:gd name="T67" fmla="*/ 192 h 224"/>
              <a:gd name="T68" fmla="*/ 8 w 208"/>
              <a:gd name="T69" fmla="*/ 192 h 224"/>
              <a:gd name="T70" fmla="*/ 8 w 208"/>
              <a:gd name="T71" fmla="*/ 216 h 224"/>
              <a:gd name="T72" fmla="*/ 32 w 208"/>
              <a:gd name="T73" fmla="*/ 216 h 224"/>
              <a:gd name="T74" fmla="*/ 32 w 208"/>
              <a:gd name="T75" fmla="*/ 192 h 224"/>
              <a:gd name="T76" fmla="*/ 116 w 208"/>
              <a:gd name="T77" fmla="*/ 192 h 224"/>
              <a:gd name="T78" fmla="*/ 92 w 208"/>
              <a:gd name="T79" fmla="*/ 192 h 224"/>
              <a:gd name="T80" fmla="*/ 92 w 208"/>
              <a:gd name="T81" fmla="*/ 216 h 224"/>
              <a:gd name="T82" fmla="*/ 116 w 208"/>
              <a:gd name="T83" fmla="*/ 216 h 224"/>
              <a:gd name="T84" fmla="*/ 116 w 208"/>
              <a:gd name="T85" fmla="*/ 192 h 224"/>
              <a:gd name="T86" fmla="*/ 200 w 208"/>
              <a:gd name="T87" fmla="*/ 192 h 224"/>
              <a:gd name="T88" fmla="*/ 176 w 208"/>
              <a:gd name="T89" fmla="*/ 192 h 224"/>
              <a:gd name="T90" fmla="*/ 176 w 208"/>
              <a:gd name="T91" fmla="*/ 216 h 224"/>
              <a:gd name="T92" fmla="*/ 200 w 208"/>
              <a:gd name="T93" fmla="*/ 216 h 224"/>
              <a:gd name="T94" fmla="*/ 200 w 208"/>
              <a:gd name="T95" fmla="*/ 192 h 224"/>
              <a:gd name="T96" fmla="*/ 160 w 208"/>
              <a:gd name="T97" fmla="*/ 8 h 224"/>
              <a:gd name="T98" fmla="*/ 48 w 208"/>
              <a:gd name="T99" fmla="*/ 8 h 224"/>
              <a:gd name="T100" fmla="*/ 48 w 208"/>
              <a:gd name="T101" fmla="*/ 60 h 224"/>
              <a:gd name="T102" fmla="*/ 160 w 208"/>
              <a:gd name="T103" fmla="*/ 60 h 224"/>
              <a:gd name="T104" fmla="*/ 160 w 208"/>
              <a:gd name="T105" fmla="*/ 8 h 224"/>
              <a:gd name="T106" fmla="*/ 66 w 208"/>
              <a:gd name="T107" fmla="*/ 36 h 224"/>
              <a:gd name="T108" fmla="*/ 72 w 208"/>
              <a:gd name="T109" fmla="*/ 42 h 224"/>
              <a:gd name="T110" fmla="*/ 66 w 208"/>
              <a:gd name="T111" fmla="*/ 48 h 224"/>
              <a:gd name="T112" fmla="*/ 60 w 208"/>
              <a:gd name="T113" fmla="*/ 42 h 224"/>
              <a:gd name="T114" fmla="*/ 66 w 208"/>
              <a:gd name="T115" fmla="*/ 3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8" h="224">
                <a:moveTo>
                  <a:pt x="168" y="0"/>
                </a:moveTo>
                <a:cubicBezTo>
                  <a:pt x="168" y="68"/>
                  <a:pt x="168" y="68"/>
                  <a:pt x="168" y="68"/>
                </a:cubicBezTo>
                <a:cubicBezTo>
                  <a:pt x="108" y="68"/>
                  <a:pt x="108" y="68"/>
                  <a:pt x="108" y="68"/>
                </a:cubicBezTo>
                <a:cubicBezTo>
                  <a:pt x="108" y="124"/>
                  <a:pt x="108" y="124"/>
                  <a:pt x="108" y="124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2" y="184"/>
                  <a:pt x="192" y="184"/>
                  <a:pt x="192" y="184"/>
                </a:cubicBezTo>
                <a:cubicBezTo>
                  <a:pt x="208" y="184"/>
                  <a:pt x="208" y="184"/>
                  <a:pt x="208" y="184"/>
                </a:cubicBezTo>
                <a:cubicBezTo>
                  <a:pt x="208" y="224"/>
                  <a:pt x="208" y="224"/>
                  <a:pt x="208" y="224"/>
                </a:cubicBezTo>
                <a:cubicBezTo>
                  <a:pt x="168" y="224"/>
                  <a:pt x="168" y="224"/>
                  <a:pt x="168" y="224"/>
                </a:cubicBezTo>
                <a:cubicBezTo>
                  <a:pt x="168" y="184"/>
                  <a:pt x="168" y="184"/>
                  <a:pt x="168" y="184"/>
                </a:cubicBezTo>
                <a:cubicBezTo>
                  <a:pt x="184" y="184"/>
                  <a:pt x="184" y="184"/>
                  <a:pt x="184" y="184"/>
                </a:cubicBezTo>
                <a:cubicBezTo>
                  <a:pt x="184" y="132"/>
                  <a:pt x="184" y="132"/>
                  <a:pt x="184" y="132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08" y="184"/>
                  <a:pt x="108" y="184"/>
                  <a:pt x="108" y="184"/>
                </a:cubicBezTo>
                <a:cubicBezTo>
                  <a:pt x="124" y="184"/>
                  <a:pt x="124" y="184"/>
                  <a:pt x="124" y="184"/>
                </a:cubicBezTo>
                <a:cubicBezTo>
                  <a:pt x="124" y="224"/>
                  <a:pt x="124" y="224"/>
                  <a:pt x="124" y="224"/>
                </a:cubicBezTo>
                <a:cubicBezTo>
                  <a:pt x="84" y="224"/>
                  <a:pt x="84" y="224"/>
                  <a:pt x="84" y="224"/>
                </a:cubicBezTo>
                <a:cubicBezTo>
                  <a:pt x="84" y="184"/>
                  <a:pt x="84" y="184"/>
                  <a:pt x="84" y="184"/>
                </a:cubicBezTo>
                <a:cubicBezTo>
                  <a:pt x="100" y="184"/>
                  <a:pt x="100" y="184"/>
                  <a:pt x="100" y="184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24" y="132"/>
                  <a:pt x="24" y="132"/>
                  <a:pt x="24" y="132"/>
                </a:cubicBezTo>
                <a:cubicBezTo>
                  <a:pt x="24" y="184"/>
                  <a:pt x="24" y="184"/>
                  <a:pt x="24" y="184"/>
                </a:cubicBezTo>
                <a:cubicBezTo>
                  <a:pt x="40" y="184"/>
                  <a:pt x="40" y="184"/>
                  <a:pt x="40" y="184"/>
                </a:cubicBezTo>
                <a:cubicBezTo>
                  <a:pt x="40" y="224"/>
                  <a:pt x="40" y="224"/>
                  <a:pt x="40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184"/>
                  <a:pt x="0" y="184"/>
                  <a:pt x="0" y="184"/>
                </a:cubicBezTo>
                <a:cubicBezTo>
                  <a:pt x="16" y="184"/>
                  <a:pt x="16" y="184"/>
                  <a:pt x="16" y="184"/>
                </a:cubicBezTo>
                <a:cubicBezTo>
                  <a:pt x="16" y="124"/>
                  <a:pt x="16" y="124"/>
                  <a:pt x="16" y="124"/>
                </a:cubicBezTo>
                <a:cubicBezTo>
                  <a:pt x="100" y="124"/>
                  <a:pt x="100" y="124"/>
                  <a:pt x="100" y="124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0"/>
                  <a:pt x="40" y="0"/>
                  <a:pt x="40" y="0"/>
                </a:cubicBezTo>
                <a:lnTo>
                  <a:pt x="168" y="0"/>
                </a:lnTo>
                <a:close/>
                <a:moveTo>
                  <a:pt x="32" y="192"/>
                </a:moveTo>
                <a:cubicBezTo>
                  <a:pt x="8" y="192"/>
                  <a:pt x="8" y="192"/>
                  <a:pt x="8" y="192"/>
                </a:cubicBezTo>
                <a:cubicBezTo>
                  <a:pt x="8" y="216"/>
                  <a:pt x="8" y="216"/>
                  <a:pt x="8" y="216"/>
                </a:cubicBezTo>
                <a:cubicBezTo>
                  <a:pt x="32" y="216"/>
                  <a:pt x="32" y="216"/>
                  <a:pt x="32" y="216"/>
                </a:cubicBezTo>
                <a:lnTo>
                  <a:pt x="32" y="192"/>
                </a:lnTo>
                <a:close/>
                <a:moveTo>
                  <a:pt x="116" y="192"/>
                </a:moveTo>
                <a:cubicBezTo>
                  <a:pt x="92" y="192"/>
                  <a:pt x="92" y="192"/>
                  <a:pt x="92" y="192"/>
                </a:cubicBezTo>
                <a:cubicBezTo>
                  <a:pt x="92" y="216"/>
                  <a:pt x="92" y="216"/>
                  <a:pt x="92" y="216"/>
                </a:cubicBezTo>
                <a:cubicBezTo>
                  <a:pt x="116" y="216"/>
                  <a:pt x="116" y="216"/>
                  <a:pt x="116" y="216"/>
                </a:cubicBezTo>
                <a:lnTo>
                  <a:pt x="116" y="192"/>
                </a:lnTo>
                <a:close/>
                <a:moveTo>
                  <a:pt x="200" y="192"/>
                </a:moveTo>
                <a:cubicBezTo>
                  <a:pt x="176" y="192"/>
                  <a:pt x="176" y="192"/>
                  <a:pt x="176" y="192"/>
                </a:cubicBezTo>
                <a:cubicBezTo>
                  <a:pt x="176" y="216"/>
                  <a:pt x="176" y="216"/>
                  <a:pt x="176" y="216"/>
                </a:cubicBezTo>
                <a:cubicBezTo>
                  <a:pt x="200" y="216"/>
                  <a:pt x="200" y="216"/>
                  <a:pt x="200" y="216"/>
                </a:cubicBezTo>
                <a:lnTo>
                  <a:pt x="200" y="192"/>
                </a:lnTo>
                <a:close/>
                <a:moveTo>
                  <a:pt x="160" y="8"/>
                </a:moveTo>
                <a:cubicBezTo>
                  <a:pt x="48" y="8"/>
                  <a:pt x="48" y="8"/>
                  <a:pt x="48" y="8"/>
                </a:cubicBezTo>
                <a:cubicBezTo>
                  <a:pt x="48" y="60"/>
                  <a:pt x="48" y="60"/>
                  <a:pt x="48" y="60"/>
                </a:cubicBezTo>
                <a:cubicBezTo>
                  <a:pt x="160" y="60"/>
                  <a:pt x="160" y="60"/>
                  <a:pt x="160" y="60"/>
                </a:cubicBezTo>
                <a:lnTo>
                  <a:pt x="160" y="8"/>
                </a:lnTo>
                <a:close/>
                <a:moveTo>
                  <a:pt x="66" y="36"/>
                </a:moveTo>
                <a:cubicBezTo>
                  <a:pt x="69" y="36"/>
                  <a:pt x="72" y="39"/>
                  <a:pt x="72" y="42"/>
                </a:cubicBezTo>
                <a:cubicBezTo>
                  <a:pt x="72" y="45"/>
                  <a:pt x="69" y="48"/>
                  <a:pt x="66" y="48"/>
                </a:cubicBezTo>
                <a:cubicBezTo>
                  <a:pt x="63" y="48"/>
                  <a:pt x="60" y="45"/>
                  <a:pt x="60" y="42"/>
                </a:cubicBezTo>
                <a:cubicBezTo>
                  <a:pt x="60" y="39"/>
                  <a:pt x="63" y="36"/>
                  <a:pt x="66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54" name="ïṩļidé">
            <a:extLst>
              <a:ext uri="{FF2B5EF4-FFF2-40B4-BE49-F238E27FC236}">
                <a16:creationId xmlns:a16="http://schemas.microsoft.com/office/drawing/2014/main" id="{B54DD809-0E44-4107-B578-9BA3A06487EB}"/>
              </a:ext>
            </a:extLst>
          </p:cNvPr>
          <p:cNvSpPr/>
          <p:nvPr/>
        </p:nvSpPr>
        <p:spPr bwMode="auto">
          <a:xfrm>
            <a:off x="8001000" y="1410992"/>
            <a:ext cx="3519488" cy="629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text……</a:t>
            </a:r>
          </a:p>
        </p:txBody>
      </p:sp>
      <p:sp>
        <p:nvSpPr>
          <p:cNvPr id="55" name="ïSḷïḍé">
            <a:extLst>
              <a:ext uri="{FF2B5EF4-FFF2-40B4-BE49-F238E27FC236}">
                <a16:creationId xmlns:a16="http://schemas.microsoft.com/office/drawing/2014/main" id="{940F8B8D-C970-4C04-B2CD-95E362FC0D81}"/>
              </a:ext>
            </a:extLst>
          </p:cNvPr>
          <p:cNvSpPr/>
          <p:nvPr/>
        </p:nvSpPr>
        <p:spPr bwMode="auto">
          <a:xfrm>
            <a:off x="8001000" y="2378156"/>
            <a:ext cx="3519488" cy="629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text……</a:t>
            </a:r>
          </a:p>
        </p:txBody>
      </p:sp>
      <p:sp>
        <p:nvSpPr>
          <p:cNvPr id="56" name="ísļíďe">
            <a:extLst>
              <a:ext uri="{FF2B5EF4-FFF2-40B4-BE49-F238E27FC236}">
                <a16:creationId xmlns:a16="http://schemas.microsoft.com/office/drawing/2014/main" id="{790B3E31-9081-4218-8CDE-FA276984A3B0}"/>
              </a:ext>
            </a:extLst>
          </p:cNvPr>
          <p:cNvSpPr/>
          <p:nvPr/>
        </p:nvSpPr>
        <p:spPr bwMode="auto">
          <a:xfrm>
            <a:off x="8001000" y="3345320"/>
            <a:ext cx="3519488" cy="629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text……</a:t>
            </a:r>
          </a:p>
        </p:txBody>
      </p:sp>
      <p:sp>
        <p:nvSpPr>
          <p:cNvPr id="57" name="iṩ1íďé">
            <a:extLst>
              <a:ext uri="{FF2B5EF4-FFF2-40B4-BE49-F238E27FC236}">
                <a16:creationId xmlns:a16="http://schemas.microsoft.com/office/drawing/2014/main" id="{909BF763-1828-41EC-ACAC-B45825B65905}"/>
              </a:ext>
            </a:extLst>
          </p:cNvPr>
          <p:cNvSpPr/>
          <p:nvPr/>
        </p:nvSpPr>
        <p:spPr bwMode="auto">
          <a:xfrm>
            <a:off x="8001000" y="4312484"/>
            <a:ext cx="3519488" cy="629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text……</a:t>
            </a:r>
          </a:p>
        </p:txBody>
      </p:sp>
      <p:sp>
        <p:nvSpPr>
          <p:cNvPr id="58" name="išḷíďê">
            <a:extLst>
              <a:ext uri="{FF2B5EF4-FFF2-40B4-BE49-F238E27FC236}">
                <a16:creationId xmlns:a16="http://schemas.microsoft.com/office/drawing/2014/main" id="{C6B781CF-EF48-4896-BAC7-BC1D0CC950C6}"/>
              </a:ext>
            </a:extLst>
          </p:cNvPr>
          <p:cNvSpPr/>
          <p:nvPr/>
        </p:nvSpPr>
        <p:spPr bwMode="auto">
          <a:xfrm>
            <a:off x="8001000" y="5279648"/>
            <a:ext cx="3519488" cy="629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text……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794160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42C609-C175-4DD3-AC86-A257B7FB65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368EB76-26E6-4FFE-A4E2-5D8A6FAD5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D4C935F-D0A9-41DA-BE29-E40CBDFC4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6" name="iśḻiḍé">
            <a:extLst>
              <a:ext uri="{FF2B5EF4-FFF2-40B4-BE49-F238E27FC236}">
                <a16:creationId xmlns:a16="http://schemas.microsoft.com/office/drawing/2014/main" id="{818EA5B5-A298-4D1B-9892-5E687A47053A}"/>
              </a:ext>
            </a:extLst>
          </p:cNvPr>
          <p:cNvSpPr>
            <a:spLocks noChangeAspect="1"/>
          </p:cNvSpPr>
          <p:nvPr/>
        </p:nvSpPr>
        <p:spPr>
          <a:xfrm>
            <a:off x="6022217" y="3276600"/>
            <a:ext cx="152400" cy="152400"/>
          </a:xfrm>
          <a:prstGeom prst="ellipse">
            <a:avLst/>
          </a:prstGeom>
          <a:solidFill>
            <a:schemeClr val="accent3">
              <a:lumMod val="10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grpSp>
        <p:nvGrpSpPr>
          <p:cNvPr id="7" name="ísliḍè">
            <a:extLst>
              <a:ext uri="{FF2B5EF4-FFF2-40B4-BE49-F238E27FC236}">
                <a16:creationId xmlns:a16="http://schemas.microsoft.com/office/drawing/2014/main" id="{524568C9-B212-4399-B1EB-E3BB8C25EE3D}"/>
              </a:ext>
            </a:extLst>
          </p:cNvPr>
          <p:cNvGrpSpPr/>
          <p:nvPr/>
        </p:nvGrpSpPr>
        <p:grpSpPr>
          <a:xfrm>
            <a:off x="4359424" y="3681028"/>
            <a:ext cx="2988950" cy="2495160"/>
            <a:chOff x="4359424" y="3681028"/>
            <a:chExt cx="2988950" cy="2495160"/>
          </a:xfrm>
        </p:grpSpPr>
        <p:sp>
          <p:nvSpPr>
            <p:cNvPr id="58" name="íşļiďè">
              <a:extLst>
                <a:ext uri="{FF2B5EF4-FFF2-40B4-BE49-F238E27FC236}">
                  <a16:creationId xmlns:a16="http://schemas.microsoft.com/office/drawing/2014/main" id="{6F613C9B-59CE-40C5-A886-9E7B862E2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3214" y="3681028"/>
              <a:ext cx="2495160" cy="24951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59" name="í$1ïḍe">
              <a:extLst>
                <a:ext uri="{FF2B5EF4-FFF2-40B4-BE49-F238E27FC236}">
                  <a16:creationId xmlns:a16="http://schemas.microsoft.com/office/drawing/2014/main" id="{AD42F5AF-802D-47CB-A98A-E6E81BFA3885}"/>
                </a:ext>
              </a:extLst>
            </p:cNvPr>
            <p:cNvGrpSpPr/>
            <p:nvPr/>
          </p:nvGrpSpPr>
          <p:grpSpPr>
            <a:xfrm>
              <a:off x="4359424" y="3692215"/>
              <a:ext cx="2976945" cy="2306214"/>
              <a:chOff x="4359424" y="3692215"/>
              <a:chExt cx="2976945" cy="2306214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60" name="iṡḻíďê">
                <a:extLst>
                  <a:ext uri="{FF2B5EF4-FFF2-40B4-BE49-F238E27FC236}">
                    <a16:creationId xmlns:a16="http://schemas.microsoft.com/office/drawing/2014/main" id="{FD32874D-DC9B-48FC-A239-002F5F5D3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1366" y="5974438"/>
                <a:ext cx="7634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íṣ1iďê">
                <a:extLst>
                  <a:ext uri="{FF2B5EF4-FFF2-40B4-BE49-F238E27FC236}">
                    <a16:creationId xmlns:a16="http://schemas.microsoft.com/office/drawing/2014/main" id="{046C6EE0-E390-4487-A8C0-B2007E4BBD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1437" y="4030001"/>
                <a:ext cx="69795" cy="38169"/>
              </a:xfrm>
              <a:custGeom>
                <a:avLst/>
                <a:gdLst>
                  <a:gd name="T0" fmla="*/ 1 w 9"/>
                  <a:gd name="T1" fmla="*/ 1 h 5"/>
                  <a:gd name="T2" fmla="*/ 2 w 9"/>
                  <a:gd name="T3" fmla="*/ 4 h 5"/>
                  <a:gd name="T4" fmla="*/ 5 w 9"/>
                  <a:gd name="T5" fmla="*/ 4 h 5"/>
                  <a:gd name="T6" fmla="*/ 7 w 9"/>
                  <a:gd name="T7" fmla="*/ 4 h 5"/>
                  <a:gd name="T8" fmla="*/ 9 w 9"/>
                  <a:gd name="T9" fmla="*/ 5 h 5"/>
                  <a:gd name="T10" fmla="*/ 5 w 9"/>
                  <a:gd name="T11" fmla="*/ 1 h 5"/>
                  <a:gd name="T12" fmla="*/ 2 w 9"/>
                  <a:gd name="T13" fmla="*/ 0 h 5"/>
                  <a:gd name="T14" fmla="*/ 1 w 9"/>
                  <a:gd name="T1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5">
                    <a:moveTo>
                      <a:pt x="1" y="1"/>
                    </a:moveTo>
                    <a:cubicBezTo>
                      <a:pt x="2" y="2"/>
                      <a:pt x="2" y="2"/>
                      <a:pt x="2" y="4"/>
                    </a:cubicBezTo>
                    <a:cubicBezTo>
                      <a:pt x="3" y="5"/>
                      <a:pt x="4" y="4"/>
                      <a:pt x="5" y="4"/>
                    </a:cubicBezTo>
                    <a:cubicBezTo>
                      <a:pt x="5" y="3"/>
                      <a:pt x="5" y="3"/>
                      <a:pt x="7" y="4"/>
                    </a:cubicBezTo>
                    <a:cubicBezTo>
                      <a:pt x="8" y="5"/>
                      <a:pt x="8" y="5"/>
                      <a:pt x="9" y="5"/>
                    </a:cubicBezTo>
                    <a:cubicBezTo>
                      <a:pt x="7" y="4"/>
                      <a:pt x="6" y="2"/>
                      <a:pt x="5" y="1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1" y="0"/>
                      <a:pt x="0" y="0"/>
                      <a:pt x="1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iṩḻîḍè">
                <a:extLst>
                  <a:ext uri="{FF2B5EF4-FFF2-40B4-BE49-F238E27FC236}">
                    <a16:creationId xmlns:a16="http://schemas.microsoft.com/office/drawing/2014/main" id="{1A7ADA5D-8805-4904-A020-931DA43BD5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2177" y="4084529"/>
                <a:ext cx="39260" cy="45803"/>
              </a:xfrm>
              <a:custGeom>
                <a:avLst/>
                <a:gdLst>
                  <a:gd name="T0" fmla="*/ 5 w 5"/>
                  <a:gd name="T1" fmla="*/ 5 h 6"/>
                  <a:gd name="T2" fmla="*/ 0 w 5"/>
                  <a:gd name="T3" fmla="*/ 3 h 6"/>
                  <a:gd name="T4" fmla="*/ 5 w 5"/>
                  <a:gd name="T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5" y="5"/>
                    </a:moveTo>
                    <a:cubicBezTo>
                      <a:pt x="5" y="4"/>
                      <a:pt x="1" y="0"/>
                      <a:pt x="0" y="3"/>
                    </a:cubicBezTo>
                    <a:cubicBezTo>
                      <a:pt x="0" y="4"/>
                      <a:pt x="4" y="6"/>
                      <a:pt x="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iSḷîḋê">
                <a:extLst>
                  <a:ext uri="{FF2B5EF4-FFF2-40B4-BE49-F238E27FC236}">
                    <a16:creationId xmlns:a16="http://schemas.microsoft.com/office/drawing/2014/main" id="{66191610-70B1-499D-8C10-0A511E8C1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7741" y="4681055"/>
                <a:ext cx="45803" cy="92696"/>
              </a:xfrm>
              <a:custGeom>
                <a:avLst/>
                <a:gdLst>
                  <a:gd name="T0" fmla="*/ 2 w 6"/>
                  <a:gd name="T1" fmla="*/ 9 h 12"/>
                  <a:gd name="T2" fmla="*/ 5 w 6"/>
                  <a:gd name="T3" fmla="*/ 11 h 12"/>
                  <a:gd name="T4" fmla="*/ 3 w 6"/>
                  <a:gd name="T5" fmla="*/ 6 h 12"/>
                  <a:gd name="T6" fmla="*/ 1 w 6"/>
                  <a:gd name="T7" fmla="*/ 1 h 12"/>
                  <a:gd name="T8" fmla="*/ 1 w 6"/>
                  <a:gd name="T9" fmla="*/ 0 h 12"/>
                  <a:gd name="T10" fmla="*/ 0 w 6"/>
                  <a:gd name="T11" fmla="*/ 4 h 12"/>
                  <a:gd name="T12" fmla="*/ 1 w 6"/>
                  <a:gd name="T13" fmla="*/ 7 h 12"/>
                  <a:gd name="T14" fmla="*/ 2 w 6"/>
                  <a:gd name="T1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2" y="9"/>
                    </a:moveTo>
                    <a:cubicBezTo>
                      <a:pt x="3" y="9"/>
                      <a:pt x="4" y="12"/>
                      <a:pt x="5" y="11"/>
                    </a:cubicBezTo>
                    <a:cubicBezTo>
                      <a:pt x="6" y="9"/>
                      <a:pt x="3" y="7"/>
                      <a:pt x="3" y="6"/>
                    </a:cubicBezTo>
                    <a:cubicBezTo>
                      <a:pt x="2" y="5"/>
                      <a:pt x="3" y="3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0" y="2"/>
                      <a:pt x="0" y="3"/>
                      <a:pt x="0" y="4"/>
                    </a:cubicBezTo>
                    <a:cubicBezTo>
                      <a:pt x="1" y="5"/>
                      <a:pt x="1" y="6"/>
                      <a:pt x="1" y="7"/>
                    </a:cubicBezTo>
                    <a:cubicBezTo>
                      <a:pt x="1" y="8"/>
                      <a:pt x="2" y="8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îṧḷíďé">
                <a:extLst>
                  <a:ext uri="{FF2B5EF4-FFF2-40B4-BE49-F238E27FC236}">
                    <a16:creationId xmlns:a16="http://schemas.microsoft.com/office/drawing/2014/main" id="{936C172A-D0B0-4D64-9F45-FE2004C49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4883" y="3990742"/>
                <a:ext cx="46893" cy="31626"/>
              </a:xfrm>
              <a:custGeom>
                <a:avLst/>
                <a:gdLst>
                  <a:gd name="T0" fmla="*/ 1 w 6"/>
                  <a:gd name="T1" fmla="*/ 4 h 4"/>
                  <a:gd name="T2" fmla="*/ 3 w 6"/>
                  <a:gd name="T3" fmla="*/ 3 h 4"/>
                  <a:gd name="T4" fmla="*/ 6 w 6"/>
                  <a:gd name="T5" fmla="*/ 1 h 4"/>
                  <a:gd name="T6" fmla="*/ 5 w 6"/>
                  <a:gd name="T7" fmla="*/ 0 h 4"/>
                  <a:gd name="T8" fmla="*/ 0 w 6"/>
                  <a:gd name="T9" fmla="*/ 4 h 4"/>
                  <a:gd name="T10" fmla="*/ 1 w 6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1" y="4"/>
                    </a:moveTo>
                    <a:cubicBezTo>
                      <a:pt x="1" y="4"/>
                      <a:pt x="3" y="3"/>
                      <a:pt x="3" y="3"/>
                    </a:cubicBezTo>
                    <a:cubicBezTo>
                      <a:pt x="4" y="3"/>
                      <a:pt x="6" y="2"/>
                      <a:pt x="6" y="1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3" y="1"/>
                      <a:pt x="2" y="3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ïṧļiḓe">
                <a:extLst>
                  <a:ext uri="{FF2B5EF4-FFF2-40B4-BE49-F238E27FC236}">
                    <a16:creationId xmlns:a16="http://schemas.microsoft.com/office/drawing/2014/main" id="{244AB41F-3DCF-46B1-B78E-6CEC82931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7044" y="3920947"/>
                <a:ext cx="262821" cy="154857"/>
              </a:xfrm>
              <a:custGeom>
                <a:avLst/>
                <a:gdLst>
                  <a:gd name="T0" fmla="*/ 0 w 34"/>
                  <a:gd name="T1" fmla="*/ 7 h 20"/>
                  <a:gd name="T2" fmla="*/ 2 w 34"/>
                  <a:gd name="T3" fmla="*/ 6 h 20"/>
                  <a:gd name="T4" fmla="*/ 3 w 34"/>
                  <a:gd name="T5" fmla="*/ 5 h 20"/>
                  <a:gd name="T6" fmla="*/ 4 w 34"/>
                  <a:gd name="T7" fmla="*/ 7 h 20"/>
                  <a:gd name="T8" fmla="*/ 6 w 34"/>
                  <a:gd name="T9" fmla="*/ 7 h 20"/>
                  <a:gd name="T10" fmla="*/ 5 w 34"/>
                  <a:gd name="T11" fmla="*/ 10 h 20"/>
                  <a:gd name="T12" fmla="*/ 4 w 34"/>
                  <a:gd name="T13" fmla="*/ 11 h 20"/>
                  <a:gd name="T14" fmla="*/ 7 w 34"/>
                  <a:gd name="T15" fmla="*/ 11 h 20"/>
                  <a:gd name="T16" fmla="*/ 9 w 34"/>
                  <a:gd name="T17" fmla="*/ 9 h 20"/>
                  <a:gd name="T18" fmla="*/ 11 w 34"/>
                  <a:gd name="T19" fmla="*/ 8 h 20"/>
                  <a:gd name="T20" fmla="*/ 11 w 34"/>
                  <a:gd name="T21" fmla="*/ 10 h 20"/>
                  <a:gd name="T22" fmla="*/ 8 w 34"/>
                  <a:gd name="T23" fmla="*/ 12 h 20"/>
                  <a:gd name="T24" fmla="*/ 5 w 34"/>
                  <a:gd name="T25" fmla="*/ 13 h 20"/>
                  <a:gd name="T26" fmla="*/ 2 w 34"/>
                  <a:gd name="T27" fmla="*/ 14 h 20"/>
                  <a:gd name="T28" fmla="*/ 2 w 34"/>
                  <a:gd name="T29" fmla="*/ 17 h 20"/>
                  <a:gd name="T30" fmla="*/ 4 w 34"/>
                  <a:gd name="T31" fmla="*/ 16 h 20"/>
                  <a:gd name="T32" fmla="*/ 10 w 34"/>
                  <a:gd name="T33" fmla="*/ 16 h 20"/>
                  <a:gd name="T34" fmla="*/ 13 w 34"/>
                  <a:gd name="T35" fmla="*/ 17 h 20"/>
                  <a:gd name="T36" fmla="*/ 15 w 34"/>
                  <a:gd name="T37" fmla="*/ 18 h 20"/>
                  <a:gd name="T38" fmla="*/ 17 w 34"/>
                  <a:gd name="T39" fmla="*/ 18 h 20"/>
                  <a:gd name="T40" fmla="*/ 19 w 34"/>
                  <a:gd name="T41" fmla="*/ 19 h 20"/>
                  <a:gd name="T42" fmla="*/ 22 w 34"/>
                  <a:gd name="T43" fmla="*/ 19 h 20"/>
                  <a:gd name="T44" fmla="*/ 24 w 34"/>
                  <a:gd name="T45" fmla="*/ 18 h 20"/>
                  <a:gd name="T46" fmla="*/ 26 w 34"/>
                  <a:gd name="T47" fmla="*/ 18 h 20"/>
                  <a:gd name="T48" fmla="*/ 26 w 34"/>
                  <a:gd name="T49" fmla="*/ 15 h 20"/>
                  <a:gd name="T50" fmla="*/ 22 w 34"/>
                  <a:gd name="T51" fmla="*/ 13 h 20"/>
                  <a:gd name="T52" fmla="*/ 22 w 34"/>
                  <a:gd name="T53" fmla="*/ 12 h 20"/>
                  <a:gd name="T54" fmla="*/ 26 w 34"/>
                  <a:gd name="T55" fmla="*/ 13 h 20"/>
                  <a:gd name="T56" fmla="*/ 29 w 34"/>
                  <a:gd name="T57" fmla="*/ 13 h 20"/>
                  <a:gd name="T58" fmla="*/ 32 w 34"/>
                  <a:gd name="T59" fmla="*/ 12 h 20"/>
                  <a:gd name="T60" fmla="*/ 34 w 34"/>
                  <a:gd name="T61" fmla="*/ 10 h 20"/>
                  <a:gd name="T62" fmla="*/ 28 w 34"/>
                  <a:gd name="T63" fmla="*/ 9 h 20"/>
                  <a:gd name="T64" fmla="*/ 25 w 34"/>
                  <a:gd name="T65" fmla="*/ 7 h 20"/>
                  <a:gd name="T66" fmla="*/ 22 w 34"/>
                  <a:gd name="T67" fmla="*/ 7 h 20"/>
                  <a:gd name="T68" fmla="*/ 22 w 34"/>
                  <a:gd name="T69" fmla="*/ 3 h 20"/>
                  <a:gd name="T70" fmla="*/ 14 w 34"/>
                  <a:gd name="T71" fmla="*/ 2 h 20"/>
                  <a:gd name="T72" fmla="*/ 8 w 34"/>
                  <a:gd name="T73" fmla="*/ 0 h 20"/>
                  <a:gd name="T74" fmla="*/ 0 w 34"/>
                  <a:gd name="T75" fmla="*/ 7 h 20"/>
                  <a:gd name="T76" fmla="*/ 0 w 34"/>
                  <a:gd name="T77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4" h="20">
                    <a:moveTo>
                      <a:pt x="0" y="7"/>
                    </a:moveTo>
                    <a:cubicBezTo>
                      <a:pt x="0" y="7"/>
                      <a:pt x="2" y="7"/>
                      <a:pt x="2" y="6"/>
                    </a:cubicBezTo>
                    <a:cubicBezTo>
                      <a:pt x="2" y="5"/>
                      <a:pt x="2" y="5"/>
                      <a:pt x="3" y="5"/>
                    </a:cubicBezTo>
                    <a:cubicBezTo>
                      <a:pt x="3" y="5"/>
                      <a:pt x="2" y="7"/>
                      <a:pt x="4" y="7"/>
                    </a:cubicBezTo>
                    <a:cubicBezTo>
                      <a:pt x="5" y="6"/>
                      <a:pt x="5" y="6"/>
                      <a:pt x="6" y="7"/>
                    </a:cubicBezTo>
                    <a:cubicBezTo>
                      <a:pt x="7" y="7"/>
                      <a:pt x="5" y="9"/>
                      <a:pt x="5" y="10"/>
                    </a:cubicBezTo>
                    <a:cubicBezTo>
                      <a:pt x="4" y="10"/>
                      <a:pt x="3" y="11"/>
                      <a:pt x="4" y="11"/>
                    </a:cubicBezTo>
                    <a:cubicBezTo>
                      <a:pt x="6" y="11"/>
                      <a:pt x="7" y="11"/>
                      <a:pt x="7" y="11"/>
                    </a:cubicBezTo>
                    <a:cubicBezTo>
                      <a:pt x="7" y="11"/>
                      <a:pt x="8" y="9"/>
                      <a:pt x="9" y="9"/>
                    </a:cubicBezTo>
                    <a:cubicBezTo>
                      <a:pt x="9" y="8"/>
                      <a:pt x="10" y="8"/>
                      <a:pt x="11" y="8"/>
                    </a:cubicBezTo>
                    <a:cubicBezTo>
                      <a:pt x="11" y="9"/>
                      <a:pt x="14" y="9"/>
                      <a:pt x="11" y="10"/>
                    </a:cubicBezTo>
                    <a:cubicBezTo>
                      <a:pt x="9" y="11"/>
                      <a:pt x="8" y="11"/>
                      <a:pt x="8" y="12"/>
                    </a:cubicBezTo>
                    <a:cubicBezTo>
                      <a:pt x="7" y="13"/>
                      <a:pt x="7" y="14"/>
                      <a:pt x="5" y="13"/>
                    </a:cubicBezTo>
                    <a:cubicBezTo>
                      <a:pt x="3" y="13"/>
                      <a:pt x="2" y="13"/>
                      <a:pt x="2" y="14"/>
                    </a:cubicBezTo>
                    <a:cubicBezTo>
                      <a:pt x="1" y="15"/>
                      <a:pt x="1" y="17"/>
                      <a:pt x="2" y="17"/>
                    </a:cubicBezTo>
                    <a:cubicBezTo>
                      <a:pt x="3" y="17"/>
                      <a:pt x="3" y="17"/>
                      <a:pt x="4" y="16"/>
                    </a:cubicBezTo>
                    <a:cubicBezTo>
                      <a:pt x="5" y="16"/>
                      <a:pt x="9" y="16"/>
                      <a:pt x="10" y="16"/>
                    </a:cubicBezTo>
                    <a:cubicBezTo>
                      <a:pt x="11" y="16"/>
                      <a:pt x="12" y="17"/>
                      <a:pt x="13" y="17"/>
                    </a:cubicBezTo>
                    <a:cubicBezTo>
                      <a:pt x="13" y="17"/>
                      <a:pt x="14" y="18"/>
                      <a:pt x="15" y="18"/>
                    </a:cubicBezTo>
                    <a:cubicBezTo>
                      <a:pt x="16" y="19"/>
                      <a:pt x="16" y="17"/>
                      <a:pt x="17" y="18"/>
                    </a:cubicBezTo>
                    <a:cubicBezTo>
                      <a:pt x="19" y="19"/>
                      <a:pt x="18" y="19"/>
                      <a:pt x="19" y="19"/>
                    </a:cubicBezTo>
                    <a:cubicBezTo>
                      <a:pt x="20" y="19"/>
                      <a:pt x="22" y="19"/>
                      <a:pt x="22" y="19"/>
                    </a:cubicBezTo>
                    <a:cubicBezTo>
                      <a:pt x="22" y="19"/>
                      <a:pt x="22" y="17"/>
                      <a:pt x="24" y="18"/>
                    </a:cubicBezTo>
                    <a:cubicBezTo>
                      <a:pt x="25" y="18"/>
                      <a:pt x="26" y="20"/>
                      <a:pt x="26" y="18"/>
                    </a:cubicBezTo>
                    <a:cubicBezTo>
                      <a:pt x="26" y="17"/>
                      <a:pt x="27" y="16"/>
                      <a:pt x="26" y="15"/>
                    </a:cubicBezTo>
                    <a:cubicBezTo>
                      <a:pt x="24" y="14"/>
                      <a:pt x="22" y="14"/>
                      <a:pt x="22" y="13"/>
                    </a:cubicBezTo>
                    <a:cubicBezTo>
                      <a:pt x="22" y="13"/>
                      <a:pt x="22" y="12"/>
                      <a:pt x="22" y="12"/>
                    </a:cubicBezTo>
                    <a:cubicBezTo>
                      <a:pt x="23" y="11"/>
                      <a:pt x="25" y="12"/>
                      <a:pt x="26" y="13"/>
                    </a:cubicBezTo>
                    <a:cubicBezTo>
                      <a:pt x="27" y="13"/>
                      <a:pt x="28" y="14"/>
                      <a:pt x="29" y="13"/>
                    </a:cubicBezTo>
                    <a:cubicBezTo>
                      <a:pt x="30" y="13"/>
                      <a:pt x="31" y="12"/>
                      <a:pt x="32" y="12"/>
                    </a:cubicBezTo>
                    <a:cubicBezTo>
                      <a:pt x="32" y="11"/>
                      <a:pt x="34" y="10"/>
                      <a:pt x="34" y="10"/>
                    </a:cubicBezTo>
                    <a:cubicBezTo>
                      <a:pt x="34" y="10"/>
                      <a:pt x="29" y="9"/>
                      <a:pt x="28" y="9"/>
                    </a:cubicBezTo>
                    <a:cubicBezTo>
                      <a:pt x="28" y="8"/>
                      <a:pt x="26" y="7"/>
                      <a:pt x="25" y="7"/>
                    </a:cubicBezTo>
                    <a:cubicBezTo>
                      <a:pt x="25" y="7"/>
                      <a:pt x="23" y="8"/>
                      <a:pt x="22" y="7"/>
                    </a:cubicBezTo>
                    <a:cubicBezTo>
                      <a:pt x="22" y="5"/>
                      <a:pt x="22" y="3"/>
                      <a:pt x="22" y="3"/>
                    </a:cubicBezTo>
                    <a:cubicBezTo>
                      <a:pt x="21" y="3"/>
                      <a:pt x="15" y="3"/>
                      <a:pt x="14" y="2"/>
                    </a:cubicBezTo>
                    <a:cubicBezTo>
                      <a:pt x="13" y="2"/>
                      <a:pt x="10" y="1"/>
                      <a:pt x="8" y="0"/>
                    </a:cubicBezTo>
                    <a:cubicBezTo>
                      <a:pt x="5" y="2"/>
                      <a:pt x="3" y="4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ïṥľîḋe">
                <a:extLst>
                  <a:ext uri="{FF2B5EF4-FFF2-40B4-BE49-F238E27FC236}">
                    <a16:creationId xmlns:a16="http://schemas.microsoft.com/office/drawing/2014/main" id="{0AE7BA12-1294-45AC-AE3E-63FA37535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5375" y="4068170"/>
                <a:ext cx="1085089" cy="1930259"/>
              </a:xfrm>
              <a:custGeom>
                <a:avLst/>
                <a:gdLst>
                  <a:gd name="T0" fmla="*/ 82 w 140"/>
                  <a:gd name="T1" fmla="*/ 249 h 249"/>
                  <a:gd name="T2" fmla="*/ 81 w 140"/>
                  <a:gd name="T3" fmla="*/ 242 h 249"/>
                  <a:gd name="T4" fmla="*/ 86 w 140"/>
                  <a:gd name="T5" fmla="*/ 233 h 249"/>
                  <a:gd name="T6" fmla="*/ 89 w 140"/>
                  <a:gd name="T7" fmla="*/ 227 h 249"/>
                  <a:gd name="T8" fmla="*/ 95 w 140"/>
                  <a:gd name="T9" fmla="*/ 217 h 249"/>
                  <a:gd name="T10" fmla="*/ 109 w 140"/>
                  <a:gd name="T11" fmla="*/ 211 h 249"/>
                  <a:gd name="T12" fmla="*/ 122 w 140"/>
                  <a:gd name="T13" fmla="*/ 197 h 249"/>
                  <a:gd name="T14" fmla="*/ 133 w 140"/>
                  <a:gd name="T15" fmla="*/ 175 h 249"/>
                  <a:gd name="T16" fmla="*/ 127 w 140"/>
                  <a:gd name="T17" fmla="*/ 151 h 249"/>
                  <a:gd name="T18" fmla="*/ 109 w 140"/>
                  <a:gd name="T19" fmla="*/ 150 h 249"/>
                  <a:gd name="T20" fmla="*/ 109 w 140"/>
                  <a:gd name="T21" fmla="*/ 141 h 249"/>
                  <a:gd name="T22" fmla="*/ 90 w 140"/>
                  <a:gd name="T23" fmla="*/ 124 h 249"/>
                  <a:gd name="T24" fmla="*/ 84 w 140"/>
                  <a:gd name="T25" fmla="*/ 119 h 249"/>
                  <a:gd name="T26" fmla="*/ 72 w 140"/>
                  <a:gd name="T27" fmla="*/ 118 h 249"/>
                  <a:gd name="T28" fmla="*/ 65 w 140"/>
                  <a:gd name="T29" fmla="*/ 113 h 249"/>
                  <a:gd name="T30" fmla="*/ 50 w 140"/>
                  <a:gd name="T31" fmla="*/ 119 h 249"/>
                  <a:gd name="T32" fmla="*/ 41 w 140"/>
                  <a:gd name="T33" fmla="*/ 104 h 249"/>
                  <a:gd name="T34" fmla="*/ 36 w 140"/>
                  <a:gd name="T35" fmla="*/ 92 h 249"/>
                  <a:gd name="T36" fmla="*/ 23 w 140"/>
                  <a:gd name="T37" fmla="*/ 98 h 249"/>
                  <a:gd name="T38" fmla="*/ 25 w 140"/>
                  <a:gd name="T39" fmla="*/ 74 h 249"/>
                  <a:gd name="T40" fmla="*/ 40 w 140"/>
                  <a:gd name="T41" fmla="*/ 71 h 249"/>
                  <a:gd name="T42" fmla="*/ 49 w 140"/>
                  <a:gd name="T43" fmla="*/ 78 h 249"/>
                  <a:gd name="T44" fmla="*/ 57 w 140"/>
                  <a:gd name="T45" fmla="*/ 53 h 249"/>
                  <a:gd name="T46" fmla="*/ 65 w 140"/>
                  <a:gd name="T47" fmla="*/ 46 h 249"/>
                  <a:gd name="T48" fmla="*/ 76 w 140"/>
                  <a:gd name="T49" fmla="*/ 37 h 249"/>
                  <a:gd name="T50" fmla="*/ 88 w 140"/>
                  <a:gd name="T51" fmla="*/ 32 h 249"/>
                  <a:gd name="T52" fmla="*/ 80 w 140"/>
                  <a:gd name="T53" fmla="*/ 30 h 249"/>
                  <a:gd name="T54" fmla="*/ 72 w 140"/>
                  <a:gd name="T55" fmla="*/ 26 h 249"/>
                  <a:gd name="T56" fmla="*/ 86 w 140"/>
                  <a:gd name="T57" fmla="*/ 25 h 249"/>
                  <a:gd name="T58" fmla="*/ 91 w 140"/>
                  <a:gd name="T59" fmla="*/ 28 h 249"/>
                  <a:gd name="T60" fmla="*/ 102 w 140"/>
                  <a:gd name="T61" fmla="*/ 30 h 249"/>
                  <a:gd name="T62" fmla="*/ 96 w 140"/>
                  <a:gd name="T63" fmla="*/ 23 h 249"/>
                  <a:gd name="T64" fmla="*/ 88 w 140"/>
                  <a:gd name="T65" fmla="*/ 12 h 249"/>
                  <a:gd name="T66" fmla="*/ 73 w 140"/>
                  <a:gd name="T67" fmla="*/ 6 h 249"/>
                  <a:gd name="T68" fmla="*/ 58 w 140"/>
                  <a:gd name="T69" fmla="*/ 4 h 249"/>
                  <a:gd name="T70" fmla="*/ 56 w 140"/>
                  <a:gd name="T71" fmla="*/ 15 h 249"/>
                  <a:gd name="T72" fmla="*/ 51 w 140"/>
                  <a:gd name="T73" fmla="*/ 21 h 249"/>
                  <a:gd name="T74" fmla="*/ 42 w 140"/>
                  <a:gd name="T75" fmla="*/ 15 h 249"/>
                  <a:gd name="T76" fmla="*/ 2 w 140"/>
                  <a:gd name="T77" fmla="*/ 80 h 249"/>
                  <a:gd name="T78" fmla="*/ 14 w 140"/>
                  <a:gd name="T79" fmla="*/ 101 h 249"/>
                  <a:gd name="T80" fmla="*/ 27 w 140"/>
                  <a:gd name="T81" fmla="*/ 107 h 249"/>
                  <a:gd name="T82" fmla="*/ 40 w 140"/>
                  <a:gd name="T83" fmla="*/ 120 h 249"/>
                  <a:gd name="T84" fmla="*/ 52 w 140"/>
                  <a:gd name="T85" fmla="*/ 123 h 249"/>
                  <a:gd name="T86" fmla="*/ 48 w 140"/>
                  <a:gd name="T87" fmla="*/ 144 h 249"/>
                  <a:gd name="T88" fmla="*/ 58 w 140"/>
                  <a:gd name="T89" fmla="*/ 174 h 249"/>
                  <a:gd name="T90" fmla="*/ 71 w 140"/>
                  <a:gd name="T91" fmla="*/ 198 h 249"/>
                  <a:gd name="T92" fmla="*/ 70 w 140"/>
                  <a:gd name="T93" fmla="*/ 217 h 249"/>
                  <a:gd name="T94" fmla="*/ 70 w 140"/>
                  <a:gd name="T95" fmla="*/ 231 h 249"/>
                  <a:gd name="T96" fmla="*/ 71 w 140"/>
                  <a:gd name="T97" fmla="*/ 241 h 249"/>
                  <a:gd name="T98" fmla="*/ 75 w 140"/>
                  <a:gd name="T99" fmla="*/ 247 h 249"/>
                  <a:gd name="T100" fmla="*/ 54 w 140"/>
                  <a:gd name="T101" fmla="*/ 42 h 249"/>
                  <a:gd name="T102" fmla="*/ 55 w 140"/>
                  <a:gd name="T103" fmla="*/ 38 h 249"/>
                  <a:gd name="T104" fmla="*/ 48 w 140"/>
                  <a:gd name="T105" fmla="*/ 42 h 249"/>
                  <a:gd name="T106" fmla="*/ 39 w 140"/>
                  <a:gd name="T107" fmla="*/ 46 h 249"/>
                  <a:gd name="T108" fmla="*/ 50 w 140"/>
                  <a:gd name="T109" fmla="*/ 34 h 249"/>
                  <a:gd name="T110" fmla="*/ 40 w 140"/>
                  <a:gd name="T111" fmla="*/ 32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0" h="249">
                    <a:moveTo>
                      <a:pt x="77" y="248"/>
                    </a:moveTo>
                    <a:cubicBezTo>
                      <a:pt x="78" y="248"/>
                      <a:pt x="79" y="248"/>
                      <a:pt x="78" y="246"/>
                    </a:cubicBezTo>
                    <a:cubicBezTo>
                      <a:pt x="78" y="245"/>
                      <a:pt x="81" y="246"/>
                      <a:pt x="80" y="247"/>
                    </a:cubicBezTo>
                    <a:cubicBezTo>
                      <a:pt x="78" y="248"/>
                      <a:pt x="78" y="248"/>
                      <a:pt x="78" y="248"/>
                    </a:cubicBezTo>
                    <a:cubicBezTo>
                      <a:pt x="79" y="248"/>
                      <a:pt x="81" y="249"/>
                      <a:pt x="82" y="249"/>
                    </a:cubicBezTo>
                    <a:cubicBezTo>
                      <a:pt x="83" y="249"/>
                      <a:pt x="86" y="249"/>
                      <a:pt x="86" y="249"/>
                    </a:cubicBezTo>
                    <a:cubicBezTo>
                      <a:pt x="86" y="249"/>
                      <a:pt x="89" y="248"/>
                      <a:pt x="90" y="248"/>
                    </a:cubicBezTo>
                    <a:cubicBezTo>
                      <a:pt x="90" y="248"/>
                      <a:pt x="87" y="248"/>
                      <a:pt x="86" y="248"/>
                    </a:cubicBezTo>
                    <a:cubicBezTo>
                      <a:pt x="84" y="247"/>
                      <a:pt x="82" y="246"/>
                      <a:pt x="81" y="245"/>
                    </a:cubicBezTo>
                    <a:cubicBezTo>
                      <a:pt x="81" y="244"/>
                      <a:pt x="80" y="243"/>
                      <a:pt x="81" y="242"/>
                    </a:cubicBezTo>
                    <a:cubicBezTo>
                      <a:pt x="82" y="242"/>
                      <a:pt x="84" y="240"/>
                      <a:pt x="85" y="240"/>
                    </a:cubicBezTo>
                    <a:cubicBezTo>
                      <a:pt x="85" y="240"/>
                      <a:pt x="86" y="238"/>
                      <a:pt x="85" y="238"/>
                    </a:cubicBezTo>
                    <a:cubicBezTo>
                      <a:pt x="85" y="237"/>
                      <a:pt x="83" y="237"/>
                      <a:pt x="82" y="237"/>
                    </a:cubicBezTo>
                    <a:cubicBezTo>
                      <a:pt x="82" y="237"/>
                      <a:pt x="82" y="236"/>
                      <a:pt x="83" y="235"/>
                    </a:cubicBezTo>
                    <a:cubicBezTo>
                      <a:pt x="85" y="234"/>
                      <a:pt x="85" y="233"/>
                      <a:pt x="86" y="233"/>
                    </a:cubicBezTo>
                    <a:cubicBezTo>
                      <a:pt x="86" y="232"/>
                      <a:pt x="87" y="232"/>
                      <a:pt x="88" y="231"/>
                    </a:cubicBezTo>
                    <a:cubicBezTo>
                      <a:pt x="88" y="230"/>
                      <a:pt x="87" y="230"/>
                      <a:pt x="86" y="230"/>
                    </a:cubicBezTo>
                    <a:cubicBezTo>
                      <a:pt x="85" y="230"/>
                      <a:pt x="85" y="229"/>
                      <a:pt x="84" y="228"/>
                    </a:cubicBezTo>
                    <a:cubicBezTo>
                      <a:pt x="84" y="227"/>
                      <a:pt x="87" y="228"/>
                      <a:pt x="89" y="229"/>
                    </a:cubicBezTo>
                    <a:cubicBezTo>
                      <a:pt x="90" y="229"/>
                      <a:pt x="89" y="228"/>
                      <a:pt x="89" y="227"/>
                    </a:cubicBezTo>
                    <a:cubicBezTo>
                      <a:pt x="89" y="226"/>
                      <a:pt x="89" y="225"/>
                      <a:pt x="90" y="225"/>
                    </a:cubicBezTo>
                    <a:cubicBezTo>
                      <a:pt x="91" y="226"/>
                      <a:pt x="96" y="225"/>
                      <a:pt x="96" y="225"/>
                    </a:cubicBezTo>
                    <a:cubicBezTo>
                      <a:pt x="97" y="225"/>
                      <a:pt x="98" y="223"/>
                      <a:pt x="99" y="222"/>
                    </a:cubicBezTo>
                    <a:cubicBezTo>
                      <a:pt x="99" y="221"/>
                      <a:pt x="100" y="221"/>
                      <a:pt x="99" y="220"/>
                    </a:cubicBezTo>
                    <a:cubicBezTo>
                      <a:pt x="98" y="220"/>
                      <a:pt x="95" y="218"/>
                      <a:pt x="95" y="217"/>
                    </a:cubicBezTo>
                    <a:cubicBezTo>
                      <a:pt x="95" y="217"/>
                      <a:pt x="96" y="214"/>
                      <a:pt x="96" y="213"/>
                    </a:cubicBezTo>
                    <a:cubicBezTo>
                      <a:pt x="96" y="213"/>
                      <a:pt x="96" y="218"/>
                      <a:pt x="99" y="219"/>
                    </a:cubicBezTo>
                    <a:cubicBezTo>
                      <a:pt x="101" y="219"/>
                      <a:pt x="102" y="220"/>
                      <a:pt x="104" y="218"/>
                    </a:cubicBezTo>
                    <a:cubicBezTo>
                      <a:pt x="106" y="216"/>
                      <a:pt x="107" y="215"/>
                      <a:pt x="108" y="214"/>
                    </a:cubicBezTo>
                    <a:cubicBezTo>
                      <a:pt x="108" y="212"/>
                      <a:pt x="108" y="211"/>
                      <a:pt x="109" y="211"/>
                    </a:cubicBezTo>
                    <a:cubicBezTo>
                      <a:pt x="110" y="210"/>
                      <a:pt x="110" y="211"/>
                      <a:pt x="111" y="208"/>
                    </a:cubicBezTo>
                    <a:cubicBezTo>
                      <a:pt x="112" y="206"/>
                      <a:pt x="113" y="208"/>
                      <a:pt x="114" y="206"/>
                    </a:cubicBezTo>
                    <a:cubicBezTo>
                      <a:pt x="115" y="204"/>
                      <a:pt x="112" y="202"/>
                      <a:pt x="114" y="201"/>
                    </a:cubicBezTo>
                    <a:cubicBezTo>
                      <a:pt x="116" y="199"/>
                      <a:pt x="119" y="198"/>
                      <a:pt x="119" y="198"/>
                    </a:cubicBezTo>
                    <a:cubicBezTo>
                      <a:pt x="119" y="198"/>
                      <a:pt x="120" y="197"/>
                      <a:pt x="122" y="197"/>
                    </a:cubicBezTo>
                    <a:cubicBezTo>
                      <a:pt x="124" y="196"/>
                      <a:pt x="126" y="197"/>
                      <a:pt x="127" y="196"/>
                    </a:cubicBezTo>
                    <a:cubicBezTo>
                      <a:pt x="127" y="194"/>
                      <a:pt x="128" y="192"/>
                      <a:pt x="129" y="191"/>
                    </a:cubicBezTo>
                    <a:cubicBezTo>
                      <a:pt x="130" y="190"/>
                      <a:pt x="131" y="188"/>
                      <a:pt x="131" y="187"/>
                    </a:cubicBezTo>
                    <a:cubicBezTo>
                      <a:pt x="130" y="186"/>
                      <a:pt x="132" y="182"/>
                      <a:pt x="132" y="181"/>
                    </a:cubicBezTo>
                    <a:cubicBezTo>
                      <a:pt x="132" y="180"/>
                      <a:pt x="130" y="177"/>
                      <a:pt x="133" y="175"/>
                    </a:cubicBezTo>
                    <a:cubicBezTo>
                      <a:pt x="135" y="172"/>
                      <a:pt x="138" y="169"/>
                      <a:pt x="138" y="168"/>
                    </a:cubicBezTo>
                    <a:cubicBezTo>
                      <a:pt x="138" y="167"/>
                      <a:pt x="140" y="163"/>
                      <a:pt x="140" y="161"/>
                    </a:cubicBezTo>
                    <a:cubicBezTo>
                      <a:pt x="140" y="159"/>
                      <a:pt x="138" y="156"/>
                      <a:pt x="137" y="156"/>
                    </a:cubicBezTo>
                    <a:cubicBezTo>
                      <a:pt x="136" y="155"/>
                      <a:pt x="133" y="155"/>
                      <a:pt x="132" y="153"/>
                    </a:cubicBezTo>
                    <a:cubicBezTo>
                      <a:pt x="131" y="152"/>
                      <a:pt x="128" y="150"/>
                      <a:pt x="127" y="151"/>
                    </a:cubicBezTo>
                    <a:cubicBezTo>
                      <a:pt x="126" y="151"/>
                      <a:pt x="124" y="151"/>
                      <a:pt x="122" y="150"/>
                    </a:cubicBezTo>
                    <a:cubicBezTo>
                      <a:pt x="121" y="149"/>
                      <a:pt x="119" y="148"/>
                      <a:pt x="118" y="147"/>
                    </a:cubicBezTo>
                    <a:cubicBezTo>
                      <a:pt x="117" y="146"/>
                      <a:pt x="115" y="146"/>
                      <a:pt x="114" y="146"/>
                    </a:cubicBezTo>
                    <a:cubicBezTo>
                      <a:pt x="113" y="146"/>
                      <a:pt x="113" y="145"/>
                      <a:pt x="111" y="147"/>
                    </a:cubicBezTo>
                    <a:cubicBezTo>
                      <a:pt x="110" y="150"/>
                      <a:pt x="111" y="151"/>
                      <a:pt x="109" y="150"/>
                    </a:cubicBezTo>
                    <a:cubicBezTo>
                      <a:pt x="106" y="150"/>
                      <a:pt x="109" y="150"/>
                      <a:pt x="110" y="147"/>
                    </a:cubicBezTo>
                    <a:cubicBezTo>
                      <a:pt x="112" y="145"/>
                      <a:pt x="110" y="143"/>
                      <a:pt x="108" y="144"/>
                    </a:cubicBezTo>
                    <a:cubicBezTo>
                      <a:pt x="107" y="144"/>
                      <a:pt x="108" y="146"/>
                      <a:pt x="105" y="146"/>
                    </a:cubicBezTo>
                    <a:cubicBezTo>
                      <a:pt x="102" y="147"/>
                      <a:pt x="102" y="145"/>
                      <a:pt x="104" y="144"/>
                    </a:cubicBezTo>
                    <a:cubicBezTo>
                      <a:pt x="106" y="144"/>
                      <a:pt x="109" y="142"/>
                      <a:pt x="109" y="141"/>
                    </a:cubicBezTo>
                    <a:cubicBezTo>
                      <a:pt x="109" y="141"/>
                      <a:pt x="109" y="138"/>
                      <a:pt x="107" y="138"/>
                    </a:cubicBezTo>
                    <a:cubicBezTo>
                      <a:pt x="106" y="138"/>
                      <a:pt x="106" y="136"/>
                      <a:pt x="104" y="134"/>
                    </a:cubicBezTo>
                    <a:cubicBezTo>
                      <a:pt x="102" y="131"/>
                      <a:pt x="99" y="128"/>
                      <a:pt x="97" y="128"/>
                    </a:cubicBezTo>
                    <a:cubicBezTo>
                      <a:pt x="95" y="129"/>
                      <a:pt x="94" y="131"/>
                      <a:pt x="92" y="128"/>
                    </a:cubicBezTo>
                    <a:cubicBezTo>
                      <a:pt x="91" y="126"/>
                      <a:pt x="90" y="126"/>
                      <a:pt x="90" y="124"/>
                    </a:cubicBezTo>
                    <a:cubicBezTo>
                      <a:pt x="89" y="123"/>
                      <a:pt x="87" y="124"/>
                      <a:pt x="87" y="124"/>
                    </a:cubicBezTo>
                    <a:cubicBezTo>
                      <a:pt x="86" y="123"/>
                      <a:pt x="86" y="123"/>
                      <a:pt x="86" y="123"/>
                    </a:cubicBezTo>
                    <a:cubicBezTo>
                      <a:pt x="86" y="123"/>
                      <a:pt x="84" y="124"/>
                      <a:pt x="85" y="122"/>
                    </a:cubicBezTo>
                    <a:cubicBezTo>
                      <a:pt x="86" y="120"/>
                      <a:pt x="87" y="116"/>
                      <a:pt x="86" y="117"/>
                    </a:cubicBezTo>
                    <a:cubicBezTo>
                      <a:pt x="86" y="117"/>
                      <a:pt x="85" y="120"/>
                      <a:pt x="84" y="119"/>
                    </a:cubicBezTo>
                    <a:cubicBezTo>
                      <a:pt x="83" y="119"/>
                      <a:pt x="84" y="119"/>
                      <a:pt x="82" y="118"/>
                    </a:cubicBezTo>
                    <a:cubicBezTo>
                      <a:pt x="80" y="116"/>
                      <a:pt x="78" y="117"/>
                      <a:pt x="78" y="118"/>
                    </a:cubicBezTo>
                    <a:cubicBezTo>
                      <a:pt x="78" y="119"/>
                      <a:pt x="77" y="120"/>
                      <a:pt x="77" y="120"/>
                    </a:cubicBezTo>
                    <a:cubicBezTo>
                      <a:pt x="77" y="120"/>
                      <a:pt x="77" y="120"/>
                      <a:pt x="76" y="118"/>
                    </a:cubicBezTo>
                    <a:cubicBezTo>
                      <a:pt x="76" y="117"/>
                      <a:pt x="73" y="117"/>
                      <a:pt x="72" y="118"/>
                    </a:cubicBezTo>
                    <a:cubicBezTo>
                      <a:pt x="71" y="119"/>
                      <a:pt x="70" y="115"/>
                      <a:pt x="69" y="115"/>
                    </a:cubicBezTo>
                    <a:cubicBezTo>
                      <a:pt x="69" y="115"/>
                      <a:pt x="67" y="116"/>
                      <a:pt x="66" y="118"/>
                    </a:cubicBezTo>
                    <a:cubicBezTo>
                      <a:pt x="65" y="120"/>
                      <a:pt x="66" y="122"/>
                      <a:pt x="65" y="122"/>
                    </a:cubicBezTo>
                    <a:cubicBezTo>
                      <a:pt x="64" y="122"/>
                      <a:pt x="64" y="118"/>
                      <a:pt x="64" y="117"/>
                    </a:cubicBezTo>
                    <a:cubicBezTo>
                      <a:pt x="65" y="116"/>
                      <a:pt x="66" y="114"/>
                      <a:pt x="65" y="113"/>
                    </a:cubicBezTo>
                    <a:cubicBezTo>
                      <a:pt x="64" y="113"/>
                      <a:pt x="62" y="116"/>
                      <a:pt x="61" y="116"/>
                    </a:cubicBezTo>
                    <a:cubicBezTo>
                      <a:pt x="60" y="116"/>
                      <a:pt x="59" y="117"/>
                      <a:pt x="58" y="119"/>
                    </a:cubicBezTo>
                    <a:cubicBezTo>
                      <a:pt x="57" y="120"/>
                      <a:pt x="56" y="121"/>
                      <a:pt x="55" y="122"/>
                    </a:cubicBezTo>
                    <a:cubicBezTo>
                      <a:pt x="55" y="123"/>
                      <a:pt x="53" y="122"/>
                      <a:pt x="53" y="121"/>
                    </a:cubicBezTo>
                    <a:cubicBezTo>
                      <a:pt x="54" y="121"/>
                      <a:pt x="51" y="119"/>
                      <a:pt x="50" y="119"/>
                    </a:cubicBezTo>
                    <a:cubicBezTo>
                      <a:pt x="50" y="120"/>
                      <a:pt x="49" y="121"/>
                      <a:pt x="47" y="121"/>
                    </a:cubicBezTo>
                    <a:cubicBezTo>
                      <a:pt x="46" y="122"/>
                      <a:pt x="45" y="120"/>
                      <a:pt x="44" y="120"/>
                    </a:cubicBezTo>
                    <a:cubicBezTo>
                      <a:pt x="44" y="119"/>
                      <a:pt x="43" y="119"/>
                      <a:pt x="43" y="116"/>
                    </a:cubicBezTo>
                    <a:cubicBezTo>
                      <a:pt x="43" y="113"/>
                      <a:pt x="43" y="111"/>
                      <a:pt x="44" y="109"/>
                    </a:cubicBezTo>
                    <a:cubicBezTo>
                      <a:pt x="44" y="107"/>
                      <a:pt x="42" y="104"/>
                      <a:pt x="41" y="104"/>
                    </a:cubicBezTo>
                    <a:cubicBezTo>
                      <a:pt x="40" y="105"/>
                      <a:pt x="39" y="106"/>
                      <a:pt x="38" y="106"/>
                    </a:cubicBezTo>
                    <a:cubicBezTo>
                      <a:pt x="37" y="106"/>
                      <a:pt x="37" y="105"/>
                      <a:pt x="35" y="105"/>
                    </a:cubicBezTo>
                    <a:cubicBezTo>
                      <a:pt x="34" y="105"/>
                      <a:pt x="35" y="105"/>
                      <a:pt x="35" y="103"/>
                    </a:cubicBezTo>
                    <a:cubicBezTo>
                      <a:pt x="36" y="101"/>
                      <a:pt x="35" y="99"/>
                      <a:pt x="36" y="97"/>
                    </a:cubicBezTo>
                    <a:cubicBezTo>
                      <a:pt x="38" y="96"/>
                      <a:pt x="37" y="92"/>
                      <a:pt x="36" y="92"/>
                    </a:cubicBezTo>
                    <a:cubicBezTo>
                      <a:pt x="35" y="92"/>
                      <a:pt x="34" y="92"/>
                      <a:pt x="32" y="92"/>
                    </a:cubicBezTo>
                    <a:cubicBezTo>
                      <a:pt x="31" y="92"/>
                      <a:pt x="30" y="94"/>
                      <a:pt x="31" y="95"/>
                    </a:cubicBezTo>
                    <a:cubicBezTo>
                      <a:pt x="31" y="97"/>
                      <a:pt x="30" y="98"/>
                      <a:pt x="29" y="98"/>
                    </a:cubicBezTo>
                    <a:cubicBezTo>
                      <a:pt x="29" y="98"/>
                      <a:pt x="28" y="97"/>
                      <a:pt x="27" y="99"/>
                    </a:cubicBezTo>
                    <a:cubicBezTo>
                      <a:pt x="25" y="100"/>
                      <a:pt x="25" y="100"/>
                      <a:pt x="23" y="98"/>
                    </a:cubicBezTo>
                    <a:cubicBezTo>
                      <a:pt x="22" y="96"/>
                      <a:pt x="20" y="94"/>
                      <a:pt x="20" y="92"/>
                    </a:cubicBezTo>
                    <a:cubicBezTo>
                      <a:pt x="20" y="89"/>
                      <a:pt x="20" y="86"/>
                      <a:pt x="20" y="85"/>
                    </a:cubicBezTo>
                    <a:cubicBezTo>
                      <a:pt x="21" y="83"/>
                      <a:pt x="21" y="81"/>
                      <a:pt x="20" y="80"/>
                    </a:cubicBezTo>
                    <a:cubicBezTo>
                      <a:pt x="19" y="80"/>
                      <a:pt x="21" y="78"/>
                      <a:pt x="22" y="77"/>
                    </a:cubicBezTo>
                    <a:cubicBezTo>
                      <a:pt x="23" y="77"/>
                      <a:pt x="25" y="75"/>
                      <a:pt x="25" y="74"/>
                    </a:cubicBezTo>
                    <a:cubicBezTo>
                      <a:pt x="25" y="74"/>
                      <a:pt x="26" y="74"/>
                      <a:pt x="28" y="74"/>
                    </a:cubicBezTo>
                    <a:cubicBezTo>
                      <a:pt x="30" y="74"/>
                      <a:pt x="30" y="74"/>
                      <a:pt x="31" y="75"/>
                    </a:cubicBezTo>
                    <a:cubicBezTo>
                      <a:pt x="33" y="76"/>
                      <a:pt x="33" y="74"/>
                      <a:pt x="33" y="74"/>
                    </a:cubicBezTo>
                    <a:cubicBezTo>
                      <a:pt x="33" y="73"/>
                      <a:pt x="34" y="72"/>
                      <a:pt x="36" y="73"/>
                    </a:cubicBezTo>
                    <a:cubicBezTo>
                      <a:pt x="37" y="73"/>
                      <a:pt x="40" y="71"/>
                      <a:pt x="40" y="71"/>
                    </a:cubicBezTo>
                    <a:cubicBezTo>
                      <a:pt x="40" y="72"/>
                      <a:pt x="41" y="74"/>
                      <a:pt x="42" y="74"/>
                    </a:cubicBezTo>
                    <a:cubicBezTo>
                      <a:pt x="43" y="73"/>
                      <a:pt x="43" y="71"/>
                      <a:pt x="44" y="74"/>
                    </a:cubicBezTo>
                    <a:cubicBezTo>
                      <a:pt x="44" y="76"/>
                      <a:pt x="45" y="80"/>
                      <a:pt x="46" y="80"/>
                    </a:cubicBezTo>
                    <a:cubicBezTo>
                      <a:pt x="47" y="81"/>
                      <a:pt x="46" y="83"/>
                      <a:pt x="48" y="83"/>
                    </a:cubicBezTo>
                    <a:cubicBezTo>
                      <a:pt x="49" y="83"/>
                      <a:pt x="50" y="79"/>
                      <a:pt x="49" y="78"/>
                    </a:cubicBezTo>
                    <a:cubicBezTo>
                      <a:pt x="49" y="77"/>
                      <a:pt x="48" y="73"/>
                      <a:pt x="47" y="72"/>
                    </a:cubicBezTo>
                    <a:cubicBezTo>
                      <a:pt x="47" y="71"/>
                      <a:pt x="48" y="68"/>
                      <a:pt x="50" y="67"/>
                    </a:cubicBezTo>
                    <a:cubicBezTo>
                      <a:pt x="51" y="66"/>
                      <a:pt x="54" y="62"/>
                      <a:pt x="55" y="61"/>
                    </a:cubicBezTo>
                    <a:cubicBezTo>
                      <a:pt x="56" y="60"/>
                      <a:pt x="60" y="59"/>
                      <a:pt x="59" y="58"/>
                    </a:cubicBezTo>
                    <a:cubicBezTo>
                      <a:pt x="58" y="56"/>
                      <a:pt x="57" y="55"/>
                      <a:pt x="57" y="53"/>
                    </a:cubicBezTo>
                    <a:cubicBezTo>
                      <a:pt x="57" y="52"/>
                      <a:pt x="58" y="53"/>
                      <a:pt x="58" y="53"/>
                    </a:cubicBezTo>
                    <a:cubicBezTo>
                      <a:pt x="59" y="54"/>
                      <a:pt x="61" y="52"/>
                      <a:pt x="60" y="51"/>
                    </a:cubicBezTo>
                    <a:cubicBezTo>
                      <a:pt x="60" y="50"/>
                      <a:pt x="60" y="49"/>
                      <a:pt x="61" y="49"/>
                    </a:cubicBezTo>
                    <a:cubicBezTo>
                      <a:pt x="62" y="49"/>
                      <a:pt x="63" y="48"/>
                      <a:pt x="62" y="47"/>
                    </a:cubicBezTo>
                    <a:cubicBezTo>
                      <a:pt x="62" y="46"/>
                      <a:pt x="64" y="45"/>
                      <a:pt x="65" y="46"/>
                    </a:cubicBezTo>
                    <a:cubicBezTo>
                      <a:pt x="66" y="46"/>
                      <a:pt x="69" y="46"/>
                      <a:pt x="70" y="45"/>
                    </a:cubicBezTo>
                    <a:cubicBezTo>
                      <a:pt x="70" y="45"/>
                      <a:pt x="68" y="43"/>
                      <a:pt x="68" y="42"/>
                    </a:cubicBezTo>
                    <a:cubicBezTo>
                      <a:pt x="68" y="40"/>
                      <a:pt x="70" y="39"/>
                      <a:pt x="72" y="38"/>
                    </a:cubicBezTo>
                    <a:cubicBezTo>
                      <a:pt x="73" y="38"/>
                      <a:pt x="74" y="38"/>
                      <a:pt x="74" y="38"/>
                    </a:cubicBezTo>
                    <a:cubicBezTo>
                      <a:pt x="75" y="37"/>
                      <a:pt x="76" y="35"/>
                      <a:pt x="76" y="37"/>
                    </a:cubicBezTo>
                    <a:cubicBezTo>
                      <a:pt x="76" y="38"/>
                      <a:pt x="76" y="40"/>
                      <a:pt x="77" y="40"/>
                    </a:cubicBezTo>
                    <a:cubicBezTo>
                      <a:pt x="79" y="40"/>
                      <a:pt x="80" y="38"/>
                      <a:pt x="81" y="38"/>
                    </a:cubicBezTo>
                    <a:cubicBezTo>
                      <a:pt x="81" y="38"/>
                      <a:pt x="85" y="37"/>
                      <a:pt x="85" y="37"/>
                    </a:cubicBezTo>
                    <a:cubicBezTo>
                      <a:pt x="86" y="37"/>
                      <a:pt x="90" y="36"/>
                      <a:pt x="90" y="35"/>
                    </a:cubicBezTo>
                    <a:cubicBezTo>
                      <a:pt x="89" y="34"/>
                      <a:pt x="89" y="32"/>
                      <a:pt x="88" y="32"/>
                    </a:cubicBezTo>
                    <a:cubicBezTo>
                      <a:pt x="88" y="31"/>
                      <a:pt x="87" y="32"/>
                      <a:pt x="86" y="33"/>
                    </a:cubicBezTo>
                    <a:cubicBezTo>
                      <a:pt x="86" y="34"/>
                      <a:pt x="85" y="34"/>
                      <a:pt x="84" y="33"/>
                    </a:cubicBezTo>
                    <a:cubicBezTo>
                      <a:pt x="84" y="32"/>
                      <a:pt x="85" y="30"/>
                      <a:pt x="83" y="31"/>
                    </a:cubicBezTo>
                    <a:cubicBezTo>
                      <a:pt x="82" y="32"/>
                      <a:pt x="82" y="32"/>
                      <a:pt x="81" y="32"/>
                    </a:cubicBezTo>
                    <a:cubicBezTo>
                      <a:pt x="81" y="32"/>
                      <a:pt x="80" y="30"/>
                      <a:pt x="80" y="30"/>
                    </a:cubicBezTo>
                    <a:cubicBezTo>
                      <a:pt x="80" y="30"/>
                      <a:pt x="82" y="29"/>
                      <a:pt x="81" y="28"/>
                    </a:cubicBezTo>
                    <a:cubicBezTo>
                      <a:pt x="80" y="26"/>
                      <a:pt x="78" y="27"/>
                      <a:pt x="77" y="28"/>
                    </a:cubicBezTo>
                    <a:cubicBezTo>
                      <a:pt x="75" y="29"/>
                      <a:pt x="75" y="29"/>
                      <a:pt x="73" y="29"/>
                    </a:cubicBezTo>
                    <a:cubicBezTo>
                      <a:pt x="71" y="30"/>
                      <a:pt x="70" y="30"/>
                      <a:pt x="70" y="30"/>
                    </a:cubicBezTo>
                    <a:cubicBezTo>
                      <a:pt x="70" y="30"/>
                      <a:pt x="71" y="28"/>
                      <a:pt x="72" y="26"/>
                    </a:cubicBezTo>
                    <a:cubicBezTo>
                      <a:pt x="73" y="25"/>
                      <a:pt x="77" y="25"/>
                      <a:pt x="78" y="24"/>
                    </a:cubicBezTo>
                    <a:cubicBezTo>
                      <a:pt x="79" y="23"/>
                      <a:pt x="81" y="25"/>
                      <a:pt x="81" y="25"/>
                    </a:cubicBezTo>
                    <a:cubicBezTo>
                      <a:pt x="81" y="25"/>
                      <a:pt x="83" y="23"/>
                      <a:pt x="83" y="24"/>
                    </a:cubicBezTo>
                    <a:cubicBezTo>
                      <a:pt x="83" y="25"/>
                      <a:pt x="82" y="27"/>
                      <a:pt x="83" y="27"/>
                    </a:cubicBezTo>
                    <a:cubicBezTo>
                      <a:pt x="84" y="27"/>
                      <a:pt x="87" y="26"/>
                      <a:pt x="86" y="25"/>
                    </a:cubicBezTo>
                    <a:cubicBezTo>
                      <a:pt x="85" y="25"/>
                      <a:pt x="87" y="24"/>
                      <a:pt x="88" y="23"/>
                    </a:cubicBezTo>
                    <a:cubicBezTo>
                      <a:pt x="89" y="22"/>
                      <a:pt x="91" y="23"/>
                      <a:pt x="92" y="23"/>
                    </a:cubicBezTo>
                    <a:cubicBezTo>
                      <a:pt x="92" y="23"/>
                      <a:pt x="93" y="21"/>
                      <a:pt x="94" y="21"/>
                    </a:cubicBezTo>
                    <a:cubicBezTo>
                      <a:pt x="95" y="21"/>
                      <a:pt x="96" y="22"/>
                      <a:pt x="94" y="24"/>
                    </a:cubicBezTo>
                    <a:cubicBezTo>
                      <a:pt x="92" y="25"/>
                      <a:pt x="92" y="28"/>
                      <a:pt x="91" y="28"/>
                    </a:cubicBezTo>
                    <a:cubicBezTo>
                      <a:pt x="90" y="29"/>
                      <a:pt x="91" y="30"/>
                      <a:pt x="92" y="30"/>
                    </a:cubicBezTo>
                    <a:cubicBezTo>
                      <a:pt x="93" y="30"/>
                      <a:pt x="95" y="30"/>
                      <a:pt x="96" y="30"/>
                    </a:cubicBezTo>
                    <a:cubicBezTo>
                      <a:pt x="97" y="29"/>
                      <a:pt x="98" y="30"/>
                      <a:pt x="98" y="30"/>
                    </a:cubicBezTo>
                    <a:cubicBezTo>
                      <a:pt x="98" y="31"/>
                      <a:pt x="99" y="30"/>
                      <a:pt x="99" y="30"/>
                    </a:cubicBezTo>
                    <a:cubicBezTo>
                      <a:pt x="99" y="30"/>
                      <a:pt x="102" y="29"/>
                      <a:pt x="102" y="30"/>
                    </a:cubicBezTo>
                    <a:cubicBezTo>
                      <a:pt x="103" y="31"/>
                      <a:pt x="103" y="29"/>
                      <a:pt x="103" y="29"/>
                    </a:cubicBezTo>
                    <a:cubicBezTo>
                      <a:pt x="102" y="28"/>
                      <a:pt x="102" y="27"/>
                      <a:pt x="101" y="26"/>
                    </a:cubicBezTo>
                    <a:cubicBezTo>
                      <a:pt x="101" y="24"/>
                      <a:pt x="100" y="24"/>
                      <a:pt x="99" y="25"/>
                    </a:cubicBezTo>
                    <a:cubicBezTo>
                      <a:pt x="98" y="25"/>
                      <a:pt x="97" y="24"/>
                      <a:pt x="96" y="24"/>
                    </a:cubicBezTo>
                    <a:cubicBezTo>
                      <a:pt x="96" y="23"/>
                      <a:pt x="95" y="24"/>
                      <a:pt x="96" y="23"/>
                    </a:cubicBezTo>
                    <a:cubicBezTo>
                      <a:pt x="96" y="22"/>
                      <a:pt x="97" y="21"/>
                      <a:pt x="97" y="20"/>
                    </a:cubicBezTo>
                    <a:cubicBezTo>
                      <a:pt x="98" y="19"/>
                      <a:pt x="100" y="17"/>
                      <a:pt x="98" y="17"/>
                    </a:cubicBezTo>
                    <a:cubicBezTo>
                      <a:pt x="96" y="16"/>
                      <a:pt x="95" y="16"/>
                      <a:pt x="95" y="15"/>
                    </a:cubicBezTo>
                    <a:cubicBezTo>
                      <a:pt x="95" y="14"/>
                      <a:pt x="92" y="12"/>
                      <a:pt x="92" y="12"/>
                    </a:cubicBezTo>
                    <a:cubicBezTo>
                      <a:pt x="91" y="12"/>
                      <a:pt x="88" y="13"/>
                      <a:pt x="88" y="12"/>
                    </a:cubicBezTo>
                    <a:cubicBezTo>
                      <a:pt x="88" y="11"/>
                      <a:pt x="87" y="8"/>
                      <a:pt x="86" y="8"/>
                    </a:cubicBezTo>
                    <a:cubicBezTo>
                      <a:pt x="86" y="7"/>
                      <a:pt x="83" y="3"/>
                      <a:pt x="82" y="3"/>
                    </a:cubicBezTo>
                    <a:cubicBezTo>
                      <a:pt x="82" y="3"/>
                      <a:pt x="81" y="3"/>
                      <a:pt x="80" y="5"/>
                    </a:cubicBezTo>
                    <a:cubicBezTo>
                      <a:pt x="78" y="7"/>
                      <a:pt x="77" y="7"/>
                      <a:pt x="76" y="7"/>
                    </a:cubicBezTo>
                    <a:cubicBezTo>
                      <a:pt x="75" y="7"/>
                      <a:pt x="73" y="7"/>
                      <a:pt x="73" y="6"/>
                    </a:cubicBezTo>
                    <a:cubicBezTo>
                      <a:pt x="72" y="5"/>
                      <a:pt x="75" y="4"/>
                      <a:pt x="74" y="3"/>
                    </a:cubicBezTo>
                    <a:cubicBezTo>
                      <a:pt x="74" y="2"/>
                      <a:pt x="72" y="2"/>
                      <a:pt x="70" y="2"/>
                    </a:cubicBezTo>
                    <a:cubicBezTo>
                      <a:pt x="69" y="2"/>
                      <a:pt x="68" y="0"/>
                      <a:pt x="65" y="0"/>
                    </a:cubicBezTo>
                    <a:cubicBezTo>
                      <a:pt x="63" y="0"/>
                      <a:pt x="60" y="1"/>
                      <a:pt x="60" y="1"/>
                    </a:cubicBezTo>
                    <a:cubicBezTo>
                      <a:pt x="59" y="1"/>
                      <a:pt x="59" y="2"/>
                      <a:pt x="58" y="4"/>
                    </a:cubicBezTo>
                    <a:cubicBezTo>
                      <a:pt x="58" y="6"/>
                      <a:pt x="59" y="6"/>
                      <a:pt x="58" y="7"/>
                    </a:cubicBezTo>
                    <a:cubicBezTo>
                      <a:pt x="56" y="7"/>
                      <a:pt x="56" y="7"/>
                      <a:pt x="57" y="8"/>
                    </a:cubicBezTo>
                    <a:cubicBezTo>
                      <a:pt x="58" y="9"/>
                      <a:pt x="60" y="11"/>
                      <a:pt x="60" y="11"/>
                    </a:cubicBezTo>
                    <a:cubicBezTo>
                      <a:pt x="60" y="11"/>
                      <a:pt x="59" y="13"/>
                      <a:pt x="58" y="14"/>
                    </a:cubicBezTo>
                    <a:cubicBezTo>
                      <a:pt x="57" y="15"/>
                      <a:pt x="56" y="16"/>
                      <a:pt x="56" y="15"/>
                    </a:cubicBezTo>
                    <a:cubicBezTo>
                      <a:pt x="55" y="14"/>
                      <a:pt x="53" y="14"/>
                      <a:pt x="54" y="15"/>
                    </a:cubicBezTo>
                    <a:cubicBezTo>
                      <a:pt x="54" y="16"/>
                      <a:pt x="55" y="16"/>
                      <a:pt x="55" y="17"/>
                    </a:cubicBezTo>
                    <a:cubicBezTo>
                      <a:pt x="55" y="19"/>
                      <a:pt x="56" y="21"/>
                      <a:pt x="55" y="22"/>
                    </a:cubicBezTo>
                    <a:cubicBezTo>
                      <a:pt x="54" y="23"/>
                      <a:pt x="53" y="22"/>
                      <a:pt x="52" y="23"/>
                    </a:cubicBezTo>
                    <a:cubicBezTo>
                      <a:pt x="51" y="23"/>
                      <a:pt x="51" y="21"/>
                      <a:pt x="51" y="21"/>
                    </a:cubicBezTo>
                    <a:cubicBezTo>
                      <a:pt x="52" y="21"/>
                      <a:pt x="51" y="18"/>
                      <a:pt x="51" y="18"/>
                    </a:cubicBezTo>
                    <a:cubicBezTo>
                      <a:pt x="51" y="18"/>
                      <a:pt x="49" y="21"/>
                      <a:pt x="50" y="19"/>
                    </a:cubicBezTo>
                    <a:cubicBezTo>
                      <a:pt x="50" y="18"/>
                      <a:pt x="49" y="18"/>
                      <a:pt x="49" y="17"/>
                    </a:cubicBezTo>
                    <a:cubicBezTo>
                      <a:pt x="49" y="15"/>
                      <a:pt x="48" y="14"/>
                      <a:pt x="47" y="14"/>
                    </a:cubicBezTo>
                    <a:cubicBezTo>
                      <a:pt x="46" y="15"/>
                      <a:pt x="44" y="15"/>
                      <a:pt x="42" y="15"/>
                    </a:cubicBezTo>
                    <a:cubicBezTo>
                      <a:pt x="39" y="14"/>
                      <a:pt x="39" y="14"/>
                      <a:pt x="37" y="13"/>
                    </a:cubicBezTo>
                    <a:cubicBezTo>
                      <a:pt x="35" y="12"/>
                      <a:pt x="34" y="13"/>
                      <a:pt x="33" y="13"/>
                    </a:cubicBezTo>
                    <a:cubicBezTo>
                      <a:pt x="32" y="14"/>
                      <a:pt x="32" y="12"/>
                      <a:pt x="32" y="12"/>
                    </a:cubicBezTo>
                    <a:cubicBezTo>
                      <a:pt x="17" y="30"/>
                      <a:pt x="6" y="53"/>
                      <a:pt x="0" y="77"/>
                    </a:cubicBezTo>
                    <a:cubicBezTo>
                      <a:pt x="1" y="78"/>
                      <a:pt x="2" y="80"/>
                      <a:pt x="2" y="80"/>
                    </a:cubicBezTo>
                    <a:cubicBezTo>
                      <a:pt x="3" y="82"/>
                      <a:pt x="5" y="87"/>
                      <a:pt x="6" y="87"/>
                    </a:cubicBezTo>
                    <a:cubicBezTo>
                      <a:pt x="6" y="87"/>
                      <a:pt x="8" y="90"/>
                      <a:pt x="8" y="90"/>
                    </a:cubicBezTo>
                    <a:cubicBezTo>
                      <a:pt x="8" y="90"/>
                      <a:pt x="9" y="92"/>
                      <a:pt x="8" y="93"/>
                    </a:cubicBezTo>
                    <a:cubicBezTo>
                      <a:pt x="8" y="94"/>
                      <a:pt x="9" y="96"/>
                      <a:pt x="10" y="97"/>
                    </a:cubicBezTo>
                    <a:cubicBezTo>
                      <a:pt x="10" y="98"/>
                      <a:pt x="14" y="98"/>
                      <a:pt x="14" y="101"/>
                    </a:cubicBezTo>
                    <a:cubicBezTo>
                      <a:pt x="14" y="101"/>
                      <a:pt x="15" y="105"/>
                      <a:pt x="16" y="105"/>
                    </a:cubicBezTo>
                    <a:cubicBezTo>
                      <a:pt x="18" y="105"/>
                      <a:pt x="20" y="104"/>
                      <a:pt x="20" y="105"/>
                    </a:cubicBezTo>
                    <a:cubicBezTo>
                      <a:pt x="20" y="105"/>
                      <a:pt x="22" y="108"/>
                      <a:pt x="22" y="106"/>
                    </a:cubicBezTo>
                    <a:cubicBezTo>
                      <a:pt x="23" y="105"/>
                      <a:pt x="23" y="104"/>
                      <a:pt x="24" y="104"/>
                    </a:cubicBezTo>
                    <a:cubicBezTo>
                      <a:pt x="26" y="104"/>
                      <a:pt x="26" y="106"/>
                      <a:pt x="27" y="107"/>
                    </a:cubicBezTo>
                    <a:cubicBezTo>
                      <a:pt x="28" y="108"/>
                      <a:pt x="30" y="110"/>
                      <a:pt x="31" y="110"/>
                    </a:cubicBezTo>
                    <a:cubicBezTo>
                      <a:pt x="31" y="110"/>
                      <a:pt x="33" y="112"/>
                      <a:pt x="33" y="111"/>
                    </a:cubicBezTo>
                    <a:cubicBezTo>
                      <a:pt x="34" y="111"/>
                      <a:pt x="35" y="112"/>
                      <a:pt x="36" y="112"/>
                    </a:cubicBezTo>
                    <a:cubicBezTo>
                      <a:pt x="36" y="112"/>
                      <a:pt x="38" y="114"/>
                      <a:pt x="38" y="116"/>
                    </a:cubicBezTo>
                    <a:cubicBezTo>
                      <a:pt x="37" y="119"/>
                      <a:pt x="40" y="119"/>
                      <a:pt x="40" y="120"/>
                    </a:cubicBezTo>
                    <a:cubicBezTo>
                      <a:pt x="41" y="120"/>
                      <a:pt x="43" y="122"/>
                      <a:pt x="43" y="123"/>
                    </a:cubicBezTo>
                    <a:cubicBezTo>
                      <a:pt x="44" y="124"/>
                      <a:pt x="46" y="124"/>
                      <a:pt x="46" y="125"/>
                    </a:cubicBezTo>
                    <a:cubicBezTo>
                      <a:pt x="47" y="125"/>
                      <a:pt x="47" y="126"/>
                      <a:pt x="48" y="125"/>
                    </a:cubicBezTo>
                    <a:cubicBezTo>
                      <a:pt x="50" y="125"/>
                      <a:pt x="49" y="123"/>
                      <a:pt x="49" y="123"/>
                    </a:cubicBezTo>
                    <a:cubicBezTo>
                      <a:pt x="49" y="123"/>
                      <a:pt x="51" y="122"/>
                      <a:pt x="52" y="123"/>
                    </a:cubicBezTo>
                    <a:cubicBezTo>
                      <a:pt x="52" y="124"/>
                      <a:pt x="53" y="127"/>
                      <a:pt x="53" y="127"/>
                    </a:cubicBezTo>
                    <a:cubicBezTo>
                      <a:pt x="54" y="127"/>
                      <a:pt x="55" y="130"/>
                      <a:pt x="54" y="133"/>
                    </a:cubicBezTo>
                    <a:cubicBezTo>
                      <a:pt x="54" y="135"/>
                      <a:pt x="54" y="137"/>
                      <a:pt x="53" y="137"/>
                    </a:cubicBezTo>
                    <a:cubicBezTo>
                      <a:pt x="53" y="137"/>
                      <a:pt x="51" y="139"/>
                      <a:pt x="50" y="139"/>
                    </a:cubicBezTo>
                    <a:cubicBezTo>
                      <a:pt x="49" y="140"/>
                      <a:pt x="48" y="143"/>
                      <a:pt x="48" y="144"/>
                    </a:cubicBezTo>
                    <a:cubicBezTo>
                      <a:pt x="48" y="145"/>
                      <a:pt x="49" y="148"/>
                      <a:pt x="49" y="150"/>
                    </a:cubicBezTo>
                    <a:cubicBezTo>
                      <a:pt x="49" y="151"/>
                      <a:pt x="48" y="152"/>
                      <a:pt x="48" y="154"/>
                    </a:cubicBezTo>
                    <a:cubicBezTo>
                      <a:pt x="49" y="157"/>
                      <a:pt x="52" y="157"/>
                      <a:pt x="52" y="159"/>
                    </a:cubicBezTo>
                    <a:cubicBezTo>
                      <a:pt x="52" y="161"/>
                      <a:pt x="55" y="166"/>
                      <a:pt x="55" y="167"/>
                    </a:cubicBezTo>
                    <a:cubicBezTo>
                      <a:pt x="56" y="169"/>
                      <a:pt x="58" y="172"/>
                      <a:pt x="58" y="174"/>
                    </a:cubicBezTo>
                    <a:cubicBezTo>
                      <a:pt x="58" y="177"/>
                      <a:pt x="63" y="179"/>
                      <a:pt x="64" y="179"/>
                    </a:cubicBezTo>
                    <a:cubicBezTo>
                      <a:pt x="64" y="179"/>
                      <a:pt x="66" y="181"/>
                      <a:pt x="67" y="181"/>
                    </a:cubicBezTo>
                    <a:cubicBezTo>
                      <a:pt x="68" y="182"/>
                      <a:pt x="69" y="183"/>
                      <a:pt x="70" y="185"/>
                    </a:cubicBezTo>
                    <a:cubicBezTo>
                      <a:pt x="71" y="186"/>
                      <a:pt x="71" y="188"/>
                      <a:pt x="71" y="189"/>
                    </a:cubicBezTo>
                    <a:cubicBezTo>
                      <a:pt x="71" y="189"/>
                      <a:pt x="71" y="195"/>
                      <a:pt x="71" y="198"/>
                    </a:cubicBezTo>
                    <a:cubicBezTo>
                      <a:pt x="71" y="201"/>
                      <a:pt x="73" y="204"/>
                      <a:pt x="72" y="205"/>
                    </a:cubicBezTo>
                    <a:cubicBezTo>
                      <a:pt x="71" y="205"/>
                      <a:pt x="69" y="206"/>
                      <a:pt x="70" y="207"/>
                    </a:cubicBezTo>
                    <a:cubicBezTo>
                      <a:pt x="71" y="208"/>
                      <a:pt x="70" y="208"/>
                      <a:pt x="70" y="209"/>
                    </a:cubicBezTo>
                    <a:cubicBezTo>
                      <a:pt x="70" y="209"/>
                      <a:pt x="71" y="212"/>
                      <a:pt x="71" y="213"/>
                    </a:cubicBezTo>
                    <a:cubicBezTo>
                      <a:pt x="70" y="214"/>
                      <a:pt x="70" y="216"/>
                      <a:pt x="70" y="217"/>
                    </a:cubicBezTo>
                    <a:cubicBezTo>
                      <a:pt x="69" y="217"/>
                      <a:pt x="68" y="218"/>
                      <a:pt x="69" y="220"/>
                    </a:cubicBezTo>
                    <a:cubicBezTo>
                      <a:pt x="69" y="221"/>
                      <a:pt x="68" y="221"/>
                      <a:pt x="68" y="222"/>
                    </a:cubicBezTo>
                    <a:cubicBezTo>
                      <a:pt x="68" y="223"/>
                      <a:pt x="70" y="223"/>
                      <a:pt x="70" y="224"/>
                    </a:cubicBezTo>
                    <a:cubicBezTo>
                      <a:pt x="69" y="226"/>
                      <a:pt x="69" y="226"/>
                      <a:pt x="69" y="227"/>
                    </a:cubicBezTo>
                    <a:cubicBezTo>
                      <a:pt x="69" y="229"/>
                      <a:pt x="70" y="230"/>
                      <a:pt x="70" y="231"/>
                    </a:cubicBezTo>
                    <a:cubicBezTo>
                      <a:pt x="70" y="231"/>
                      <a:pt x="70" y="232"/>
                      <a:pt x="69" y="233"/>
                    </a:cubicBezTo>
                    <a:cubicBezTo>
                      <a:pt x="68" y="234"/>
                      <a:pt x="68" y="235"/>
                      <a:pt x="68" y="236"/>
                    </a:cubicBezTo>
                    <a:cubicBezTo>
                      <a:pt x="68" y="236"/>
                      <a:pt x="69" y="237"/>
                      <a:pt x="69" y="238"/>
                    </a:cubicBezTo>
                    <a:cubicBezTo>
                      <a:pt x="69" y="238"/>
                      <a:pt x="68" y="239"/>
                      <a:pt x="69" y="240"/>
                    </a:cubicBezTo>
                    <a:cubicBezTo>
                      <a:pt x="69" y="241"/>
                      <a:pt x="70" y="241"/>
                      <a:pt x="71" y="241"/>
                    </a:cubicBezTo>
                    <a:cubicBezTo>
                      <a:pt x="71" y="242"/>
                      <a:pt x="69" y="242"/>
                      <a:pt x="70" y="243"/>
                    </a:cubicBezTo>
                    <a:cubicBezTo>
                      <a:pt x="71" y="244"/>
                      <a:pt x="72" y="243"/>
                      <a:pt x="72" y="245"/>
                    </a:cubicBezTo>
                    <a:cubicBezTo>
                      <a:pt x="72" y="245"/>
                      <a:pt x="73" y="246"/>
                      <a:pt x="73" y="246"/>
                    </a:cubicBezTo>
                    <a:cubicBezTo>
                      <a:pt x="73" y="246"/>
                      <a:pt x="74" y="246"/>
                      <a:pt x="74" y="246"/>
                    </a:cubicBezTo>
                    <a:cubicBezTo>
                      <a:pt x="74" y="247"/>
                      <a:pt x="75" y="247"/>
                      <a:pt x="75" y="247"/>
                    </a:cubicBezTo>
                    <a:cubicBezTo>
                      <a:pt x="75" y="247"/>
                      <a:pt x="77" y="248"/>
                      <a:pt x="77" y="248"/>
                    </a:cubicBezTo>
                    <a:close/>
                    <a:moveTo>
                      <a:pt x="55" y="38"/>
                    </a:moveTo>
                    <a:cubicBezTo>
                      <a:pt x="55" y="38"/>
                      <a:pt x="58" y="37"/>
                      <a:pt x="59" y="38"/>
                    </a:cubicBezTo>
                    <a:cubicBezTo>
                      <a:pt x="60" y="39"/>
                      <a:pt x="58" y="39"/>
                      <a:pt x="57" y="40"/>
                    </a:cubicBezTo>
                    <a:cubicBezTo>
                      <a:pt x="55" y="41"/>
                      <a:pt x="55" y="41"/>
                      <a:pt x="54" y="42"/>
                    </a:cubicBezTo>
                    <a:cubicBezTo>
                      <a:pt x="53" y="43"/>
                      <a:pt x="51" y="43"/>
                      <a:pt x="50" y="44"/>
                    </a:cubicBezTo>
                    <a:cubicBezTo>
                      <a:pt x="49" y="45"/>
                      <a:pt x="48" y="46"/>
                      <a:pt x="47" y="45"/>
                    </a:cubicBezTo>
                    <a:cubicBezTo>
                      <a:pt x="47" y="44"/>
                      <a:pt x="48" y="45"/>
                      <a:pt x="48" y="44"/>
                    </a:cubicBezTo>
                    <a:cubicBezTo>
                      <a:pt x="48" y="44"/>
                      <a:pt x="51" y="42"/>
                      <a:pt x="51" y="42"/>
                    </a:cubicBezTo>
                    <a:cubicBezTo>
                      <a:pt x="51" y="42"/>
                      <a:pt x="54" y="37"/>
                      <a:pt x="55" y="38"/>
                    </a:cubicBezTo>
                    <a:close/>
                    <a:moveTo>
                      <a:pt x="50" y="34"/>
                    </a:moveTo>
                    <a:cubicBezTo>
                      <a:pt x="51" y="34"/>
                      <a:pt x="53" y="37"/>
                      <a:pt x="52" y="37"/>
                    </a:cubicBezTo>
                    <a:cubicBezTo>
                      <a:pt x="51" y="38"/>
                      <a:pt x="50" y="37"/>
                      <a:pt x="50" y="35"/>
                    </a:cubicBezTo>
                    <a:cubicBezTo>
                      <a:pt x="50" y="34"/>
                      <a:pt x="49" y="38"/>
                      <a:pt x="49" y="39"/>
                    </a:cubicBezTo>
                    <a:cubicBezTo>
                      <a:pt x="50" y="40"/>
                      <a:pt x="48" y="42"/>
                      <a:pt x="48" y="42"/>
                    </a:cubicBezTo>
                    <a:cubicBezTo>
                      <a:pt x="47" y="42"/>
                      <a:pt x="47" y="40"/>
                      <a:pt x="47" y="38"/>
                    </a:cubicBezTo>
                    <a:cubicBezTo>
                      <a:pt x="47" y="37"/>
                      <a:pt x="46" y="35"/>
                      <a:pt x="45" y="35"/>
                    </a:cubicBezTo>
                    <a:cubicBezTo>
                      <a:pt x="43" y="36"/>
                      <a:pt x="42" y="38"/>
                      <a:pt x="41" y="38"/>
                    </a:cubicBezTo>
                    <a:cubicBezTo>
                      <a:pt x="41" y="39"/>
                      <a:pt x="41" y="42"/>
                      <a:pt x="41" y="43"/>
                    </a:cubicBezTo>
                    <a:cubicBezTo>
                      <a:pt x="41" y="43"/>
                      <a:pt x="41" y="46"/>
                      <a:pt x="39" y="46"/>
                    </a:cubicBezTo>
                    <a:cubicBezTo>
                      <a:pt x="38" y="46"/>
                      <a:pt x="38" y="43"/>
                      <a:pt x="39" y="42"/>
                    </a:cubicBezTo>
                    <a:cubicBezTo>
                      <a:pt x="39" y="40"/>
                      <a:pt x="38" y="38"/>
                      <a:pt x="39" y="36"/>
                    </a:cubicBezTo>
                    <a:cubicBezTo>
                      <a:pt x="40" y="35"/>
                      <a:pt x="42" y="34"/>
                      <a:pt x="43" y="34"/>
                    </a:cubicBezTo>
                    <a:cubicBezTo>
                      <a:pt x="44" y="33"/>
                      <a:pt x="46" y="34"/>
                      <a:pt x="47" y="34"/>
                    </a:cubicBezTo>
                    <a:cubicBezTo>
                      <a:pt x="47" y="34"/>
                      <a:pt x="49" y="34"/>
                      <a:pt x="50" y="34"/>
                    </a:cubicBezTo>
                    <a:close/>
                    <a:moveTo>
                      <a:pt x="36" y="30"/>
                    </a:moveTo>
                    <a:cubicBezTo>
                      <a:pt x="38" y="29"/>
                      <a:pt x="40" y="26"/>
                      <a:pt x="41" y="27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45" y="30"/>
                      <a:pt x="44" y="32"/>
                      <a:pt x="43" y="32"/>
                    </a:cubicBezTo>
                    <a:cubicBezTo>
                      <a:pt x="43" y="32"/>
                      <a:pt x="41" y="32"/>
                      <a:pt x="40" y="32"/>
                    </a:cubicBezTo>
                    <a:cubicBezTo>
                      <a:pt x="39" y="32"/>
                      <a:pt x="39" y="31"/>
                      <a:pt x="38" y="31"/>
                    </a:cubicBezTo>
                    <a:cubicBezTo>
                      <a:pt x="38" y="31"/>
                      <a:pt x="36" y="32"/>
                      <a:pt x="36" y="33"/>
                    </a:cubicBezTo>
                    <a:cubicBezTo>
                      <a:pt x="35" y="33"/>
                      <a:pt x="33" y="33"/>
                      <a:pt x="33" y="32"/>
                    </a:cubicBezTo>
                    <a:cubicBezTo>
                      <a:pt x="33" y="31"/>
                      <a:pt x="34" y="31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ísľidê">
                <a:extLst>
                  <a:ext uri="{FF2B5EF4-FFF2-40B4-BE49-F238E27FC236}">
                    <a16:creationId xmlns:a16="http://schemas.microsoft.com/office/drawing/2014/main" id="{3EEF7512-086C-4BDD-9D44-122BB4340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7990" y="4030001"/>
                <a:ext cx="101420" cy="38169"/>
              </a:xfrm>
              <a:custGeom>
                <a:avLst/>
                <a:gdLst>
                  <a:gd name="T0" fmla="*/ 2 w 13"/>
                  <a:gd name="T1" fmla="*/ 4 h 5"/>
                  <a:gd name="T2" fmla="*/ 2 w 13"/>
                  <a:gd name="T3" fmla="*/ 5 h 5"/>
                  <a:gd name="T4" fmla="*/ 5 w 13"/>
                  <a:gd name="T5" fmla="*/ 4 h 5"/>
                  <a:gd name="T6" fmla="*/ 8 w 13"/>
                  <a:gd name="T7" fmla="*/ 3 h 5"/>
                  <a:gd name="T8" fmla="*/ 10 w 13"/>
                  <a:gd name="T9" fmla="*/ 5 h 5"/>
                  <a:gd name="T10" fmla="*/ 11 w 13"/>
                  <a:gd name="T11" fmla="*/ 3 h 5"/>
                  <a:gd name="T12" fmla="*/ 7 w 13"/>
                  <a:gd name="T13" fmla="*/ 1 h 5"/>
                  <a:gd name="T14" fmla="*/ 5 w 13"/>
                  <a:gd name="T15" fmla="*/ 0 h 5"/>
                  <a:gd name="T16" fmla="*/ 4 w 13"/>
                  <a:gd name="T17" fmla="*/ 1 h 5"/>
                  <a:gd name="T18" fmla="*/ 2 w 13"/>
                  <a:gd name="T19" fmla="*/ 3 h 5"/>
                  <a:gd name="T20" fmla="*/ 2 w 13"/>
                  <a:gd name="T21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5">
                    <a:moveTo>
                      <a:pt x="2" y="4"/>
                    </a:moveTo>
                    <a:cubicBezTo>
                      <a:pt x="0" y="5"/>
                      <a:pt x="1" y="5"/>
                      <a:pt x="2" y="5"/>
                    </a:cubicBezTo>
                    <a:cubicBezTo>
                      <a:pt x="3" y="5"/>
                      <a:pt x="5" y="4"/>
                      <a:pt x="5" y="4"/>
                    </a:cubicBezTo>
                    <a:cubicBezTo>
                      <a:pt x="5" y="4"/>
                      <a:pt x="8" y="2"/>
                      <a:pt x="8" y="3"/>
                    </a:cubicBezTo>
                    <a:cubicBezTo>
                      <a:pt x="9" y="4"/>
                      <a:pt x="8" y="5"/>
                      <a:pt x="10" y="5"/>
                    </a:cubicBezTo>
                    <a:cubicBezTo>
                      <a:pt x="11" y="5"/>
                      <a:pt x="13" y="4"/>
                      <a:pt x="11" y="3"/>
                    </a:cubicBezTo>
                    <a:cubicBezTo>
                      <a:pt x="9" y="2"/>
                      <a:pt x="8" y="2"/>
                      <a:pt x="7" y="1"/>
                    </a:cubicBezTo>
                    <a:cubicBezTo>
                      <a:pt x="6" y="0"/>
                      <a:pt x="6" y="0"/>
                      <a:pt x="5" y="0"/>
                    </a:cubicBezTo>
                    <a:cubicBezTo>
                      <a:pt x="5" y="1"/>
                      <a:pt x="5" y="1"/>
                      <a:pt x="4" y="1"/>
                    </a:cubicBezTo>
                    <a:cubicBezTo>
                      <a:pt x="4" y="1"/>
                      <a:pt x="3" y="2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îŝļídê">
                <a:extLst>
                  <a:ext uri="{FF2B5EF4-FFF2-40B4-BE49-F238E27FC236}">
                    <a16:creationId xmlns:a16="http://schemas.microsoft.com/office/drawing/2014/main" id="{CF4B7C4D-B3D6-493C-901D-F887A0D37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7250" y="4068170"/>
                <a:ext cx="22901" cy="16358"/>
              </a:xfrm>
              <a:custGeom>
                <a:avLst/>
                <a:gdLst>
                  <a:gd name="T0" fmla="*/ 0 w 3"/>
                  <a:gd name="T1" fmla="*/ 1 h 2"/>
                  <a:gd name="T2" fmla="*/ 3 w 3"/>
                  <a:gd name="T3" fmla="*/ 2 h 2"/>
                  <a:gd name="T4" fmla="*/ 0 w 3"/>
                  <a:gd name="T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0" y="1"/>
                    </a:moveTo>
                    <a:cubicBezTo>
                      <a:pt x="0" y="2"/>
                      <a:pt x="2" y="2"/>
                      <a:pt x="3" y="2"/>
                    </a:cubicBezTo>
                    <a:cubicBezTo>
                      <a:pt x="3" y="1"/>
                      <a:pt x="2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ïṩliďe">
                <a:extLst>
                  <a:ext uri="{FF2B5EF4-FFF2-40B4-BE49-F238E27FC236}">
                    <a16:creationId xmlns:a16="http://schemas.microsoft.com/office/drawing/2014/main" id="{F42E6D7E-12AB-423B-9E93-AEEDA53E3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785" y="4075804"/>
                <a:ext cx="31626" cy="23992"/>
              </a:xfrm>
              <a:custGeom>
                <a:avLst/>
                <a:gdLst>
                  <a:gd name="T0" fmla="*/ 2 w 4"/>
                  <a:gd name="T1" fmla="*/ 1 h 3"/>
                  <a:gd name="T2" fmla="*/ 3 w 4"/>
                  <a:gd name="T3" fmla="*/ 2 h 3"/>
                  <a:gd name="T4" fmla="*/ 2 w 4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2" y="1"/>
                    </a:moveTo>
                    <a:cubicBezTo>
                      <a:pt x="0" y="1"/>
                      <a:pt x="2" y="3"/>
                      <a:pt x="3" y="2"/>
                    </a:cubicBezTo>
                    <a:cubicBezTo>
                      <a:pt x="4" y="1"/>
                      <a:pt x="4" y="0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iṧḷîḋe">
                <a:extLst>
                  <a:ext uri="{FF2B5EF4-FFF2-40B4-BE49-F238E27FC236}">
                    <a16:creationId xmlns:a16="http://schemas.microsoft.com/office/drawing/2014/main" id="{BCFD1EDA-0BD5-4FCC-BC08-4F6DEAD83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7687" y="3990742"/>
                <a:ext cx="147223" cy="54527"/>
              </a:xfrm>
              <a:custGeom>
                <a:avLst/>
                <a:gdLst>
                  <a:gd name="T0" fmla="*/ 7 w 19"/>
                  <a:gd name="T1" fmla="*/ 5 h 7"/>
                  <a:gd name="T2" fmla="*/ 10 w 19"/>
                  <a:gd name="T3" fmla="*/ 7 h 7"/>
                  <a:gd name="T4" fmla="*/ 14 w 19"/>
                  <a:gd name="T5" fmla="*/ 5 h 7"/>
                  <a:gd name="T6" fmla="*/ 17 w 19"/>
                  <a:gd name="T7" fmla="*/ 4 h 7"/>
                  <a:gd name="T8" fmla="*/ 18 w 19"/>
                  <a:gd name="T9" fmla="*/ 2 h 7"/>
                  <a:gd name="T10" fmla="*/ 14 w 19"/>
                  <a:gd name="T11" fmla="*/ 0 h 7"/>
                  <a:gd name="T12" fmla="*/ 10 w 19"/>
                  <a:gd name="T13" fmla="*/ 1 h 7"/>
                  <a:gd name="T14" fmla="*/ 6 w 19"/>
                  <a:gd name="T15" fmla="*/ 1 h 7"/>
                  <a:gd name="T16" fmla="*/ 1 w 19"/>
                  <a:gd name="T17" fmla="*/ 0 h 7"/>
                  <a:gd name="T18" fmla="*/ 1 w 19"/>
                  <a:gd name="T19" fmla="*/ 2 h 7"/>
                  <a:gd name="T20" fmla="*/ 3 w 19"/>
                  <a:gd name="T21" fmla="*/ 5 h 7"/>
                  <a:gd name="T22" fmla="*/ 7 w 19"/>
                  <a:gd name="T23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" h="7">
                    <a:moveTo>
                      <a:pt x="7" y="5"/>
                    </a:moveTo>
                    <a:cubicBezTo>
                      <a:pt x="7" y="6"/>
                      <a:pt x="8" y="7"/>
                      <a:pt x="10" y="7"/>
                    </a:cubicBezTo>
                    <a:cubicBezTo>
                      <a:pt x="12" y="6"/>
                      <a:pt x="13" y="6"/>
                      <a:pt x="14" y="5"/>
                    </a:cubicBezTo>
                    <a:cubicBezTo>
                      <a:pt x="14" y="4"/>
                      <a:pt x="17" y="4"/>
                      <a:pt x="17" y="4"/>
                    </a:cubicBezTo>
                    <a:cubicBezTo>
                      <a:pt x="17" y="4"/>
                      <a:pt x="19" y="3"/>
                      <a:pt x="18" y="2"/>
                    </a:cubicBezTo>
                    <a:cubicBezTo>
                      <a:pt x="17" y="1"/>
                      <a:pt x="15" y="1"/>
                      <a:pt x="14" y="0"/>
                    </a:cubicBezTo>
                    <a:cubicBezTo>
                      <a:pt x="13" y="0"/>
                      <a:pt x="13" y="1"/>
                      <a:pt x="10" y="1"/>
                    </a:cubicBezTo>
                    <a:cubicBezTo>
                      <a:pt x="8" y="1"/>
                      <a:pt x="7" y="2"/>
                      <a:pt x="6" y="1"/>
                    </a:cubicBezTo>
                    <a:cubicBezTo>
                      <a:pt x="5" y="0"/>
                      <a:pt x="1" y="0"/>
                      <a:pt x="1" y="0"/>
                    </a:cubicBezTo>
                    <a:cubicBezTo>
                      <a:pt x="1" y="1"/>
                      <a:pt x="0" y="1"/>
                      <a:pt x="1" y="2"/>
                    </a:cubicBezTo>
                    <a:cubicBezTo>
                      <a:pt x="2" y="4"/>
                      <a:pt x="2" y="5"/>
                      <a:pt x="3" y="5"/>
                    </a:cubicBezTo>
                    <a:cubicBezTo>
                      <a:pt x="4" y="5"/>
                      <a:pt x="6" y="5"/>
                      <a:pt x="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işḷïḓê">
                <a:extLst>
                  <a:ext uri="{FF2B5EF4-FFF2-40B4-BE49-F238E27FC236}">
                    <a16:creationId xmlns:a16="http://schemas.microsoft.com/office/drawing/2014/main" id="{93E3B7E0-C5C6-432D-AF5F-EFE7FBAFF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1901" y="3720288"/>
                <a:ext cx="728482" cy="371875"/>
              </a:xfrm>
              <a:custGeom>
                <a:avLst/>
                <a:gdLst>
                  <a:gd name="T0" fmla="*/ 3 w 94"/>
                  <a:gd name="T1" fmla="*/ 20 h 48"/>
                  <a:gd name="T2" fmla="*/ 5 w 94"/>
                  <a:gd name="T3" fmla="*/ 20 h 48"/>
                  <a:gd name="T4" fmla="*/ 16 w 94"/>
                  <a:gd name="T5" fmla="*/ 20 h 48"/>
                  <a:gd name="T6" fmla="*/ 22 w 94"/>
                  <a:gd name="T7" fmla="*/ 28 h 48"/>
                  <a:gd name="T8" fmla="*/ 27 w 94"/>
                  <a:gd name="T9" fmla="*/ 27 h 48"/>
                  <a:gd name="T10" fmla="*/ 28 w 94"/>
                  <a:gd name="T11" fmla="*/ 31 h 48"/>
                  <a:gd name="T12" fmla="*/ 27 w 94"/>
                  <a:gd name="T13" fmla="*/ 34 h 48"/>
                  <a:gd name="T14" fmla="*/ 25 w 94"/>
                  <a:gd name="T15" fmla="*/ 34 h 48"/>
                  <a:gd name="T16" fmla="*/ 25 w 94"/>
                  <a:gd name="T17" fmla="*/ 38 h 48"/>
                  <a:gd name="T18" fmla="*/ 27 w 94"/>
                  <a:gd name="T19" fmla="*/ 40 h 48"/>
                  <a:gd name="T20" fmla="*/ 34 w 94"/>
                  <a:gd name="T21" fmla="*/ 46 h 48"/>
                  <a:gd name="T22" fmla="*/ 39 w 94"/>
                  <a:gd name="T23" fmla="*/ 48 h 48"/>
                  <a:gd name="T24" fmla="*/ 43 w 94"/>
                  <a:gd name="T25" fmla="*/ 43 h 48"/>
                  <a:gd name="T26" fmla="*/ 46 w 94"/>
                  <a:gd name="T27" fmla="*/ 40 h 48"/>
                  <a:gd name="T28" fmla="*/ 52 w 94"/>
                  <a:gd name="T29" fmla="*/ 36 h 48"/>
                  <a:gd name="T30" fmla="*/ 61 w 94"/>
                  <a:gd name="T31" fmla="*/ 32 h 48"/>
                  <a:gd name="T32" fmla="*/ 73 w 94"/>
                  <a:gd name="T33" fmla="*/ 30 h 48"/>
                  <a:gd name="T34" fmla="*/ 72 w 94"/>
                  <a:gd name="T35" fmla="*/ 28 h 48"/>
                  <a:gd name="T36" fmla="*/ 75 w 94"/>
                  <a:gd name="T37" fmla="*/ 27 h 48"/>
                  <a:gd name="T38" fmla="*/ 79 w 94"/>
                  <a:gd name="T39" fmla="*/ 27 h 48"/>
                  <a:gd name="T40" fmla="*/ 78 w 94"/>
                  <a:gd name="T41" fmla="*/ 22 h 48"/>
                  <a:gd name="T42" fmla="*/ 85 w 94"/>
                  <a:gd name="T43" fmla="*/ 18 h 48"/>
                  <a:gd name="T44" fmla="*/ 83 w 94"/>
                  <a:gd name="T45" fmla="*/ 16 h 48"/>
                  <a:gd name="T46" fmla="*/ 91 w 94"/>
                  <a:gd name="T47" fmla="*/ 9 h 48"/>
                  <a:gd name="T48" fmla="*/ 87 w 94"/>
                  <a:gd name="T49" fmla="*/ 7 h 48"/>
                  <a:gd name="T50" fmla="*/ 78 w 94"/>
                  <a:gd name="T51" fmla="*/ 5 h 48"/>
                  <a:gd name="T52" fmla="*/ 73 w 94"/>
                  <a:gd name="T53" fmla="*/ 2 h 48"/>
                  <a:gd name="T54" fmla="*/ 65 w 94"/>
                  <a:gd name="T55" fmla="*/ 3 h 48"/>
                  <a:gd name="T56" fmla="*/ 53 w 94"/>
                  <a:gd name="T57" fmla="*/ 3 h 48"/>
                  <a:gd name="T58" fmla="*/ 66 w 94"/>
                  <a:gd name="T59" fmla="*/ 2 h 48"/>
                  <a:gd name="T60" fmla="*/ 58 w 94"/>
                  <a:gd name="T61" fmla="*/ 0 h 48"/>
                  <a:gd name="T62" fmla="*/ 36 w 94"/>
                  <a:gd name="T63" fmla="*/ 5 h 48"/>
                  <a:gd name="T64" fmla="*/ 32 w 94"/>
                  <a:gd name="T65" fmla="*/ 6 h 48"/>
                  <a:gd name="T66" fmla="*/ 27 w 94"/>
                  <a:gd name="T67" fmla="*/ 7 h 48"/>
                  <a:gd name="T68" fmla="*/ 1 w 94"/>
                  <a:gd name="T6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4" h="48">
                    <a:moveTo>
                      <a:pt x="1" y="21"/>
                    </a:moveTo>
                    <a:cubicBezTo>
                      <a:pt x="1" y="21"/>
                      <a:pt x="3" y="21"/>
                      <a:pt x="3" y="20"/>
                    </a:cubicBezTo>
                    <a:cubicBezTo>
                      <a:pt x="4" y="20"/>
                      <a:pt x="5" y="18"/>
                      <a:pt x="5" y="18"/>
                    </a:cubicBezTo>
                    <a:cubicBezTo>
                      <a:pt x="5" y="18"/>
                      <a:pt x="4" y="19"/>
                      <a:pt x="5" y="20"/>
                    </a:cubicBezTo>
                    <a:cubicBezTo>
                      <a:pt x="6" y="20"/>
                      <a:pt x="9" y="19"/>
                      <a:pt x="10" y="19"/>
                    </a:cubicBezTo>
                    <a:cubicBezTo>
                      <a:pt x="11" y="19"/>
                      <a:pt x="15" y="20"/>
                      <a:pt x="16" y="20"/>
                    </a:cubicBezTo>
                    <a:cubicBezTo>
                      <a:pt x="17" y="21"/>
                      <a:pt x="20" y="21"/>
                      <a:pt x="21" y="22"/>
                    </a:cubicBezTo>
                    <a:cubicBezTo>
                      <a:pt x="22" y="23"/>
                      <a:pt x="21" y="28"/>
                      <a:pt x="22" y="28"/>
                    </a:cubicBezTo>
                    <a:cubicBezTo>
                      <a:pt x="22" y="29"/>
                      <a:pt x="24" y="27"/>
                      <a:pt x="24" y="26"/>
                    </a:cubicBezTo>
                    <a:cubicBezTo>
                      <a:pt x="25" y="26"/>
                      <a:pt x="27" y="26"/>
                      <a:pt x="27" y="27"/>
                    </a:cubicBezTo>
                    <a:cubicBezTo>
                      <a:pt x="28" y="27"/>
                      <a:pt x="29" y="29"/>
                      <a:pt x="29" y="30"/>
                    </a:cubicBezTo>
                    <a:cubicBezTo>
                      <a:pt x="29" y="30"/>
                      <a:pt x="29" y="31"/>
                      <a:pt x="28" y="31"/>
                    </a:cubicBezTo>
                    <a:cubicBezTo>
                      <a:pt x="28" y="31"/>
                      <a:pt x="26" y="34"/>
                      <a:pt x="27" y="33"/>
                    </a:cubicBezTo>
                    <a:cubicBezTo>
                      <a:pt x="27" y="33"/>
                      <a:pt x="27" y="34"/>
                      <a:pt x="27" y="34"/>
                    </a:cubicBezTo>
                    <a:cubicBezTo>
                      <a:pt x="26" y="35"/>
                      <a:pt x="25" y="35"/>
                      <a:pt x="25" y="35"/>
                    </a:cubicBezTo>
                    <a:cubicBezTo>
                      <a:pt x="25" y="35"/>
                      <a:pt x="25" y="34"/>
                      <a:pt x="25" y="34"/>
                    </a:cubicBezTo>
                    <a:cubicBezTo>
                      <a:pt x="24" y="34"/>
                      <a:pt x="24" y="34"/>
                      <a:pt x="24" y="35"/>
                    </a:cubicBezTo>
                    <a:cubicBezTo>
                      <a:pt x="24" y="36"/>
                      <a:pt x="25" y="38"/>
                      <a:pt x="25" y="38"/>
                    </a:cubicBezTo>
                    <a:cubicBezTo>
                      <a:pt x="26" y="39"/>
                      <a:pt x="28" y="39"/>
                      <a:pt x="28" y="39"/>
                    </a:cubicBezTo>
                    <a:cubicBezTo>
                      <a:pt x="29" y="39"/>
                      <a:pt x="27" y="40"/>
                      <a:pt x="27" y="40"/>
                    </a:cubicBezTo>
                    <a:cubicBezTo>
                      <a:pt x="28" y="41"/>
                      <a:pt x="28" y="43"/>
                      <a:pt x="29" y="43"/>
                    </a:cubicBezTo>
                    <a:cubicBezTo>
                      <a:pt x="30" y="44"/>
                      <a:pt x="33" y="46"/>
                      <a:pt x="34" y="46"/>
                    </a:cubicBezTo>
                    <a:cubicBezTo>
                      <a:pt x="34" y="47"/>
                      <a:pt x="37" y="46"/>
                      <a:pt x="37" y="46"/>
                    </a:cubicBezTo>
                    <a:cubicBezTo>
                      <a:pt x="38" y="45"/>
                      <a:pt x="37" y="48"/>
                      <a:pt x="39" y="48"/>
                    </a:cubicBezTo>
                    <a:cubicBezTo>
                      <a:pt x="40" y="48"/>
                      <a:pt x="41" y="48"/>
                      <a:pt x="42" y="47"/>
                    </a:cubicBezTo>
                    <a:cubicBezTo>
                      <a:pt x="43" y="46"/>
                      <a:pt x="43" y="44"/>
                      <a:pt x="43" y="43"/>
                    </a:cubicBezTo>
                    <a:cubicBezTo>
                      <a:pt x="43" y="42"/>
                      <a:pt x="43" y="42"/>
                      <a:pt x="44" y="42"/>
                    </a:cubicBezTo>
                    <a:cubicBezTo>
                      <a:pt x="46" y="42"/>
                      <a:pt x="47" y="42"/>
                      <a:pt x="46" y="40"/>
                    </a:cubicBezTo>
                    <a:cubicBezTo>
                      <a:pt x="46" y="39"/>
                      <a:pt x="45" y="38"/>
                      <a:pt x="47" y="38"/>
                    </a:cubicBezTo>
                    <a:cubicBezTo>
                      <a:pt x="50" y="37"/>
                      <a:pt x="51" y="36"/>
                      <a:pt x="52" y="36"/>
                    </a:cubicBezTo>
                    <a:cubicBezTo>
                      <a:pt x="53" y="36"/>
                      <a:pt x="57" y="36"/>
                      <a:pt x="57" y="36"/>
                    </a:cubicBezTo>
                    <a:cubicBezTo>
                      <a:pt x="58" y="35"/>
                      <a:pt x="59" y="32"/>
                      <a:pt x="61" y="32"/>
                    </a:cubicBezTo>
                    <a:cubicBezTo>
                      <a:pt x="62" y="32"/>
                      <a:pt x="65" y="33"/>
                      <a:pt x="67" y="32"/>
                    </a:cubicBezTo>
                    <a:cubicBezTo>
                      <a:pt x="70" y="32"/>
                      <a:pt x="72" y="30"/>
                      <a:pt x="73" y="30"/>
                    </a:cubicBezTo>
                    <a:cubicBezTo>
                      <a:pt x="74" y="30"/>
                      <a:pt x="76" y="30"/>
                      <a:pt x="76" y="30"/>
                    </a:cubicBezTo>
                    <a:cubicBezTo>
                      <a:pt x="75" y="29"/>
                      <a:pt x="74" y="28"/>
                      <a:pt x="72" y="28"/>
                    </a:cubicBezTo>
                    <a:cubicBezTo>
                      <a:pt x="71" y="28"/>
                      <a:pt x="71" y="25"/>
                      <a:pt x="71" y="25"/>
                    </a:cubicBezTo>
                    <a:cubicBezTo>
                      <a:pt x="72" y="25"/>
                      <a:pt x="75" y="26"/>
                      <a:pt x="75" y="27"/>
                    </a:cubicBezTo>
                    <a:cubicBezTo>
                      <a:pt x="75" y="28"/>
                      <a:pt x="76" y="29"/>
                      <a:pt x="78" y="29"/>
                    </a:cubicBezTo>
                    <a:cubicBezTo>
                      <a:pt x="80" y="29"/>
                      <a:pt x="79" y="27"/>
                      <a:pt x="79" y="27"/>
                    </a:cubicBezTo>
                    <a:cubicBezTo>
                      <a:pt x="78" y="26"/>
                      <a:pt x="78" y="25"/>
                      <a:pt x="78" y="25"/>
                    </a:cubicBezTo>
                    <a:cubicBezTo>
                      <a:pt x="77" y="24"/>
                      <a:pt x="76" y="22"/>
                      <a:pt x="78" y="22"/>
                    </a:cubicBezTo>
                    <a:cubicBezTo>
                      <a:pt x="80" y="22"/>
                      <a:pt x="84" y="24"/>
                      <a:pt x="84" y="22"/>
                    </a:cubicBezTo>
                    <a:cubicBezTo>
                      <a:pt x="84" y="21"/>
                      <a:pt x="84" y="19"/>
                      <a:pt x="85" y="18"/>
                    </a:cubicBezTo>
                    <a:cubicBezTo>
                      <a:pt x="85" y="18"/>
                      <a:pt x="86" y="17"/>
                      <a:pt x="86" y="17"/>
                    </a:cubicBezTo>
                    <a:cubicBezTo>
                      <a:pt x="85" y="17"/>
                      <a:pt x="84" y="17"/>
                      <a:pt x="83" y="16"/>
                    </a:cubicBezTo>
                    <a:cubicBezTo>
                      <a:pt x="83" y="15"/>
                      <a:pt x="84" y="14"/>
                      <a:pt x="85" y="13"/>
                    </a:cubicBezTo>
                    <a:cubicBezTo>
                      <a:pt x="85" y="13"/>
                      <a:pt x="89" y="10"/>
                      <a:pt x="91" y="9"/>
                    </a:cubicBezTo>
                    <a:cubicBezTo>
                      <a:pt x="93" y="9"/>
                      <a:pt x="94" y="7"/>
                      <a:pt x="93" y="7"/>
                    </a:cubicBezTo>
                    <a:cubicBezTo>
                      <a:pt x="91" y="6"/>
                      <a:pt x="88" y="6"/>
                      <a:pt x="87" y="7"/>
                    </a:cubicBezTo>
                    <a:cubicBezTo>
                      <a:pt x="85" y="8"/>
                      <a:pt x="84" y="9"/>
                      <a:pt x="82" y="9"/>
                    </a:cubicBezTo>
                    <a:cubicBezTo>
                      <a:pt x="79" y="8"/>
                      <a:pt x="79" y="6"/>
                      <a:pt x="78" y="5"/>
                    </a:cubicBezTo>
                    <a:cubicBezTo>
                      <a:pt x="76" y="4"/>
                      <a:pt x="77" y="1"/>
                      <a:pt x="75" y="2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73" y="2"/>
                      <a:pt x="71" y="2"/>
                      <a:pt x="69" y="2"/>
                    </a:cubicBezTo>
                    <a:cubicBezTo>
                      <a:pt x="68" y="2"/>
                      <a:pt x="66" y="3"/>
                      <a:pt x="65" y="3"/>
                    </a:cubicBezTo>
                    <a:cubicBezTo>
                      <a:pt x="63" y="2"/>
                      <a:pt x="62" y="3"/>
                      <a:pt x="61" y="3"/>
                    </a:cubicBezTo>
                    <a:cubicBezTo>
                      <a:pt x="57" y="4"/>
                      <a:pt x="53" y="3"/>
                      <a:pt x="53" y="3"/>
                    </a:cubicBezTo>
                    <a:cubicBezTo>
                      <a:pt x="52" y="3"/>
                      <a:pt x="56" y="3"/>
                      <a:pt x="58" y="3"/>
                    </a:cubicBezTo>
                    <a:cubicBezTo>
                      <a:pt x="61" y="3"/>
                      <a:pt x="64" y="2"/>
                      <a:pt x="66" y="2"/>
                    </a:cubicBezTo>
                    <a:cubicBezTo>
                      <a:pt x="68" y="2"/>
                      <a:pt x="66" y="1"/>
                      <a:pt x="66" y="1"/>
                    </a:cubicBezTo>
                    <a:cubicBezTo>
                      <a:pt x="64" y="1"/>
                      <a:pt x="61" y="1"/>
                      <a:pt x="58" y="0"/>
                    </a:cubicBezTo>
                    <a:cubicBezTo>
                      <a:pt x="51" y="1"/>
                      <a:pt x="44" y="3"/>
                      <a:pt x="37" y="4"/>
                    </a:cubicBezTo>
                    <a:cubicBezTo>
                      <a:pt x="37" y="5"/>
                      <a:pt x="36" y="5"/>
                      <a:pt x="36" y="5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4" y="5"/>
                      <a:pt x="33" y="5"/>
                      <a:pt x="32" y="6"/>
                    </a:cubicBezTo>
                    <a:cubicBezTo>
                      <a:pt x="32" y="6"/>
                      <a:pt x="32" y="6"/>
                      <a:pt x="32" y="7"/>
                    </a:cubicBezTo>
                    <a:cubicBezTo>
                      <a:pt x="31" y="7"/>
                      <a:pt x="28" y="8"/>
                      <a:pt x="27" y="7"/>
                    </a:cubicBezTo>
                    <a:cubicBezTo>
                      <a:pt x="17" y="10"/>
                      <a:pt x="8" y="15"/>
                      <a:pt x="0" y="19"/>
                    </a:cubicBezTo>
                    <a:cubicBezTo>
                      <a:pt x="0" y="20"/>
                      <a:pt x="0" y="21"/>
                      <a:pt x="1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ïśḷîḍe">
                <a:extLst>
                  <a:ext uri="{FF2B5EF4-FFF2-40B4-BE49-F238E27FC236}">
                    <a16:creationId xmlns:a16="http://schemas.microsoft.com/office/drawing/2014/main" id="{2C21EBD4-F6BB-4BC4-87C8-A2645B4F3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2026" y="3960207"/>
                <a:ext cx="16358" cy="22901"/>
              </a:xfrm>
              <a:custGeom>
                <a:avLst/>
                <a:gdLst>
                  <a:gd name="T0" fmla="*/ 1 w 2"/>
                  <a:gd name="T1" fmla="*/ 1 h 3"/>
                  <a:gd name="T2" fmla="*/ 1 w 2"/>
                  <a:gd name="T3" fmla="*/ 2 h 3"/>
                  <a:gd name="T4" fmla="*/ 2 w 2"/>
                  <a:gd name="T5" fmla="*/ 2 h 3"/>
                  <a:gd name="T6" fmla="*/ 1 w 2"/>
                  <a:gd name="T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1" y="1"/>
                    </a:moveTo>
                    <a:cubicBezTo>
                      <a:pt x="0" y="3"/>
                      <a:pt x="1" y="2"/>
                      <a:pt x="1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1" y="0"/>
                      <a:pt x="1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îṩḷîďe">
                <a:extLst>
                  <a:ext uri="{FF2B5EF4-FFF2-40B4-BE49-F238E27FC236}">
                    <a16:creationId xmlns:a16="http://schemas.microsoft.com/office/drawing/2014/main" id="{033A7216-A2E1-4D04-9FB5-B42D67384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0356" y="4750850"/>
                <a:ext cx="124322" cy="61070"/>
              </a:xfrm>
              <a:custGeom>
                <a:avLst/>
                <a:gdLst>
                  <a:gd name="T0" fmla="*/ 13 w 16"/>
                  <a:gd name="T1" fmla="*/ 4 h 8"/>
                  <a:gd name="T2" fmla="*/ 9 w 16"/>
                  <a:gd name="T3" fmla="*/ 1 h 8"/>
                  <a:gd name="T4" fmla="*/ 4 w 16"/>
                  <a:gd name="T5" fmla="*/ 0 h 8"/>
                  <a:gd name="T6" fmla="*/ 0 w 16"/>
                  <a:gd name="T7" fmla="*/ 1 h 8"/>
                  <a:gd name="T8" fmla="*/ 3 w 16"/>
                  <a:gd name="T9" fmla="*/ 3 h 8"/>
                  <a:gd name="T10" fmla="*/ 9 w 16"/>
                  <a:gd name="T11" fmla="*/ 3 h 8"/>
                  <a:gd name="T12" fmla="*/ 13 w 16"/>
                  <a:gd name="T13" fmla="*/ 7 h 8"/>
                  <a:gd name="T14" fmla="*/ 16 w 16"/>
                  <a:gd name="T15" fmla="*/ 7 h 8"/>
                  <a:gd name="T16" fmla="*/ 13 w 16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8">
                    <a:moveTo>
                      <a:pt x="13" y="4"/>
                    </a:moveTo>
                    <a:cubicBezTo>
                      <a:pt x="12" y="4"/>
                      <a:pt x="10" y="3"/>
                      <a:pt x="9" y="1"/>
                    </a:cubicBezTo>
                    <a:cubicBezTo>
                      <a:pt x="8" y="0"/>
                      <a:pt x="5" y="0"/>
                      <a:pt x="4" y="0"/>
                    </a:cubicBezTo>
                    <a:cubicBezTo>
                      <a:pt x="3" y="0"/>
                      <a:pt x="0" y="1"/>
                      <a:pt x="0" y="1"/>
                    </a:cubicBezTo>
                    <a:cubicBezTo>
                      <a:pt x="0" y="3"/>
                      <a:pt x="1" y="3"/>
                      <a:pt x="3" y="3"/>
                    </a:cubicBezTo>
                    <a:cubicBezTo>
                      <a:pt x="5" y="3"/>
                      <a:pt x="8" y="2"/>
                      <a:pt x="9" y="3"/>
                    </a:cubicBezTo>
                    <a:cubicBezTo>
                      <a:pt x="9" y="4"/>
                      <a:pt x="12" y="6"/>
                      <a:pt x="13" y="7"/>
                    </a:cubicBezTo>
                    <a:cubicBezTo>
                      <a:pt x="13" y="7"/>
                      <a:pt x="16" y="8"/>
                      <a:pt x="16" y="7"/>
                    </a:cubicBezTo>
                    <a:cubicBezTo>
                      <a:pt x="16" y="6"/>
                      <a:pt x="14" y="4"/>
                      <a:pt x="1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iṥļïḋè">
                <a:extLst>
                  <a:ext uri="{FF2B5EF4-FFF2-40B4-BE49-F238E27FC236}">
                    <a16:creationId xmlns:a16="http://schemas.microsoft.com/office/drawing/2014/main" id="{D999112F-BB1C-4D31-93B1-4E73B044CB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785" y="4711590"/>
                <a:ext cx="23992" cy="22901"/>
              </a:xfrm>
              <a:custGeom>
                <a:avLst/>
                <a:gdLst>
                  <a:gd name="T0" fmla="*/ 2 w 3"/>
                  <a:gd name="T1" fmla="*/ 3 h 3"/>
                  <a:gd name="T2" fmla="*/ 1 w 3"/>
                  <a:gd name="T3" fmla="*/ 1 h 3"/>
                  <a:gd name="T4" fmla="*/ 2 w 3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cubicBezTo>
                      <a:pt x="3" y="2"/>
                      <a:pt x="2" y="0"/>
                      <a:pt x="1" y="1"/>
                    </a:cubicBezTo>
                    <a:cubicBezTo>
                      <a:pt x="0" y="1"/>
                      <a:pt x="0" y="3"/>
                      <a:pt x="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ïŝḷíḑé">
                <a:extLst>
                  <a:ext uri="{FF2B5EF4-FFF2-40B4-BE49-F238E27FC236}">
                    <a16:creationId xmlns:a16="http://schemas.microsoft.com/office/drawing/2014/main" id="{02CBF2E3-0ED2-4930-863B-0190BCB25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7785" y="4843546"/>
                <a:ext cx="31626" cy="30535"/>
              </a:xfrm>
              <a:custGeom>
                <a:avLst/>
                <a:gdLst>
                  <a:gd name="T0" fmla="*/ 2 w 4"/>
                  <a:gd name="T1" fmla="*/ 0 h 4"/>
                  <a:gd name="T2" fmla="*/ 2 w 4"/>
                  <a:gd name="T3" fmla="*/ 3 h 4"/>
                  <a:gd name="T4" fmla="*/ 2 w 4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cubicBezTo>
                      <a:pt x="0" y="1"/>
                      <a:pt x="1" y="4"/>
                      <a:pt x="2" y="3"/>
                    </a:cubicBezTo>
                    <a:cubicBezTo>
                      <a:pt x="4" y="3"/>
                      <a:pt x="3" y="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íṧḻiďe">
                <a:extLst>
                  <a:ext uri="{FF2B5EF4-FFF2-40B4-BE49-F238E27FC236}">
                    <a16:creationId xmlns:a16="http://schemas.microsoft.com/office/drawing/2014/main" id="{D10F00A9-28FC-4E79-AAD6-4E0A9231B0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1366" y="4828278"/>
                <a:ext cx="30535" cy="30535"/>
              </a:xfrm>
              <a:custGeom>
                <a:avLst/>
                <a:gdLst>
                  <a:gd name="T0" fmla="*/ 2 w 4"/>
                  <a:gd name="T1" fmla="*/ 0 h 4"/>
                  <a:gd name="T2" fmla="*/ 2 w 4"/>
                  <a:gd name="T3" fmla="*/ 3 h 4"/>
                  <a:gd name="T4" fmla="*/ 2 w 4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cubicBezTo>
                      <a:pt x="0" y="0"/>
                      <a:pt x="1" y="4"/>
                      <a:pt x="2" y="3"/>
                    </a:cubicBezTo>
                    <a:cubicBezTo>
                      <a:pt x="4" y="3"/>
                      <a:pt x="3" y="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íšḻïḑê">
                <a:extLst>
                  <a:ext uri="{FF2B5EF4-FFF2-40B4-BE49-F238E27FC236}">
                    <a16:creationId xmlns:a16="http://schemas.microsoft.com/office/drawing/2014/main" id="{94677691-E03F-4E72-96E0-5A600BB05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946" y="4804286"/>
                <a:ext cx="85062" cy="54527"/>
              </a:xfrm>
              <a:custGeom>
                <a:avLst/>
                <a:gdLst>
                  <a:gd name="T0" fmla="*/ 7 w 11"/>
                  <a:gd name="T1" fmla="*/ 0 h 7"/>
                  <a:gd name="T2" fmla="*/ 4 w 11"/>
                  <a:gd name="T3" fmla="*/ 1 h 7"/>
                  <a:gd name="T4" fmla="*/ 0 w 11"/>
                  <a:gd name="T5" fmla="*/ 4 h 7"/>
                  <a:gd name="T6" fmla="*/ 3 w 11"/>
                  <a:gd name="T7" fmla="*/ 4 h 7"/>
                  <a:gd name="T8" fmla="*/ 6 w 11"/>
                  <a:gd name="T9" fmla="*/ 6 h 7"/>
                  <a:gd name="T10" fmla="*/ 9 w 11"/>
                  <a:gd name="T11" fmla="*/ 5 h 7"/>
                  <a:gd name="T12" fmla="*/ 11 w 11"/>
                  <a:gd name="T13" fmla="*/ 5 h 7"/>
                  <a:gd name="T14" fmla="*/ 7 w 11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7">
                    <a:moveTo>
                      <a:pt x="7" y="0"/>
                    </a:moveTo>
                    <a:cubicBezTo>
                      <a:pt x="6" y="0"/>
                      <a:pt x="5" y="0"/>
                      <a:pt x="4" y="1"/>
                    </a:cubicBezTo>
                    <a:cubicBezTo>
                      <a:pt x="3" y="1"/>
                      <a:pt x="0" y="4"/>
                      <a:pt x="0" y="4"/>
                    </a:cubicBezTo>
                    <a:cubicBezTo>
                      <a:pt x="0" y="4"/>
                      <a:pt x="2" y="4"/>
                      <a:pt x="3" y="4"/>
                    </a:cubicBezTo>
                    <a:cubicBezTo>
                      <a:pt x="4" y="4"/>
                      <a:pt x="5" y="5"/>
                      <a:pt x="6" y="6"/>
                    </a:cubicBezTo>
                    <a:cubicBezTo>
                      <a:pt x="7" y="6"/>
                      <a:pt x="8" y="5"/>
                      <a:pt x="9" y="5"/>
                    </a:cubicBezTo>
                    <a:cubicBezTo>
                      <a:pt x="10" y="5"/>
                      <a:pt x="10" y="7"/>
                      <a:pt x="11" y="5"/>
                    </a:cubicBezTo>
                    <a:cubicBezTo>
                      <a:pt x="11" y="2"/>
                      <a:pt x="9" y="1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iś1iḑè">
                <a:extLst>
                  <a:ext uri="{FF2B5EF4-FFF2-40B4-BE49-F238E27FC236}">
                    <a16:creationId xmlns:a16="http://schemas.microsoft.com/office/drawing/2014/main" id="{7F3023E3-CBE1-48BE-AE6C-1D56AFF17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3392" y="5355010"/>
                <a:ext cx="92696" cy="224652"/>
              </a:xfrm>
              <a:custGeom>
                <a:avLst/>
                <a:gdLst>
                  <a:gd name="T0" fmla="*/ 7 w 12"/>
                  <a:gd name="T1" fmla="*/ 5 h 29"/>
                  <a:gd name="T2" fmla="*/ 4 w 12"/>
                  <a:gd name="T3" fmla="*/ 8 h 29"/>
                  <a:gd name="T4" fmla="*/ 1 w 12"/>
                  <a:gd name="T5" fmla="*/ 13 h 29"/>
                  <a:gd name="T6" fmla="*/ 1 w 12"/>
                  <a:gd name="T7" fmla="*/ 19 h 29"/>
                  <a:gd name="T8" fmla="*/ 1 w 12"/>
                  <a:gd name="T9" fmla="*/ 26 h 29"/>
                  <a:gd name="T10" fmla="*/ 2 w 12"/>
                  <a:gd name="T11" fmla="*/ 29 h 29"/>
                  <a:gd name="T12" fmla="*/ 6 w 12"/>
                  <a:gd name="T13" fmla="*/ 25 h 29"/>
                  <a:gd name="T14" fmla="*/ 8 w 12"/>
                  <a:gd name="T15" fmla="*/ 18 h 29"/>
                  <a:gd name="T16" fmla="*/ 10 w 12"/>
                  <a:gd name="T17" fmla="*/ 11 h 29"/>
                  <a:gd name="T18" fmla="*/ 12 w 12"/>
                  <a:gd name="T19" fmla="*/ 5 h 29"/>
                  <a:gd name="T20" fmla="*/ 11 w 12"/>
                  <a:gd name="T21" fmla="*/ 0 h 29"/>
                  <a:gd name="T22" fmla="*/ 7 w 12"/>
                  <a:gd name="T23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29">
                    <a:moveTo>
                      <a:pt x="7" y="5"/>
                    </a:moveTo>
                    <a:cubicBezTo>
                      <a:pt x="6" y="7"/>
                      <a:pt x="5" y="9"/>
                      <a:pt x="4" y="8"/>
                    </a:cubicBezTo>
                    <a:cubicBezTo>
                      <a:pt x="4" y="8"/>
                      <a:pt x="1" y="10"/>
                      <a:pt x="1" y="13"/>
                    </a:cubicBezTo>
                    <a:cubicBezTo>
                      <a:pt x="2" y="15"/>
                      <a:pt x="2" y="18"/>
                      <a:pt x="1" y="19"/>
                    </a:cubicBezTo>
                    <a:cubicBezTo>
                      <a:pt x="0" y="21"/>
                      <a:pt x="1" y="24"/>
                      <a:pt x="1" y="26"/>
                    </a:cubicBezTo>
                    <a:cubicBezTo>
                      <a:pt x="0" y="28"/>
                      <a:pt x="1" y="29"/>
                      <a:pt x="2" y="29"/>
                    </a:cubicBezTo>
                    <a:cubicBezTo>
                      <a:pt x="4" y="28"/>
                      <a:pt x="5" y="27"/>
                      <a:pt x="6" y="25"/>
                    </a:cubicBezTo>
                    <a:cubicBezTo>
                      <a:pt x="7" y="23"/>
                      <a:pt x="7" y="20"/>
                      <a:pt x="8" y="18"/>
                    </a:cubicBezTo>
                    <a:cubicBezTo>
                      <a:pt x="9" y="16"/>
                      <a:pt x="10" y="12"/>
                      <a:pt x="10" y="11"/>
                    </a:cubicBezTo>
                    <a:cubicBezTo>
                      <a:pt x="11" y="10"/>
                      <a:pt x="12" y="6"/>
                      <a:pt x="12" y="5"/>
                    </a:cubicBezTo>
                    <a:cubicBezTo>
                      <a:pt x="12" y="3"/>
                      <a:pt x="11" y="0"/>
                      <a:pt x="11" y="0"/>
                    </a:cubicBezTo>
                    <a:cubicBezTo>
                      <a:pt x="9" y="0"/>
                      <a:pt x="9" y="3"/>
                      <a:pt x="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íṡḻîḑé">
                <a:extLst>
                  <a:ext uri="{FF2B5EF4-FFF2-40B4-BE49-F238E27FC236}">
                    <a16:creationId xmlns:a16="http://schemas.microsoft.com/office/drawing/2014/main" id="{D790F9C2-15FF-4D7C-B76F-1D5DC4E93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7731" y="4417144"/>
                <a:ext cx="39260" cy="39260"/>
              </a:xfrm>
              <a:custGeom>
                <a:avLst/>
                <a:gdLst>
                  <a:gd name="T0" fmla="*/ 4 w 5"/>
                  <a:gd name="T1" fmla="*/ 3 h 5"/>
                  <a:gd name="T2" fmla="*/ 2 w 5"/>
                  <a:gd name="T3" fmla="*/ 0 h 5"/>
                  <a:gd name="T4" fmla="*/ 1 w 5"/>
                  <a:gd name="T5" fmla="*/ 4 h 5"/>
                  <a:gd name="T6" fmla="*/ 4 w 5"/>
                  <a:gd name="T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4" y="3"/>
                    </a:moveTo>
                    <a:cubicBezTo>
                      <a:pt x="5" y="2"/>
                      <a:pt x="3" y="0"/>
                      <a:pt x="2" y="0"/>
                    </a:cubicBezTo>
                    <a:cubicBezTo>
                      <a:pt x="1" y="0"/>
                      <a:pt x="0" y="3"/>
                      <a:pt x="1" y="4"/>
                    </a:cubicBezTo>
                    <a:cubicBezTo>
                      <a:pt x="2" y="5"/>
                      <a:pt x="3" y="4"/>
                      <a:pt x="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íśļíḓe">
                <a:extLst>
                  <a:ext uri="{FF2B5EF4-FFF2-40B4-BE49-F238E27FC236}">
                    <a16:creationId xmlns:a16="http://schemas.microsoft.com/office/drawing/2014/main" id="{AC1BD594-567D-4AA2-A01E-380C448F00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2669" y="4417144"/>
                <a:ext cx="22901" cy="22901"/>
              </a:xfrm>
              <a:custGeom>
                <a:avLst/>
                <a:gdLst>
                  <a:gd name="T0" fmla="*/ 2 w 3"/>
                  <a:gd name="T1" fmla="*/ 3 h 3"/>
                  <a:gd name="T2" fmla="*/ 1 w 3"/>
                  <a:gd name="T3" fmla="*/ 2 h 3"/>
                  <a:gd name="T4" fmla="*/ 2 w 3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cubicBezTo>
                      <a:pt x="3" y="2"/>
                      <a:pt x="2" y="0"/>
                      <a:pt x="1" y="2"/>
                    </a:cubicBezTo>
                    <a:cubicBezTo>
                      <a:pt x="0" y="3"/>
                      <a:pt x="2" y="3"/>
                      <a:pt x="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iṩļidé">
                <a:extLst>
                  <a:ext uri="{FF2B5EF4-FFF2-40B4-BE49-F238E27FC236}">
                    <a16:creationId xmlns:a16="http://schemas.microsoft.com/office/drawing/2014/main" id="{74C17752-B1B0-4A1A-88AE-358C051163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7526" y="4464037"/>
                <a:ext cx="54527" cy="38169"/>
              </a:xfrm>
              <a:custGeom>
                <a:avLst/>
                <a:gdLst>
                  <a:gd name="T0" fmla="*/ 2 w 7"/>
                  <a:gd name="T1" fmla="*/ 3 h 5"/>
                  <a:gd name="T2" fmla="*/ 5 w 7"/>
                  <a:gd name="T3" fmla="*/ 5 h 5"/>
                  <a:gd name="T4" fmla="*/ 7 w 7"/>
                  <a:gd name="T5" fmla="*/ 3 h 5"/>
                  <a:gd name="T6" fmla="*/ 4 w 7"/>
                  <a:gd name="T7" fmla="*/ 1 h 5"/>
                  <a:gd name="T8" fmla="*/ 1 w 7"/>
                  <a:gd name="T9" fmla="*/ 1 h 5"/>
                  <a:gd name="T10" fmla="*/ 2 w 7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5">
                    <a:moveTo>
                      <a:pt x="2" y="3"/>
                    </a:moveTo>
                    <a:cubicBezTo>
                      <a:pt x="3" y="3"/>
                      <a:pt x="4" y="4"/>
                      <a:pt x="5" y="5"/>
                    </a:cubicBezTo>
                    <a:cubicBezTo>
                      <a:pt x="5" y="5"/>
                      <a:pt x="7" y="5"/>
                      <a:pt x="7" y="3"/>
                    </a:cubicBezTo>
                    <a:cubicBezTo>
                      <a:pt x="6" y="1"/>
                      <a:pt x="4" y="1"/>
                      <a:pt x="4" y="1"/>
                    </a:cubicBezTo>
                    <a:cubicBezTo>
                      <a:pt x="3" y="1"/>
                      <a:pt x="1" y="0"/>
                      <a:pt x="1" y="1"/>
                    </a:cubicBezTo>
                    <a:cubicBezTo>
                      <a:pt x="0" y="1"/>
                      <a:pt x="2" y="2"/>
                      <a:pt x="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iśľíḍe">
                <a:extLst>
                  <a:ext uri="{FF2B5EF4-FFF2-40B4-BE49-F238E27FC236}">
                    <a16:creationId xmlns:a16="http://schemas.microsoft.com/office/drawing/2014/main" id="{281AADB5-204C-4658-BA49-64FEF89E6F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919" y="4161957"/>
                <a:ext cx="69795" cy="69795"/>
              </a:xfrm>
              <a:custGeom>
                <a:avLst/>
                <a:gdLst>
                  <a:gd name="T0" fmla="*/ 1 w 9"/>
                  <a:gd name="T1" fmla="*/ 3 h 9"/>
                  <a:gd name="T2" fmla="*/ 1 w 9"/>
                  <a:gd name="T3" fmla="*/ 6 h 9"/>
                  <a:gd name="T4" fmla="*/ 2 w 9"/>
                  <a:gd name="T5" fmla="*/ 9 h 9"/>
                  <a:gd name="T6" fmla="*/ 6 w 9"/>
                  <a:gd name="T7" fmla="*/ 8 h 9"/>
                  <a:gd name="T8" fmla="*/ 9 w 9"/>
                  <a:gd name="T9" fmla="*/ 5 h 9"/>
                  <a:gd name="T10" fmla="*/ 8 w 9"/>
                  <a:gd name="T11" fmla="*/ 1 h 9"/>
                  <a:gd name="T12" fmla="*/ 5 w 9"/>
                  <a:gd name="T13" fmla="*/ 0 h 9"/>
                  <a:gd name="T14" fmla="*/ 3 w 9"/>
                  <a:gd name="T15" fmla="*/ 2 h 9"/>
                  <a:gd name="T16" fmla="*/ 1 w 9"/>
                  <a:gd name="T17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1" y="3"/>
                    </a:moveTo>
                    <a:cubicBezTo>
                      <a:pt x="1" y="5"/>
                      <a:pt x="2" y="6"/>
                      <a:pt x="1" y="6"/>
                    </a:cubicBezTo>
                    <a:cubicBezTo>
                      <a:pt x="0" y="7"/>
                      <a:pt x="1" y="9"/>
                      <a:pt x="2" y="9"/>
                    </a:cubicBezTo>
                    <a:cubicBezTo>
                      <a:pt x="4" y="9"/>
                      <a:pt x="5" y="8"/>
                      <a:pt x="6" y="8"/>
                    </a:cubicBezTo>
                    <a:cubicBezTo>
                      <a:pt x="8" y="7"/>
                      <a:pt x="9" y="6"/>
                      <a:pt x="9" y="5"/>
                    </a:cubicBezTo>
                    <a:cubicBezTo>
                      <a:pt x="9" y="3"/>
                      <a:pt x="9" y="1"/>
                      <a:pt x="8" y="1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4" y="0"/>
                      <a:pt x="4" y="2"/>
                      <a:pt x="3" y="2"/>
                    </a:cubicBezTo>
                    <a:cubicBezTo>
                      <a:pt x="2" y="2"/>
                      <a:pt x="0" y="2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i$ḻïḓe">
                <a:extLst>
                  <a:ext uri="{FF2B5EF4-FFF2-40B4-BE49-F238E27FC236}">
                    <a16:creationId xmlns:a16="http://schemas.microsoft.com/office/drawing/2014/main" id="{75BEA121-0FAD-409F-B9E9-5DC8A457C7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0178" y="4107430"/>
                <a:ext cx="154857" cy="147223"/>
              </a:xfrm>
              <a:custGeom>
                <a:avLst/>
                <a:gdLst>
                  <a:gd name="T0" fmla="*/ 5 w 20"/>
                  <a:gd name="T1" fmla="*/ 9 h 19"/>
                  <a:gd name="T2" fmla="*/ 9 w 20"/>
                  <a:gd name="T3" fmla="*/ 11 h 19"/>
                  <a:gd name="T4" fmla="*/ 4 w 20"/>
                  <a:gd name="T5" fmla="*/ 16 h 19"/>
                  <a:gd name="T6" fmla="*/ 8 w 20"/>
                  <a:gd name="T7" fmla="*/ 17 h 19"/>
                  <a:gd name="T8" fmla="*/ 8 w 20"/>
                  <a:gd name="T9" fmla="*/ 18 h 19"/>
                  <a:gd name="T10" fmla="*/ 11 w 20"/>
                  <a:gd name="T11" fmla="*/ 17 h 19"/>
                  <a:gd name="T12" fmla="*/ 16 w 20"/>
                  <a:gd name="T13" fmla="*/ 18 h 19"/>
                  <a:gd name="T14" fmla="*/ 19 w 20"/>
                  <a:gd name="T15" fmla="*/ 15 h 19"/>
                  <a:gd name="T16" fmla="*/ 16 w 20"/>
                  <a:gd name="T17" fmla="*/ 11 h 19"/>
                  <a:gd name="T18" fmla="*/ 12 w 20"/>
                  <a:gd name="T19" fmla="*/ 6 h 19"/>
                  <a:gd name="T20" fmla="*/ 14 w 20"/>
                  <a:gd name="T21" fmla="*/ 2 h 19"/>
                  <a:gd name="T22" fmla="*/ 8 w 20"/>
                  <a:gd name="T23" fmla="*/ 1 h 19"/>
                  <a:gd name="T24" fmla="*/ 4 w 20"/>
                  <a:gd name="T25" fmla="*/ 2 h 19"/>
                  <a:gd name="T26" fmla="*/ 2 w 20"/>
                  <a:gd name="T27" fmla="*/ 2 h 19"/>
                  <a:gd name="T28" fmla="*/ 2 w 20"/>
                  <a:gd name="T29" fmla="*/ 5 h 19"/>
                  <a:gd name="T30" fmla="*/ 5 w 20"/>
                  <a:gd name="T31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" h="19">
                    <a:moveTo>
                      <a:pt x="5" y="9"/>
                    </a:moveTo>
                    <a:cubicBezTo>
                      <a:pt x="7" y="9"/>
                      <a:pt x="11" y="10"/>
                      <a:pt x="9" y="11"/>
                    </a:cubicBezTo>
                    <a:cubicBezTo>
                      <a:pt x="8" y="11"/>
                      <a:pt x="4" y="15"/>
                      <a:pt x="4" y="16"/>
                    </a:cubicBezTo>
                    <a:cubicBezTo>
                      <a:pt x="4" y="17"/>
                      <a:pt x="8" y="17"/>
                      <a:pt x="8" y="17"/>
                    </a:cubicBezTo>
                    <a:cubicBezTo>
                      <a:pt x="8" y="17"/>
                      <a:pt x="7" y="18"/>
                      <a:pt x="8" y="18"/>
                    </a:cubicBezTo>
                    <a:cubicBezTo>
                      <a:pt x="9" y="19"/>
                      <a:pt x="10" y="17"/>
                      <a:pt x="11" y="17"/>
                    </a:cubicBezTo>
                    <a:cubicBezTo>
                      <a:pt x="12" y="17"/>
                      <a:pt x="15" y="18"/>
                      <a:pt x="16" y="18"/>
                    </a:cubicBezTo>
                    <a:cubicBezTo>
                      <a:pt x="18" y="18"/>
                      <a:pt x="20" y="16"/>
                      <a:pt x="19" y="15"/>
                    </a:cubicBezTo>
                    <a:cubicBezTo>
                      <a:pt x="19" y="14"/>
                      <a:pt x="17" y="12"/>
                      <a:pt x="16" y="11"/>
                    </a:cubicBezTo>
                    <a:cubicBezTo>
                      <a:pt x="14" y="10"/>
                      <a:pt x="13" y="7"/>
                      <a:pt x="12" y="6"/>
                    </a:cubicBezTo>
                    <a:cubicBezTo>
                      <a:pt x="10" y="5"/>
                      <a:pt x="15" y="3"/>
                      <a:pt x="14" y="2"/>
                    </a:cubicBezTo>
                    <a:cubicBezTo>
                      <a:pt x="13" y="1"/>
                      <a:pt x="9" y="1"/>
                      <a:pt x="8" y="1"/>
                    </a:cubicBezTo>
                    <a:cubicBezTo>
                      <a:pt x="6" y="0"/>
                      <a:pt x="5" y="1"/>
                      <a:pt x="4" y="2"/>
                    </a:cubicBezTo>
                    <a:cubicBezTo>
                      <a:pt x="4" y="3"/>
                      <a:pt x="3" y="1"/>
                      <a:pt x="2" y="2"/>
                    </a:cubicBezTo>
                    <a:cubicBezTo>
                      <a:pt x="0" y="2"/>
                      <a:pt x="1" y="4"/>
                      <a:pt x="2" y="5"/>
                    </a:cubicBezTo>
                    <a:cubicBezTo>
                      <a:pt x="2" y="6"/>
                      <a:pt x="4" y="8"/>
                      <a:pt x="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iṧlíďè">
                <a:extLst>
                  <a:ext uri="{FF2B5EF4-FFF2-40B4-BE49-F238E27FC236}">
                    <a16:creationId xmlns:a16="http://schemas.microsoft.com/office/drawing/2014/main" id="{F22CE245-7AF5-410E-BDF6-962B00A1A1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2955" y="3928581"/>
                <a:ext cx="1130892" cy="1821205"/>
              </a:xfrm>
              <a:custGeom>
                <a:avLst/>
                <a:gdLst>
                  <a:gd name="T0" fmla="*/ 43 w 146"/>
                  <a:gd name="T1" fmla="*/ 19 h 235"/>
                  <a:gd name="T2" fmla="*/ 57 w 146"/>
                  <a:gd name="T3" fmla="*/ 30 h 235"/>
                  <a:gd name="T4" fmla="*/ 65 w 146"/>
                  <a:gd name="T5" fmla="*/ 33 h 235"/>
                  <a:gd name="T6" fmla="*/ 72 w 146"/>
                  <a:gd name="T7" fmla="*/ 16 h 235"/>
                  <a:gd name="T8" fmla="*/ 76 w 146"/>
                  <a:gd name="T9" fmla="*/ 24 h 235"/>
                  <a:gd name="T10" fmla="*/ 76 w 146"/>
                  <a:gd name="T11" fmla="*/ 26 h 235"/>
                  <a:gd name="T12" fmla="*/ 67 w 146"/>
                  <a:gd name="T13" fmla="*/ 34 h 235"/>
                  <a:gd name="T14" fmla="*/ 57 w 146"/>
                  <a:gd name="T15" fmla="*/ 34 h 235"/>
                  <a:gd name="T16" fmla="*/ 50 w 146"/>
                  <a:gd name="T17" fmla="*/ 29 h 235"/>
                  <a:gd name="T18" fmla="*/ 38 w 146"/>
                  <a:gd name="T19" fmla="*/ 40 h 235"/>
                  <a:gd name="T20" fmla="*/ 33 w 146"/>
                  <a:gd name="T21" fmla="*/ 50 h 235"/>
                  <a:gd name="T22" fmla="*/ 17 w 146"/>
                  <a:gd name="T23" fmla="*/ 66 h 235"/>
                  <a:gd name="T24" fmla="*/ 27 w 146"/>
                  <a:gd name="T25" fmla="*/ 72 h 235"/>
                  <a:gd name="T26" fmla="*/ 42 w 146"/>
                  <a:gd name="T27" fmla="*/ 61 h 235"/>
                  <a:gd name="T28" fmla="*/ 60 w 146"/>
                  <a:gd name="T29" fmla="*/ 62 h 235"/>
                  <a:gd name="T30" fmla="*/ 71 w 146"/>
                  <a:gd name="T31" fmla="*/ 66 h 235"/>
                  <a:gd name="T32" fmla="*/ 69 w 146"/>
                  <a:gd name="T33" fmla="*/ 60 h 235"/>
                  <a:gd name="T34" fmla="*/ 83 w 146"/>
                  <a:gd name="T35" fmla="*/ 71 h 235"/>
                  <a:gd name="T36" fmla="*/ 90 w 146"/>
                  <a:gd name="T37" fmla="*/ 75 h 235"/>
                  <a:gd name="T38" fmla="*/ 100 w 146"/>
                  <a:gd name="T39" fmla="*/ 85 h 235"/>
                  <a:gd name="T40" fmla="*/ 87 w 146"/>
                  <a:gd name="T41" fmla="*/ 91 h 235"/>
                  <a:gd name="T42" fmla="*/ 70 w 146"/>
                  <a:gd name="T43" fmla="*/ 87 h 235"/>
                  <a:gd name="T44" fmla="*/ 59 w 146"/>
                  <a:gd name="T45" fmla="*/ 75 h 235"/>
                  <a:gd name="T46" fmla="*/ 24 w 146"/>
                  <a:gd name="T47" fmla="*/ 76 h 235"/>
                  <a:gd name="T48" fmla="*/ 3 w 146"/>
                  <a:gd name="T49" fmla="*/ 106 h 235"/>
                  <a:gd name="T50" fmla="*/ 4 w 146"/>
                  <a:gd name="T51" fmla="*/ 135 h 235"/>
                  <a:gd name="T52" fmla="*/ 27 w 146"/>
                  <a:gd name="T53" fmla="*/ 150 h 235"/>
                  <a:gd name="T54" fmla="*/ 53 w 146"/>
                  <a:gd name="T55" fmla="*/ 150 h 235"/>
                  <a:gd name="T56" fmla="*/ 61 w 146"/>
                  <a:gd name="T57" fmla="*/ 176 h 235"/>
                  <a:gd name="T58" fmla="*/ 61 w 146"/>
                  <a:gd name="T59" fmla="*/ 209 h 235"/>
                  <a:gd name="T60" fmla="*/ 66 w 146"/>
                  <a:gd name="T61" fmla="*/ 230 h 235"/>
                  <a:gd name="T62" fmla="*/ 90 w 146"/>
                  <a:gd name="T63" fmla="*/ 223 h 235"/>
                  <a:gd name="T64" fmla="*/ 100 w 146"/>
                  <a:gd name="T65" fmla="*/ 200 h 235"/>
                  <a:gd name="T66" fmla="*/ 107 w 146"/>
                  <a:gd name="T67" fmla="*/ 174 h 235"/>
                  <a:gd name="T68" fmla="*/ 125 w 146"/>
                  <a:gd name="T69" fmla="*/ 139 h 235"/>
                  <a:gd name="T70" fmla="*/ 112 w 146"/>
                  <a:gd name="T71" fmla="*/ 126 h 235"/>
                  <a:gd name="T72" fmla="*/ 99 w 146"/>
                  <a:gd name="T73" fmla="*/ 95 h 235"/>
                  <a:gd name="T74" fmla="*/ 112 w 146"/>
                  <a:gd name="T75" fmla="*/ 117 h 235"/>
                  <a:gd name="T76" fmla="*/ 129 w 146"/>
                  <a:gd name="T77" fmla="*/ 122 h 235"/>
                  <a:gd name="T78" fmla="*/ 132 w 146"/>
                  <a:gd name="T79" fmla="*/ 102 h 235"/>
                  <a:gd name="T80" fmla="*/ 122 w 146"/>
                  <a:gd name="T81" fmla="*/ 94 h 235"/>
                  <a:gd name="T82" fmla="*/ 135 w 146"/>
                  <a:gd name="T83" fmla="*/ 103 h 235"/>
                  <a:gd name="T84" fmla="*/ 103 w 146"/>
                  <a:gd name="T85" fmla="*/ 18 h 235"/>
                  <a:gd name="T86" fmla="*/ 96 w 146"/>
                  <a:gd name="T87" fmla="*/ 13 h 235"/>
                  <a:gd name="T88" fmla="*/ 99 w 146"/>
                  <a:gd name="T89" fmla="*/ 159 h 235"/>
                  <a:gd name="T90" fmla="*/ 122 w 146"/>
                  <a:gd name="T91" fmla="*/ 56 h 235"/>
                  <a:gd name="T92" fmla="*/ 123 w 146"/>
                  <a:gd name="T93" fmla="*/ 61 h 235"/>
                  <a:gd name="T94" fmla="*/ 129 w 146"/>
                  <a:gd name="T95" fmla="*/ 77 h 235"/>
                  <a:gd name="T96" fmla="*/ 121 w 146"/>
                  <a:gd name="T97" fmla="*/ 66 h 235"/>
                  <a:gd name="T98" fmla="*/ 94 w 146"/>
                  <a:gd name="T99" fmla="*/ 25 h 235"/>
                  <a:gd name="T100" fmla="*/ 101 w 146"/>
                  <a:gd name="T101" fmla="*/ 55 h 235"/>
                  <a:gd name="T102" fmla="*/ 110 w 146"/>
                  <a:gd name="T103" fmla="*/ 66 h 235"/>
                  <a:gd name="T104" fmla="*/ 88 w 146"/>
                  <a:gd name="T105" fmla="*/ 66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6" h="235">
                    <a:moveTo>
                      <a:pt x="74" y="1"/>
                    </a:moveTo>
                    <a:cubicBezTo>
                      <a:pt x="71" y="1"/>
                      <a:pt x="61" y="5"/>
                      <a:pt x="60" y="6"/>
                    </a:cubicBezTo>
                    <a:cubicBezTo>
                      <a:pt x="60" y="6"/>
                      <a:pt x="59" y="8"/>
                      <a:pt x="57" y="10"/>
                    </a:cubicBezTo>
                    <a:cubicBezTo>
                      <a:pt x="56" y="11"/>
                      <a:pt x="52" y="12"/>
                      <a:pt x="49" y="13"/>
                    </a:cubicBezTo>
                    <a:cubicBezTo>
                      <a:pt x="47" y="13"/>
                      <a:pt x="43" y="18"/>
                      <a:pt x="43" y="19"/>
                    </a:cubicBezTo>
                    <a:cubicBezTo>
                      <a:pt x="43" y="19"/>
                      <a:pt x="45" y="22"/>
                      <a:pt x="45" y="22"/>
                    </a:cubicBezTo>
                    <a:cubicBezTo>
                      <a:pt x="44" y="23"/>
                      <a:pt x="46" y="26"/>
                      <a:pt x="47" y="26"/>
                    </a:cubicBezTo>
                    <a:cubicBezTo>
                      <a:pt x="49" y="27"/>
                      <a:pt x="52" y="27"/>
                      <a:pt x="52" y="26"/>
                    </a:cubicBezTo>
                    <a:cubicBezTo>
                      <a:pt x="52" y="25"/>
                      <a:pt x="54" y="23"/>
                      <a:pt x="55" y="24"/>
                    </a:cubicBezTo>
                    <a:cubicBezTo>
                      <a:pt x="55" y="26"/>
                      <a:pt x="57" y="29"/>
                      <a:pt x="57" y="30"/>
                    </a:cubicBezTo>
                    <a:cubicBezTo>
                      <a:pt x="57" y="30"/>
                      <a:pt x="57" y="32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8" y="33"/>
                      <a:pt x="58" y="35"/>
                      <a:pt x="58" y="35"/>
                    </a:cubicBezTo>
                    <a:cubicBezTo>
                      <a:pt x="58" y="35"/>
                      <a:pt x="59" y="37"/>
                      <a:pt x="60" y="37"/>
                    </a:cubicBezTo>
                    <a:cubicBezTo>
                      <a:pt x="61" y="31"/>
                      <a:pt x="65" y="33"/>
                      <a:pt x="65" y="33"/>
                    </a:cubicBezTo>
                    <a:cubicBezTo>
                      <a:pt x="65" y="33"/>
                      <a:pt x="67" y="31"/>
                      <a:pt x="66" y="30"/>
                    </a:cubicBezTo>
                    <a:cubicBezTo>
                      <a:pt x="66" y="28"/>
                      <a:pt x="68" y="26"/>
                      <a:pt x="68" y="25"/>
                    </a:cubicBezTo>
                    <a:cubicBezTo>
                      <a:pt x="69" y="25"/>
                      <a:pt x="70" y="23"/>
                      <a:pt x="68" y="22"/>
                    </a:cubicBezTo>
                    <a:cubicBezTo>
                      <a:pt x="66" y="21"/>
                      <a:pt x="64" y="20"/>
                      <a:pt x="66" y="19"/>
                    </a:cubicBezTo>
                    <a:cubicBezTo>
                      <a:pt x="68" y="17"/>
                      <a:pt x="70" y="19"/>
                      <a:pt x="72" y="16"/>
                    </a:cubicBezTo>
                    <a:cubicBezTo>
                      <a:pt x="74" y="13"/>
                      <a:pt x="71" y="12"/>
                      <a:pt x="74" y="12"/>
                    </a:cubicBezTo>
                    <a:cubicBezTo>
                      <a:pt x="77" y="12"/>
                      <a:pt x="80" y="12"/>
                      <a:pt x="79" y="13"/>
                    </a:cubicBezTo>
                    <a:cubicBezTo>
                      <a:pt x="79" y="14"/>
                      <a:pt x="75" y="16"/>
                      <a:pt x="74" y="17"/>
                    </a:cubicBezTo>
                    <a:cubicBezTo>
                      <a:pt x="72" y="18"/>
                      <a:pt x="72" y="20"/>
                      <a:pt x="73" y="21"/>
                    </a:cubicBezTo>
                    <a:cubicBezTo>
                      <a:pt x="74" y="22"/>
                      <a:pt x="75" y="24"/>
                      <a:pt x="76" y="24"/>
                    </a:cubicBezTo>
                    <a:cubicBezTo>
                      <a:pt x="77" y="24"/>
                      <a:pt x="79" y="23"/>
                      <a:pt x="80" y="23"/>
                    </a:cubicBezTo>
                    <a:cubicBezTo>
                      <a:pt x="82" y="23"/>
                      <a:pt x="85" y="23"/>
                      <a:pt x="85" y="23"/>
                    </a:cubicBezTo>
                    <a:cubicBezTo>
                      <a:pt x="86" y="23"/>
                      <a:pt x="88" y="26"/>
                      <a:pt x="87" y="26"/>
                    </a:cubicBezTo>
                    <a:cubicBezTo>
                      <a:pt x="86" y="26"/>
                      <a:pt x="84" y="26"/>
                      <a:pt x="82" y="26"/>
                    </a:cubicBezTo>
                    <a:cubicBezTo>
                      <a:pt x="79" y="26"/>
                      <a:pt x="76" y="26"/>
                      <a:pt x="76" y="26"/>
                    </a:cubicBezTo>
                    <a:cubicBezTo>
                      <a:pt x="76" y="27"/>
                      <a:pt x="80" y="28"/>
                      <a:pt x="79" y="29"/>
                    </a:cubicBezTo>
                    <a:cubicBezTo>
                      <a:pt x="78" y="30"/>
                      <a:pt x="76" y="29"/>
                      <a:pt x="75" y="28"/>
                    </a:cubicBezTo>
                    <a:cubicBezTo>
                      <a:pt x="73" y="28"/>
                      <a:pt x="73" y="30"/>
                      <a:pt x="72" y="32"/>
                    </a:cubicBezTo>
                    <a:cubicBezTo>
                      <a:pt x="72" y="33"/>
                      <a:pt x="74" y="36"/>
                      <a:pt x="71" y="35"/>
                    </a:cubicBezTo>
                    <a:cubicBezTo>
                      <a:pt x="69" y="34"/>
                      <a:pt x="67" y="33"/>
                      <a:pt x="67" y="34"/>
                    </a:cubicBezTo>
                    <a:cubicBezTo>
                      <a:pt x="66" y="34"/>
                      <a:pt x="65" y="35"/>
                      <a:pt x="63" y="35"/>
                    </a:cubicBezTo>
                    <a:cubicBezTo>
                      <a:pt x="62" y="36"/>
                      <a:pt x="62" y="38"/>
                      <a:pt x="60" y="37"/>
                    </a:cubicBezTo>
                    <a:cubicBezTo>
                      <a:pt x="60" y="37"/>
                      <a:pt x="60" y="37"/>
                      <a:pt x="60" y="37"/>
                    </a:cubicBezTo>
                    <a:cubicBezTo>
                      <a:pt x="58" y="37"/>
                      <a:pt x="58" y="37"/>
                      <a:pt x="58" y="37"/>
                    </a:cubicBezTo>
                    <a:cubicBezTo>
                      <a:pt x="58" y="36"/>
                      <a:pt x="58" y="35"/>
                      <a:pt x="57" y="34"/>
                    </a:cubicBezTo>
                    <a:cubicBezTo>
                      <a:pt x="57" y="34"/>
                      <a:pt x="57" y="34"/>
                      <a:pt x="57" y="33"/>
                    </a:cubicBezTo>
                    <a:cubicBezTo>
                      <a:pt x="57" y="33"/>
                      <a:pt x="56" y="33"/>
                      <a:pt x="56" y="33"/>
                    </a:cubicBezTo>
                    <a:cubicBezTo>
                      <a:pt x="56" y="33"/>
                      <a:pt x="55" y="33"/>
                      <a:pt x="55" y="31"/>
                    </a:cubicBezTo>
                    <a:cubicBezTo>
                      <a:pt x="54" y="30"/>
                      <a:pt x="55" y="28"/>
                      <a:pt x="54" y="28"/>
                    </a:cubicBezTo>
                    <a:cubicBezTo>
                      <a:pt x="53" y="28"/>
                      <a:pt x="51" y="28"/>
                      <a:pt x="50" y="29"/>
                    </a:cubicBezTo>
                    <a:cubicBezTo>
                      <a:pt x="50" y="30"/>
                      <a:pt x="49" y="32"/>
                      <a:pt x="50" y="33"/>
                    </a:cubicBezTo>
                    <a:cubicBezTo>
                      <a:pt x="51" y="34"/>
                      <a:pt x="53" y="36"/>
                      <a:pt x="51" y="35"/>
                    </a:cubicBezTo>
                    <a:cubicBezTo>
                      <a:pt x="49" y="35"/>
                      <a:pt x="47" y="34"/>
                      <a:pt x="46" y="35"/>
                    </a:cubicBezTo>
                    <a:cubicBezTo>
                      <a:pt x="45" y="36"/>
                      <a:pt x="42" y="39"/>
                      <a:pt x="42" y="39"/>
                    </a:cubicBezTo>
                    <a:cubicBezTo>
                      <a:pt x="42" y="39"/>
                      <a:pt x="38" y="39"/>
                      <a:pt x="38" y="40"/>
                    </a:cubicBezTo>
                    <a:cubicBezTo>
                      <a:pt x="38" y="41"/>
                      <a:pt x="39" y="43"/>
                      <a:pt x="37" y="43"/>
                    </a:cubicBezTo>
                    <a:cubicBezTo>
                      <a:pt x="36" y="43"/>
                      <a:pt x="34" y="43"/>
                      <a:pt x="32" y="44"/>
                    </a:cubicBezTo>
                    <a:cubicBezTo>
                      <a:pt x="30" y="44"/>
                      <a:pt x="30" y="45"/>
                      <a:pt x="27" y="45"/>
                    </a:cubicBezTo>
                    <a:cubicBezTo>
                      <a:pt x="25" y="45"/>
                      <a:pt x="25" y="46"/>
                      <a:pt x="27" y="47"/>
                    </a:cubicBezTo>
                    <a:cubicBezTo>
                      <a:pt x="29" y="47"/>
                      <a:pt x="33" y="49"/>
                      <a:pt x="33" y="50"/>
                    </a:cubicBezTo>
                    <a:cubicBezTo>
                      <a:pt x="33" y="52"/>
                      <a:pt x="33" y="54"/>
                      <a:pt x="32" y="56"/>
                    </a:cubicBezTo>
                    <a:cubicBezTo>
                      <a:pt x="32" y="57"/>
                      <a:pt x="28" y="56"/>
                      <a:pt x="26" y="56"/>
                    </a:cubicBezTo>
                    <a:cubicBezTo>
                      <a:pt x="24" y="56"/>
                      <a:pt x="20" y="55"/>
                      <a:pt x="18" y="56"/>
                    </a:cubicBezTo>
                    <a:cubicBezTo>
                      <a:pt x="16" y="57"/>
                      <a:pt x="17" y="61"/>
                      <a:pt x="17" y="62"/>
                    </a:cubicBezTo>
                    <a:cubicBezTo>
                      <a:pt x="18" y="64"/>
                      <a:pt x="17" y="65"/>
                      <a:pt x="17" y="66"/>
                    </a:cubicBezTo>
                    <a:cubicBezTo>
                      <a:pt x="16" y="66"/>
                      <a:pt x="16" y="68"/>
                      <a:pt x="17" y="69"/>
                    </a:cubicBezTo>
                    <a:cubicBezTo>
                      <a:pt x="18" y="70"/>
                      <a:pt x="18" y="72"/>
                      <a:pt x="19" y="72"/>
                    </a:cubicBezTo>
                    <a:cubicBezTo>
                      <a:pt x="20" y="72"/>
                      <a:pt x="22" y="71"/>
                      <a:pt x="23" y="72"/>
                    </a:cubicBezTo>
                    <a:cubicBezTo>
                      <a:pt x="24" y="73"/>
                      <a:pt x="25" y="76"/>
                      <a:pt x="25" y="75"/>
                    </a:cubicBezTo>
                    <a:cubicBezTo>
                      <a:pt x="26" y="74"/>
                      <a:pt x="26" y="72"/>
                      <a:pt x="27" y="72"/>
                    </a:cubicBezTo>
                    <a:cubicBezTo>
                      <a:pt x="28" y="73"/>
                      <a:pt x="30" y="72"/>
                      <a:pt x="32" y="72"/>
                    </a:cubicBezTo>
                    <a:cubicBezTo>
                      <a:pt x="33" y="72"/>
                      <a:pt x="34" y="70"/>
                      <a:pt x="36" y="69"/>
                    </a:cubicBezTo>
                    <a:cubicBezTo>
                      <a:pt x="37" y="68"/>
                      <a:pt x="36" y="68"/>
                      <a:pt x="36" y="67"/>
                    </a:cubicBezTo>
                    <a:cubicBezTo>
                      <a:pt x="35" y="66"/>
                      <a:pt x="37" y="64"/>
                      <a:pt x="38" y="63"/>
                    </a:cubicBezTo>
                    <a:cubicBezTo>
                      <a:pt x="39" y="62"/>
                      <a:pt x="42" y="63"/>
                      <a:pt x="42" y="61"/>
                    </a:cubicBezTo>
                    <a:cubicBezTo>
                      <a:pt x="42" y="60"/>
                      <a:pt x="42" y="57"/>
                      <a:pt x="44" y="57"/>
                    </a:cubicBezTo>
                    <a:cubicBezTo>
                      <a:pt x="45" y="58"/>
                      <a:pt x="47" y="59"/>
                      <a:pt x="48" y="59"/>
                    </a:cubicBezTo>
                    <a:cubicBezTo>
                      <a:pt x="49" y="59"/>
                      <a:pt x="52" y="57"/>
                      <a:pt x="52" y="56"/>
                    </a:cubicBezTo>
                    <a:cubicBezTo>
                      <a:pt x="53" y="56"/>
                      <a:pt x="55" y="56"/>
                      <a:pt x="56" y="58"/>
                    </a:cubicBezTo>
                    <a:cubicBezTo>
                      <a:pt x="56" y="60"/>
                      <a:pt x="59" y="62"/>
                      <a:pt x="60" y="62"/>
                    </a:cubicBezTo>
                    <a:cubicBezTo>
                      <a:pt x="60" y="63"/>
                      <a:pt x="65" y="65"/>
                      <a:pt x="65" y="65"/>
                    </a:cubicBezTo>
                    <a:cubicBezTo>
                      <a:pt x="66" y="66"/>
                      <a:pt x="67" y="68"/>
                      <a:pt x="67" y="69"/>
                    </a:cubicBezTo>
                    <a:cubicBezTo>
                      <a:pt x="68" y="71"/>
                      <a:pt x="70" y="73"/>
                      <a:pt x="70" y="71"/>
                    </a:cubicBezTo>
                    <a:cubicBezTo>
                      <a:pt x="70" y="70"/>
                      <a:pt x="68" y="66"/>
                      <a:pt x="69" y="66"/>
                    </a:cubicBezTo>
                    <a:cubicBezTo>
                      <a:pt x="70" y="66"/>
                      <a:pt x="71" y="66"/>
                      <a:pt x="71" y="66"/>
                    </a:cubicBezTo>
                    <a:cubicBezTo>
                      <a:pt x="71" y="66"/>
                      <a:pt x="68" y="63"/>
                      <a:pt x="67" y="62"/>
                    </a:cubicBezTo>
                    <a:cubicBezTo>
                      <a:pt x="66" y="62"/>
                      <a:pt x="64" y="60"/>
                      <a:pt x="63" y="58"/>
                    </a:cubicBezTo>
                    <a:cubicBezTo>
                      <a:pt x="62" y="56"/>
                      <a:pt x="59" y="56"/>
                      <a:pt x="59" y="54"/>
                    </a:cubicBezTo>
                    <a:cubicBezTo>
                      <a:pt x="59" y="52"/>
                      <a:pt x="62" y="53"/>
                      <a:pt x="63" y="55"/>
                    </a:cubicBezTo>
                    <a:cubicBezTo>
                      <a:pt x="64" y="57"/>
                      <a:pt x="68" y="59"/>
                      <a:pt x="69" y="60"/>
                    </a:cubicBezTo>
                    <a:cubicBezTo>
                      <a:pt x="70" y="62"/>
                      <a:pt x="72" y="62"/>
                      <a:pt x="72" y="64"/>
                    </a:cubicBezTo>
                    <a:cubicBezTo>
                      <a:pt x="73" y="66"/>
                      <a:pt x="74" y="68"/>
                      <a:pt x="75" y="69"/>
                    </a:cubicBezTo>
                    <a:cubicBezTo>
                      <a:pt x="76" y="69"/>
                      <a:pt x="76" y="76"/>
                      <a:pt x="77" y="77"/>
                    </a:cubicBezTo>
                    <a:cubicBezTo>
                      <a:pt x="77" y="78"/>
                      <a:pt x="80" y="75"/>
                      <a:pt x="80" y="74"/>
                    </a:cubicBezTo>
                    <a:cubicBezTo>
                      <a:pt x="81" y="73"/>
                      <a:pt x="83" y="73"/>
                      <a:pt x="83" y="71"/>
                    </a:cubicBezTo>
                    <a:cubicBezTo>
                      <a:pt x="83" y="70"/>
                      <a:pt x="81" y="69"/>
                      <a:pt x="80" y="68"/>
                    </a:cubicBezTo>
                    <a:cubicBezTo>
                      <a:pt x="79" y="67"/>
                      <a:pt x="81" y="67"/>
                      <a:pt x="82" y="66"/>
                    </a:cubicBezTo>
                    <a:cubicBezTo>
                      <a:pt x="83" y="65"/>
                      <a:pt x="84" y="64"/>
                      <a:pt x="85" y="65"/>
                    </a:cubicBezTo>
                    <a:cubicBezTo>
                      <a:pt x="85" y="67"/>
                      <a:pt x="85" y="71"/>
                      <a:pt x="86" y="72"/>
                    </a:cubicBezTo>
                    <a:cubicBezTo>
                      <a:pt x="86" y="73"/>
                      <a:pt x="89" y="74"/>
                      <a:pt x="90" y="75"/>
                    </a:cubicBezTo>
                    <a:cubicBezTo>
                      <a:pt x="90" y="76"/>
                      <a:pt x="93" y="77"/>
                      <a:pt x="93" y="76"/>
                    </a:cubicBezTo>
                    <a:cubicBezTo>
                      <a:pt x="94" y="75"/>
                      <a:pt x="96" y="77"/>
                      <a:pt x="97" y="77"/>
                    </a:cubicBezTo>
                    <a:cubicBezTo>
                      <a:pt x="97" y="77"/>
                      <a:pt x="99" y="77"/>
                      <a:pt x="100" y="76"/>
                    </a:cubicBezTo>
                    <a:cubicBezTo>
                      <a:pt x="101" y="76"/>
                      <a:pt x="102" y="75"/>
                      <a:pt x="102" y="77"/>
                    </a:cubicBezTo>
                    <a:cubicBezTo>
                      <a:pt x="102" y="80"/>
                      <a:pt x="102" y="84"/>
                      <a:pt x="100" y="85"/>
                    </a:cubicBezTo>
                    <a:cubicBezTo>
                      <a:pt x="99" y="87"/>
                      <a:pt x="100" y="88"/>
                      <a:pt x="98" y="88"/>
                    </a:cubicBezTo>
                    <a:cubicBezTo>
                      <a:pt x="98" y="88"/>
                      <a:pt x="97" y="88"/>
                      <a:pt x="97" y="88"/>
                    </a:cubicBezTo>
                    <a:cubicBezTo>
                      <a:pt x="96" y="87"/>
                      <a:pt x="95" y="87"/>
                      <a:pt x="95" y="87"/>
                    </a:cubicBezTo>
                    <a:cubicBezTo>
                      <a:pt x="93" y="87"/>
                      <a:pt x="91" y="87"/>
                      <a:pt x="89" y="90"/>
                    </a:cubicBezTo>
                    <a:cubicBezTo>
                      <a:pt x="88" y="92"/>
                      <a:pt x="87" y="92"/>
                      <a:pt x="87" y="91"/>
                    </a:cubicBezTo>
                    <a:cubicBezTo>
                      <a:pt x="87" y="90"/>
                      <a:pt x="91" y="87"/>
                      <a:pt x="90" y="86"/>
                    </a:cubicBezTo>
                    <a:cubicBezTo>
                      <a:pt x="90" y="85"/>
                      <a:pt x="86" y="86"/>
                      <a:pt x="84" y="85"/>
                    </a:cubicBezTo>
                    <a:cubicBezTo>
                      <a:pt x="82" y="85"/>
                      <a:pt x="81" y="84"/>
                      <a:pt x="79" y="83"/>
                    </a:cubicBezTo>
                    <a:cubicBezTo>
                      <a:pt x="78" y="83"/>
                      <a:pt x="77" y="87"/>
                      <a:pt x="76" y="89"/>
                    </a:cubicBezTo>
                    <a:cubicBezTo>
                      <a:pt x="74" y="91"/>
                      <a:pt x="72" y="88"/>
                      <a:pt x="70" y="87"/>
                    </a:cubicBezTo>
                    <a:cubicBezTo>
                      <a:pt x="69" y="87"/>
                      <a:pt x="66" y="85"/>
                      <a:pt x="66" y="85"/>
                    </a:cubicBezTo>
                    <a:cubicBezTo>
                      <a:pt x="66" y="85"/>
                      <a:pt x="63" y="83"/>
                      <a:pt x="62" y="83"/>
                    </a:cubicBezTo>
                    <a:cubicBezTo>
                      <a:pt x="61" y="83"/>
                      <a:pt x="59" y="81"/>
                      <a:pt x="58" y="80"/>
                    </a:cubicBezTo>
                    <a:cubicBezTo>
                      <a:pt x="57" y="80"/>
                      <a:pt x="55" y="79"/>
                      <a:pt x="57" y="78"/>
                    </a:cubicBezTo>
                    <a:cubicBezTo>
                      <a:pt x="58" y="77"/>
                      <a:pt x="61" y="79"/>
                      <a:pt x="59" y="75"/>
                    </a:cubicBezTo>
                    <a:cubicBezTo>
                      <a:pt x="58" y="70"/>
                      <a:pt x="53" y="71"/>
                      <a:pt x="52" y="71"/>
                    </a:cubicBezTo>
                    <a:cubicBezTo>
                      <a:pt x="51" y="72"/>
                      <a:pt x="43" y="71"/>
                      <a:pt x="42" y="71"/>
                    </a:cubicBezTo>
                    <a:cubicBezTo>
                      <a:pt x="42" y="71"/>
                      <a:pt x="37" y="73"/>
                      <a:pt x="35" y="74"/>
                    </a:cubicBezTo>
                    <a:cubicBezTo>
                      <a:pt x="34" y="75"/>
                      <a:pt x="31" y="76"/>
                      <a:pt x="30" y="76"/>
                    </a:cubicBezTo>
                    <a:cubicBezTo>
                      <a:pt x="30" y="77"/>
                      <a:pt x="26" y="75"/>
                      <a:pt x="24" y="76"/>
                    </a:cubicBezTo>
                    <a:cubicBezTo>
                      <a:pt x="22" y="78"/>
                      <a:pt x="20" y="80"/>
                      <a:pt x="20" y="80"/>
                    </a:cubicBezTo>
                    <a:cubicBezTo>
                      <a:pt x="19" y="80"/>
                      <a:pt x="18" y="81"/>
                      <a:pt x="17" y="84"/>
                    </a:cubicBezTo>
                    <a:cubicBezTo>
                      <a:pt x="16" y="87"/>
                      <a:pt x="17" y="90"/>
                      <a:pt x="15" y="91"/>
                    </a:cubicBezTo>
                    <a:cubicBezTo>
                      <a:pt x="13" y="92"/>
                      <a:pt x="9" y="94"/>
                      <a:pt x="8" y="95"/>
                    </a:cubicBezTo>
                    <a:cubicBezTo>
                      <a:pt x="6" y="97"/>
                      <a:pt x="5" y="103"/>
                      <a:pt x="3" y="106"/>
                    </a:cubicBezTo>
                    <a:cubicBezTo>
                      <a:pt x="2" y="109"/>
                      <a:pt x="3" y="111"/>
                      <a:pt x="4" y="113"/>
                    </a:cubicBezTo>
                    <a:cubicBezTo>
                      <a:pt x="4" y="115"/>
                      <a:pt x="5" y="118"/>
                      <a:pt x="3" y="121"/>
                    </a:cubicBezTo>
                    <a:cubicBezTo>
                      <a:pt x="1" y="124"/>
                      <a:pt x="2" y="125"/>
                      <a:pt x="1" y="126"/>
                    </a:cubicBezTo>
                    <a:cubicBezTo>
                      <a:pt x="0" y="126"/>
                      <a:pt x="2" y="127"/>
                      <a:pt x="2" y="129"/>
                    </a:cubicBezTo>
                    <a:cubicBezTo>
                      <a:pt x="2" y="131"/>
                      <a:pt x="0" y="133"/>
                      <a:pt x="4" y="135"/>
                    </a:cubicBezTo>
                    <a:cubicBezTo>
                      <a:pt x="7" y="137"/>
                      <a:pt x="10" y="137"/>
                      <a:pt x="11" y="139"/>
                    </a:cubicBezTo>
                    <a:cubicBezTo>
                      <a:pt x="12" y="142"/>
                      <a:pt x="15" y="148"/>
                      <a:pt x="15" y="148"/>
                    </a:cubicBezTo>
                    <a:cubicBezTo>
                      <a:pt x="15" y="148"/>
                      <a:pt x="18" y="151"/>
                      <a:pt x="20" y="152"/>
                    </a:cubicBezTo>
                    <a:cubicBezTo>
                      <a:pt x="21" y="154"/>
                      <a:pt x="22" y="153"/>
                      <a:pt x="22" y="151"/>
                    </a:cubicBezTo>
                    <a:cubicBezTo>
                      <a:pt x="22" y="150"/>
                      <a:pt x="24" y="150"/>
                      <a:pt x="27" y="150"/>
                    </a:cubicBezTo>
                    <a:cubicBezTo>
                      <a:pt x="29" y="150"/>
                      <a:pt x="31" y="150"/>
                      <a:pt x="33" y="150"/>
                    </a:cubicBezTo>
                    <a:cubicBezTo>
                      <a:pt x="36" y="149"/>
                      <a:pt x="38" y="146"/>
                      <a:pt x="39" y="145"/>
                    </a:cubicBezTo>
                    <a:cubicBezTo>
                      <a:pt x="39" y="145"/>
                      <a:pt x="43" y="144"/>
                      <a:pt x="45" y="146"/>
                    </a:cubicBezTo>
                    <a:cubicBezTo>
                      <a:pt x="47" y="148"/>
                      <a:pt x="47" y="150"/>
                      <a:pt x="48" y="151"/>
                    </a:cubicBezTo>
                    <a:cubicBezTo>
                      <a:pt x="49" y="153"/>
                      <a:pt x="51" y="152"/>
                      <a:pt x="53" y="150"/>
                    </a:cubicBezTo>
                    <a:cubicBezTo>
                      <a:pt x="54" y="149"/>
                      <a:pt x="54" y="149"/>
                      <a:pt x="55" y="151"/>
                    </a:cubicBezTo>
                    <a:cubicBezTo>
                      <a:pt x="57" y="152"/>
                      <a:pt x="58" y="153"/>
                      <a:pt x="56" y="155"/>
                    </a:cubicBezTo>
                    <a:cubicBezTo>
                      <a:pt x="55" y="157"/>
                      <a:pt x="55" y="159"/>
                      <a:pt x="54" y="162"/>
                    </a:cubicBezTo>
                    <a:cubicBezTo>
                      <a:pt x="53" y="165"/>
                      <a:pt x="55" y="165"/>
                      <a:pt x="57" y="166"/>
                    </a:cubicBezTo>
                    <a:cubicBezTo>
                      <a:pt x="59" y="167"/>
                      <a:pt x="60" y="175"/>
                      <a:pt x="61" y="176"/>
                    </a:cubicBezTo>
                    <a:cubicBezTo>
                      <a:pt x="62" y="178"/>
                      <a:pt x="60" y="182"/>
                      <a:pt x="61" y="184"/>
                    </a:cubicBezTo>
                    <a:cubicBezTo>
                      <a:pt x="62" y="186"/>
                      <a:pt x="63" y="187"/>
                      <a:pt x="61" y="189"/>
                    </a:cubicBezTo>
                    <a:cubicBezTo>
                      <a:pt x="60" y="190"/>
                      <a:pt x="58" y="192"/>
                      <a:pt x="58" y="196"/>
                    </a:cubicBezTo>
                    <a:cubicBezTo>
                      <a:pt x="57" y="200"/>
                      <a:pt x="58" y="202"/>
                      <a:pt x="58" y="203"/>
                    </a:cubicBezTo>
                    <a:cubicBezTo>
                      <a:pt x="59" y="204"/>
                      <a:pt x="60" y="208"/>
                      <a:pt x="61" y="209"/>
                    </a:cubicBezTo>
                    <a:cubicBezTo>
                      <a:pt x="62" y="210"/>
                      <a:pt x="64" y="212"/>
                      <a:pt x="64" y="214"/>
                    </a:cubicBezTo>
                    <a:cubicBezTo>
                      <a:pt x="64" y="216"/>
                      <a:pt x="61" y="219"/>
                      <a:pt x="62" y="220"/>
                    </a:cubicBezTo>
                    <a:cubicBezTo>
                      <a:pt x="63" y="221"/>
                      <a:pt x="63" y="222"/>
                      <a:pt x="64" y="224"/>
                    </a:cubicBezTo>
                    <a:cubicBezTo>
                      <a:pt x="66" y="225"/>
                      <a:pt x="66" y="228"/>
                      <a:pt x="66" y="228"/>
                    </a:cubicBezTo>
                    <a:cubicBezTo>
                      <a:pt x="66" y="228"/>
                      <a:pt x="66" y="229"/>
                      <a:pt x="66" y="230"/>
                    </a:cubicBezTo>
                    <a:cubicBezTo>
                      <a:pt x="66" y="232"/>
                      <a:pt x="66" y="233"/>
                      <a:pt x="67" y="234"/>
                    </a:cubicBezTo>
                    <a:cubicBezTo>
                      <a:pt x="69" y="235"/>
                      <a:pt x="70" y="235"/>
                      <a:pt x="70" y="234"/>
                    </a:cubicBezTo>
                    <a:cubicBezTo>
                      <a:pt x="71" y="233"/>
                      <a:pt x="75" y="231"/>
                      <a:pt x="77" y="231"/>
                    </a:cubicBezTo>
                    <a:cubicBezTo>
                      <a:pt x="79" y="231"/>
                      <a:pt x="81" y="231"/>
                      <a:pt x="83" y="230"/>
                    </a:cubicBezTo>
                    <a:cubicBezTo>
                      <a:pt x="85" y="228"/>
                      <a:pt x="89" y="224"/>
                      <a:pt x="90" y="223"/>
                    </a:cubicBezTo>
                    <a:cubicBezTo>
                      <a:pt x="91" y="221"/>
                      <a:pt x="94" y="219"/>
                      <a:pt x="94" y="218"/>
                    </a:cubicBezTo>
                    <a:cubicBezTo>
                      <a:pt x="93" y="216"/>
                      <a:pt x="92" y="214"/>
                      <a:pt x="93" y="214"/>
                    </a:cubicBezTo>
                    <a:cubicBezTo>
                      <a:pt x="94" y="213"/>
                      <a:pt x="98" y="212"/>
                      <a:pt x="98" y="211"/>
                    </a:cubicBezTo>
                    <a:cubicBezTo>
                      <a:pt x="99" y="210"/>
                      <a:pt x="98" y="206"/>
                      <a:pt x="98" y="205"/>
                    </a:cubicBezTo>
                    <a:cubicBezTo>
                      <a:pt x="98" y="204"/>
                      <a:pt x="99" y="202"/>
                      <a:pt x="100" y="200"/>
                    </a:cubicBezTo>
                    <a:cubicBezTo>
                      <a:pt x="101" y="198"/>
                      <a:pt x="104" y="196"/>
                      <a:pt x="105" y="195"/>
                    </a:cubicBezTo>
                    <a:cubicBezTo>
                      <a:pt x="105" y="195"/>
                      <a:pt x="108" y="192"/>
                      <a:pt x="108" y="190"/>
                    </a:cubicBezTo>
                    <a:cubicBezTo>
                      <a:pt x="109" y="187"/>
                      <a:pt x="108" y="184"/>
                      <a:pt x="109" y="183"/>
                    </a:cubicBezTo>
                    <a:cubicBezTo>
                      <a:pt x="109" y="182"/>
                      <a:pt x="109" y="181"/>
                      <a:pt x="108" y="179"/>
                    </a:cubicBezTo>
                    <a:cubicBezTo>
                      <a:pt x="107" y="178"/>
                      <a:pt x="107" y="174"/>
                      <a:pt x="107" y="174"/>
                    </a:cubicBezTo>
                    <a:cubicBezTo>
                      <a:pt x="106" y="173"/>
                      <a:pt x="107" y="168"/>
                      <a:pt x="108" y="168"/>
                    </a:cubicBezTo>
                    <a:cubicBezTo>
                      <a:pt x="109" y="167"/>
                      <a:pt x="111" y="163"/>
                      <a:pt x="112" y="162"/>
                    </a:cubicBezTo>
                    <a:cubicBezTo>
                      <a:pt x="113" y="160"/>
                      <a:pt x="116" y="154"/>
                      <a:pt x="117" y="154"/>
                    </a:cubicBezTo>
                    <a:cubicBezTo>
                      <a:pt x="119" y="153"/>
                      <a:pt x="121" y="150"/>
                      <a:pt x="121" y="149"/>
                    </a:cubicBezTo>
                    <a:cubicBezTo>
                      <a:pt x="121" y="147"/>
                      <a:pt x="125" y="140"/>
                      <a:pt x="125" y="139"/>
                    </a:cubicBezTo>
                    <a:cubicBezTo>
                      <a:pt x="125" y="138"/>
                      <a:pt x="126" y="133"/>
                      <a:pt x="126" y="132"/>
                    </a:cubicBezTo>
                    <a:cubicBezTo>
                      <a:pt x="125" y="131"/>
                      <a:pt x="121" y="134"/>
                      <a:pt x="120" y="134"/>
                    </a:cubicBezTo>
                    <a:cubicBezTo>
                      <a:pt x="119" y="134"/>
                      <a:pt x="118" y="136"/>
                      <a:pt x="116" y="136"/>
                    </a:cubicBezTo>
                    <a:cubicBezTo>
                      <a:pt x="114" y="136"/>
                      <a:pt x="115" y="133"/>
                      <a:pt x="114" y="132"/>
                    </a:cubicBezTo>
                    <a:cubicBezTo>
                      <a:pt x="114" y="131"/>
                      <a:pt x="112" y="127"/>
                      <a:pt x="112" y="126"/>
                    </a:cubicBezTo>
                    <a:cubicBezTo>
                      <a:pt x="111" y="126"/>
                      <a:pt x="110" y="124"/>
                      <a:pt x="109" y="122"/>
                    </a:cubicBezTo>
                    <a:cubicBezTo>
                      <a:pt x="108" y="119"/>
                      <a:pt x="106" y="118"/>
                      <a:pt x="104" y="116"/>
                    </a:cubicBezTo>
                    <a:cubicBezTo>
                      <a:pt x="103" y="114"/>
                      <a:pt x="105" y="109"/>
                      <a:pt x="103" y="106"/>
                    </a:cubicBezTo>
                    <a:cubicBezTo>
                      <a:pt x="102" y="103"/>
                      <a:pt x="101" y="100"/>
                      <a:pt x="100" y="97"/>
                    </a:cubicBezTo>
                    <a:cubicBezTo>
                      <a:pt x="100" y="97"/>
                      <a:pt x="100" y="96"/>
                      <a:pt x="99" y="95"/>
                    </a:cubicBezTo>
                    <a:cubicBezTo>
                      <a:pt x="101" y="95"/>
                      <a:pt x="103" y="94"/>
                      <a:pt x="103" y="95"/>
                    </a:cubicBezTo>
                    <a:cubicBezTo>
                      <a:pt x="103" y="97"/>
                      <a:pt x="105" y="100"/>
                      <a:pt x="105" y="102"/>
                    </a:cubicBezTo>
                    <a:cubicBezTo>
                      <a:pt x="105" y="104"/>
                      <a:pt x="107" y="103"/>
                      <a:pt x="107" y="105"/>
                    </a:cubicBezTo>
                    <a:cubicBezTo>
                      <a:pt x="107" y="107"/>
                      <a:pt x="108" y="112"/>
                      <a:pt x="109" y="112"/>
                    </a:cubicBezTo>
                    <a:cubicBezTo>
                      <a:pt x="109" y="113"/>
                      <a:pt x="112" y="116"/>
                      <a:pt x="112" y="117"/>
                    </a:cubicBezTo>
                    <a:cubicBezTo>
                      <a:pt x="113" y="118"/>
                      <a:pt x="113" y="120"/>
                      <a:pt x="113" y="123"/>
                    </a:cubicBezTo>
                    <a:cubicBezTo>
                      <a:pt x="114" y="126"/>
                      <a:pt x="114" y="129"/>
                      <a:pt x="115" y="130"/>
                    </a:cubicBezTo>
                    <a:cubicBezTo>
                      <a:pt x="116" y="131"/>
                      <a:pt x="120" y="129"/>
                      <a:pt x="120" y="128"/>
                    </a:cubicBezTo>
                    <a:cubicBezTo>
                      <a:pt x="121" y="128"/>
                      <a:pt x="125" y="125"/>
                      <a:pt x="126" y="125"/>
                    </a:cubicBezTo>
                    <a:cubicBezTo>
                      <a:pt x="127" y="124"/>
                      <a:pt x="127" y="123"/>
                      <a:pt x="129" y="122"/>
                    </a:cubicBezTo>
                    <a:cubicBezTo>
                      <a:pt x="131" y="122"/>
                      <a:pt x="132" y="120"/>
                      <a:pt x="133" y="118"/>
                    </a:cubicBezTo>
                    <a:cubicBezTo>
                      <a:pt x="134" y="117"/>
                      <a:pt x="135" y="113"/>
                      <a:pt x="136" y="112"/>
                    </a:cubicBezTo>
                    <a:cubicBezTo>
                      <a:pt x="136" y="111"/>
                      <a:pt x="137" y="110"/>
                      <a:pt x="136" y="108"/>
                    </a:cubicBezTo>
                    <a:cubicBezTo>
                      <a:pt x="136" y="107"/>
                      <a:pt x="134" y="105"/>
                      <a:pt x="133" y="105"/>
                    </a:cubicBezTo>
                    <a:cubicBezTo>
                      <a:pt x="132" y="104"/>
                      <a:pt x="132" y="102"/>
                      <a:pt x="132" y="102"/>
                    </a:cubicBezTo>
                    <a:cubicBezTo>
                      <a:pt x="131" y="102"/>
                      <a:pt x="131" y="103"/>
                      <a:pt x="130" y="104"/>
                    </a:cubicBezTo>
                    <a:cubicBezTo>
                      <a:pt x="129" y="105"/>
                      <a:pt x="128" y="107"/>
                      <a:pt x="127" y="106"/>
                    </a:cubicBezTo>
                    <a:cubicBezTo>
                      <a:pt x="127" y="106"/>
                      <a:pt x="128" y="105"/>
                      <a:pt x="126" y="103"/>
                    </a:cubicBezTo>
                    <a:cubicBezTo>
                      <a:pt x="125" y="102"/>
                      <a:pt x="125" y="101"/>
                      <a:pt x="125" y="100"/>
                    </a:cubicBezTo>
                    <a:cubicBezTo>
                      <a:pt x="125" y="99"/>
                      <a:pt x="122" y="96"/>
                      <a:pt x="122" y="94"/>
                    </a:cubicBezTo>
                    <a:cubicBezTo>
                      <a:pt x="121" y="92"/>
                      <a:pt x="123" y="90"/>
                      <a:pt x="124" y="91"/>
                    </a:cubicBezTo>
                    <a:cubicBezTo>
                      <a:pt x="125" y="93"/>
                      <a:pt x="125" y="96"/>
                      <a:pt x="127" y="97"/>
                    </a:cubicBezTo>
                    <a:cubicBezTo>
                      <a:pt x="128" y="98"/>
                      <a:pt x="129" y="100"/>
                      <a:pt x="130" y="101"/>
                    </a:cubicBezTo>
                    <a:cubicBezTo>
                      <a:pt x="131" y="101"/>
                      <a:pt x="132" y="99"/>
                      <a:pt x="133" y="99"/>
                    </a:cubicBezTo>
                    <a:cubicBezTo>
                      <a:pt x="133" y="99"/>
                      <a:pt x="134" y="103"/>
                      <a:pt x="135" y="103"/>
                    </a:cubicBezTo>
                    <a:cubicBezTo>
                      <a:pt x="136" y="104"/>
                      <a:pt x="139" y="104"/>
                      <a:pt x="139" y="104"/>
                    </a:cubicBezTo>
                    <a:cubicBezTo>
                      <a:pt x="140" y="104"/>
                      <a:pt x="142" y="105"/>
                      <a:pt x="142" y="104"/>
                    </a:cubicBezTo>
                    <a:cubicBezTo>
                      <a:pt x="142" y="103"/>
                      <a:pt x="146" y="101"/>
                      <a:pt x="146" y="101"/>
                    </a:cubicBezTo>
                    <a:cubicBezTo>
                      <a:pt x="146" y="101"/>
                      <a:pt x="146" y="100"/>
                      <a:pt x="146" y="98"/>
                    </a:cubicBezTo>
                    <a:cubicBezTo>
                      <a:pt x="140" y="67"/>
                      <a:pt x="124" y="39"/>
                      <a:pt x="103" y="18"/>
                    </a:cubicBezTo>
                    <a:cubicBezTo>
                      <a:pt x="102" y="18"/>
                      <a:pt x="102" y="18"/>
                      <a:pt x="101" y="17"/>
                    </a:cubicBezTo>
                    <a:cubicBezTo>
                      <a:pt x="99" y="16"/>
                      <a:pt x="99" y="16"/>
                      <a:pt x="99" y="17"/>
                    </a:cubicBezTo>
                    <a:cubicBezTo>
                      <a:pt x="98" y="17"/>
                      <a:pt x="97" y="18"/>
                      <a:pt x="96" y="17"/>
                    </a:cubicBezTo>
                    <a:cubicBezTo>
                      <a:pt x="96" y="15"/>
                      <a:pt x="96" y="15"/>
                      <a:pt x="95" y="14"/>
                    </a:cubicBezTo>
                    <a:cubicBezTo>
                      <a:pt x="94" y="13"/>
                      <a:pt x="95" y="13"/>
                      <a:pt x="96" y="13"/>
                    </a:cubicBezTo>
                    <a:cubicBezTo>
                      <a:pt x="97" y="14"/>
                      <a:pt x="98" y="14"/>
                      <a:pt x="99" y="14"/>
                    </a:cubicBezTo>
                    <a:cubicBezTo>
                      <a:pt x="95" y="11"/>
                      <a:pt x="92" y="8"/>
                      <a:pt x="88" y="5"/>
                    </a:cubicBezTo>
                    <a:cubicBezTo>
                      <a:pt x="88" y="5"/>
                      <a:pt x="88" y="5"/>
                      <a:pt x="88" y="5"/>
                    </a:cubicBezTo>
                    <a:cubicBezTo>
                      <a:pt x="86" y="5"/>
                      <a:pt x="78" y="0"/>
                      <a:pt x="74" y="1"/>
                    </a:cubicBezTo>
                    <a:close/>
                    <a:moveTo>
                      <a:pt x="99" y="159"/>
                    </a:moveTo>
                    <a:cubicBezTo>
                      <a:pt x="100" y="160"/>
                      <a:pt x="98" y="165"/>
                      <a:pt x="96" y="165"/>
                    </a:cubicBezTo>
                    <a:cubicBezTo>
                      <a:pt x="95" y="165"/>
                      <a:pt x="96" y="160"/>
                      <a:pt x="96" y="159"/>
                    </a:cubicBezTo>
                    <a:cubicBezTo>
                      <a:pt x="97" y="158"/>
                      <a:pt x="99" y="158"/>
                      <a:pt x="99" y="159"/>
                    </a:cubicBezTo>
                    <a:close/>
                    <a:moveTo>
                      <a:pt x="118" y="56"/>
                    </a:moveTo>
                    <a:cubicBezTo>
                      <a:pt x="119" y="55"/>
                      <a:pt x="121" y="57"/>
                      <a:pt x="122" y="56"/>
                    </a:cubicBezTo>
                    <a:cubicBezTo>
                      <a:pt x="123" y="56"/>
                      <a:pt x="124" y="55"/>
                      <a:pt x="124" y="54"/>
                    </a:cubicBezTo>
                    <a:cubicBezTo>
                      <a:pt x="125" y="54"/>
                      <a:pt x="127" y="55"/>
                      <a:pt x="127" y="56"/>
                    </a:cubicBezTo>
                    <a:cubicBezTo>
                      <a:pt x="128" y="57"/>
                      <a:pt x="129" y="59"/>
                      <a:pt x="129" y="60"/>
                    </a:cubicBezTo>
                    <a:cubicBezTo>
                      <a:pt x="128" y="60"/>
                      <a:pt x="126" y="60"/>
                      <a:pt x="126" y="59"/>
                    </a:cubicBezTo>
                    <a:cubicBezTo>
                      <a:pt x="125" y="58"/>
                      <a:pt x="123" y="59"/>
                      <a:pt x="123" y="61"/>
                    </a:cubicBezTo>
                    <a:cubicBezTo>
                      <a:pt x="123" y="63"/>
                      <a:pt x="124" y="62"/>
                      <a:pt x="124" y="62"/>
                    </a:cubicBezTo>
                    <a:cubicBezTo>
                      <a:pt x="125" y="63"/>
                      <a:pt x="125" y="64"/>
                      <a:pt x="126" y="66"/>
                    </a:cubicBezTo>
                    <a:cubicBezTo>
                      <a:pt x="126" y="67"/>
                      <a:pt x="127" y="66"/>
                      <a:pt x="128" y="67"/>
                    </a:cubicBezTo>
                    <a:cubicBezTo>
                      <a:pt x="128" y="68"/>
                      <a:pt x="126" y="69"/>
                      <a:pt x="127" y="70"/>
                    </a:cubicBezTo>
                    <a:cubicBezTo>
                      <a:pt x="128" y="72"/>
                      <a:pt x="129" y="76"/>
                      <a:pt x="129" y="77"/>
                    </a:cubicBezTo>
                    <a:cubicBezTo>
                      <a:pt x="129" y="78"/>
                      <a:pt x="127" y="78"/>
                      <a:pt x="126" y="78"/>
                    </a:cubicBezTo>
                    <a:cubicBezTo>
                      <a:pt x="125" y="78"/>
                      <a:pt x="122" y="76"/>
                      <a:pt x="122" y="76"/>
                    </a:cubicBezTo>
                    <a:cubicBezTo>
                      <a:pt x="121" y="75"/>
                      <a:pt x="120" y="71"/>
                      <a:pt x="121" y="71"/>
                    </a:cubicBezTo>
                    <a:cubicBezTo>
                      <a:pt x="122" y="71"/>
                      <a:pt x="122" y="71"/>
                      <a:pt x="124" y="69"/>
                    </a:cubicBezTo>
                    <a:cubicBezTo>
                      <a:pt x="125" y="68"/>
                      <a:pt x="122" y="67"/>
                      <a:pt x="121" y="66"/>
                    </a:cubicBezTo>
                    <a:cubicBezTo>
                      <a:pt x="120" y="66"/>
                      <a:pt x="118" y="62"/>
                      <a:pt x="117" y="60"/>
                    </a:cubicBezTo>
                    <a:cubicBezTo>
                      <a:pt x="117" y="59"/>
                      <a:pt x="117" y="57"/>
                      <a:pt x="118" y="56"/>
                    </a:cubicBezTo>
                    <a:close/>
                    <a:moveTo>
                      <a:pt x="94" y="25"/>
                    </a:moveTo>
                    <a:cubicBezTo>
                      <a:pt x="93" y="26"/>
                      <a:pt x="89" y="24"/>
                      <a:pt x="89" y="23"/>
                    </a:cubicBezTo>
                    <a:cubicBezTo>
                      <a:pt x="90" y="20"/>
                      <a:pt x="94" y="24"/>
                      <a:pt x="94" y="25"/>
                    </a:cubicBezTo>
                    <a:close/>
                    <a:moveTo>
                      <a:pt x="91" y="54"/>
                    </a:moveTo>
                    <a:cubicBezTo>
                      <a:pt x="92" y="53"/>
                      <a:pt x="93" y="53"/>
                      <a:pt x="94" y="53"/>
                    </a:cubicBezTo>
                    <a:cubicBezTo>
                      <a:pt x="95" y="53"/>
                      <a:pt x="97" y="57"/>
                      <a:pt x="97" y="58"/>
                    </a:cubicBezTo>
                    <a:cubicBezTo>
                      <a:pt x="98" y="59"/>
                      <a:pt x="99" y="57"/>
                      <a:pt x="99" y="57"/>
                    </a:cubicBezTo>
                    <a:cubicBezTo>
                      <a:pt x="100" y="57"/>
                      <a:pt x="101" y="56"/>
                      <a:pt x="101" y="55"/>
                    </a:cubicBezTo>
                    <a:cubicBezTo>
                      <a:pt x="101" y="54"/>
                      <a:pt x="102" y="54"/>
                      <a:pt x="103" y="54"/>
                    </a:cubicBezTo>
                    <a:cubicBezTo>
                      <a:pt x="105" y="54"/>
                      <a:pt x="104" y="55"/>
                      <a:pt x="103" y="55"/>
                    </a:cubicBezTo>
                    <a:cubicBezTo>
                      <a:pt x="102" y="56"/>
                      <a:pt x="102" y="57"/>
                      <a:pt x="104" y="57"/>
                    </a:cubicBezTo>
                    <a:cubicBezTo>
                      <a:pt x="106" y="58"/>
                      <a:pt x="107" y="60"/>
                      <a:pt x="109" y="62"/>
                    </a:cubicBezTo>
                    <a:cubicBezTo>
                      <a:pt x="111" y="63"/>
                      <a:pt x="111" y="66"/>
                      <a:pt x="110" y="66"/>
                    </a:cubicBezTo>
                    <a:cubicBezTo>
                      <a:pt x="109" y="67"/>
                      <a:pt x="106" y="67"/>
                      <a:pt x="105" y="66"/>
                    </a:cubicBezTo>
                    <a:cubicBezTo>
                      <a:pt x="104" y="66"/>
                      <a:pt x="102" y="64"/>
                      <a:pt x="100" y="64"/>
                    </a:cubicBezTo>
                    <a:cubicBezTo>
                      <a:pt x="98" y="63"/>
                      <a:pt x="96" y="63"/>
                      <a:pt x="95" y="64"/>
                    </a:cubicBezTo>
                    <a:cubicBezTo>
                      <a:pt x="95" y="66"/>
                      <a:pt x="92" y="65"/>
                      <a:pt x="91" y="65"/>
                    </a:cubicBezTo>
                    <a:cubicBezTo>
                      <a:pt x="90" y="65"/>
                      <a:pt x="89" y="67"/>
                      <a:pt x="88" y="66"/>
                    </a:cubicBezTo>
                    <a:cubicBezTo>
                      <a:pt x="88" y="66"/>
                      <a:pt x="89" y="62"/>
                      <a:pt x="88" y="62"/>
                    </a:cubicBezTo>
                    <a:cubicBezTo>
                      <a:pt x="87" y="62"/>
                      <a:pt x="88" y="59"/>
                      <a:pt x="89" y="59"/>
                    </a:cubicBezTo>
                    <a:cubicBezTo>
                      <a:pt x="90" y="58"/>
                      <a:pt x="91" y="56"/>
                      <a:pt x="91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îŝliḓé">
                <a:extLst>
                  <a:ext uri="{FF2B5EF4-FFF2-40B4-BE49-F238E27FC236}">
                    <a16:creationId xmlns:a16="http://schemas.microsoft.com/office/drawing/2014/main" id="{7DFA22FE-1DDE-4E11-A3A9-531082B3F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4624" y="4184858"/>
                <a:ext cx="22901" cy="30535"/>
              </a:xfrm>
              <a:custGeom>
                <a:avLst/>
                <a:gdLst>
                  <a:gd name="T0" fmla="*/ 1 w 3"/>
                  <a:gd name="T1" fmla="*/ 4 h 4"/>
                  <a:gd name="T2" fmla="*/ 3 w 3"/>
                  <a:gd name="T3" fmla="*/ 4 h 4"/>
                  <a:gd name="T4" fmla="*/ 1 w 3"/>
                  <a:gd name="T5" fmla="*/ 2 h 4"/>
                  <a:gd name="T6" fmla="*/ 0 w 3"/>
                  <a:gd name="T7" fmla="*/ 0 h 4"/>
                  <a:gd name="T8" fmla="*/ 0 w 3"/>
                  <a:gd name="T9" fmla="*/ 0 h 4"/>
                  <a:gd name="T10" fmla="*/ 0 w 3"/>
                  <a:gd name="T11" fmla="*/ 1 h 4"/>
                  <a:gd name="T12" fmla="*/ 1 w 3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cubicBezTo>
                      <a:pt x="1" y="4"/>
                      <a:pt x="1" y="4"/>
                      <a:pt x="3" y="4"/>
                    </a:cubicBezTo>
                    <a:cubicBezTo>
                      <a:pt x="2" y="4"/>
                      <a:pt x="1" y="2"/>
                      <a:pt x="1" y="2"/>
                    </a:cubicBezTo>
                    <a:cubicBezTo>
                      <a:pt x="1" y="2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3"/>
                      <a:pt x="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îş1ïḓe">
                <a:extLst>
                  <a:ext uri="{FF2B5EF4-FFF2-40B4-BE49-F238E27FC236}">
                    <a16:creationId xmlns:a16="http://schemas.microsoft.com/office/drawing/2014/main" id="{D7404126-08AD-4552-8BBC-FCAE4F2B855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59424" y="4920678"/>
                <a:ext cx="152400" cy="152400"/>
              </a:xfrm>
              <a:prstGeom prst="ellipse">
                <a:avLst/>
              </a:prstGeom>
              <a:solidFill>
                <a:schemeClr val="accent1">
                  <a:lumMod val="10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iṧ1íďe">
                <a:extLst>
                  <a:ext uri="{FF2B5EF4-FFF2-40B4-BE49-F238E27FC236}">
                    <a16:creationId xmlns:a16="http://schemas.microsoft.com/office/drawing/2014/main" id="{F5D4C444-E04B-4420-B13B-A8118DB3C4B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875327" y="3692215"/>
                <a:ext cx="152400" cy="152400"/>
              </a:xfrm>
              <a:prstGeom prst="ellipse">
                <a:avLst/>
              </a:prstGeom>
              <a:solidFill>
                <a:schemeClr val="accent2">
                  <a:lumMod val="10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ïşḻïḍè">
                <a:extLst>
                  <a:ext uri="{FF2B5EF4-FFF2-40B4-BE49-F238E27FC236}">
                    <a16:creationId xmlns:a16="http://schemas.microsoft.com/office/drawing/2014/main" id="{4D2092F2-654C-403B-AFC3-1B43418EAFA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183969" y="3692215"/>
                <a:ext cx="152400" cy="152400"/>
              </a:xfrm>
              <a:prstGeom prst="ellipse">
                <a:avLst/>
              </a:prstGeom>
              <a:solidFill>
                <a:schemeClr val="accent4">
                  <a:lumMod val="10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sp>
        <p:nvSpPr>
          <p:cNvPr id="8" name="îŝľîde">
            <a:extLst>
              <a:ext uri="{FF2B5EF4-FFF2-40B4-BE49-F238E27FC236}">
                <a16:creationId xmlns:a16="http://schemas.microsoft.com/office/drawing/2014/main" id="{638D4F12-A18C-4AE7-8F23-1F772791A569}"/>
              </a:ext>
            </a:extLst>
          </p:cNvPr>
          <p:cNvSpPr>
            <a:spLocks noChangeAspect="1"/>
          </p:cNvSpPr>
          <p:nvPr/>
        </p:nvSpPr>
        <p:spPr>
          <a:xfrm>
            <a:off x="7680176" y="4920678"/>
            <a:ext cx="152400" cy="152400"/>
          </a:xfrm>
          <a:prstGeom prst="ellipse">
            <a:avLst/>
          </a:prstGeom>
          <a:solidFill>
            <a:schemeClr val="accent5">
              <a:lumMod val="10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6">
                    <a:lumMod val="10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9" name="ïŝļíḑè">
            <a:extLst>
              <a:ext uri="{FF2B5EF4-FFF2-40B4-BE49-F238E27FC236}">
                <a16:creationId xmlns:a16="http://schemas.microsoft.com/office/drawing/2014/main" id="{114C7BF6-F34A-4512-A127-E60234ED6CDA}"/>
              </a:ext>
            </a:extLst>
          </p:cNvPr>
          <p:cNvSpPr>
            <a:spLocks/>
          </p:cNvSpPr>
          <p:nvPr/>
        </p:nvSpPr>
        <p:spPr bwMode="auto">
          <a:xfrm>
            <a:off x="8068871" y="4490469"/>
            <a:ext cx="969171" cy="968376"/>
          </a:xfrm>
          <a:prstGeom prst="ellipse">
            <a:avLst/>
          </a:prstGeom>
          <a:solidFill>
            <a:schemeClr val="accent5">
              <a:lumMod val="10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5">
                    <a:lumMod val="10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05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47" name="işḷide">
            <a:extLst>
              <a:ext uri="{FF2B5EF4-FFF2-40B4-BE49-F238E27FC236}">
                <a16:creationId xmlns:a16="http://schemas.microsoft.com/office/drawing/2014/main" id="{D8F8FA3D-28DB-4DD4-A302-C5938D7BB017}"/>
              </a:ext>
            </a:extLst>
          </p:cNvPr>
          <p:cNvSpPr>
            <a:spLocks/>
          </p:cNvSpPr>
          <p:nvPr/>
        </p:nvSpPr>
        <p:spPr bwMode="auto">
          <a:xfrm>
            <a:off x="7417211" y="2809237"/>
            <a:ext cx="969171" cy="971549"/>
          </a:xfrm>
          <a:prstGeom prst="ellipse">
            <a:avLst/>
          </a:prstGeom>
          <a:solidFill>
            <a:schemeClr val="accent4">
              <a:lumMod val="100000"/>
            </a:schemeClr>
          </a:solidFill>
          <a:ln>
            <a:noFill/>
          </a:ln>
        </p:spPr>
        <p:txBody>
          <a:bodyPr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04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8" name="îš1íḍé">
            <a:extLst>
              <a:ext uri="{FF2B5EF4-FFF2-40B4-BE49-F238E27FC236}">
                <a16:creationId xmlns:a16="http://schemas.microsoft.com/office/drawing/2014/main" id="{6AB74225-B662-4539-A6CD-1FC9CEADA66A}"/>
              </a:ext>
            </a:extLst>
          </p:cNvPr>
          <p:cNvSpPr>
            <a:spLocks/>
          </p:cNvSpPr>
          <p:nvPr/>
        </p:nvSpPr>
        <p:spPr bwMode="auto">
          <a:xfrm>
            <a:off x="5617397" y="2082706"/>
            <a:ext cx="966792" cy="971549"/>
          </a:xfrm>
          <a:prstGeom prst="ellipse">
            <a:avLst/>
          </a:prstGeom>
          <a:solidFill>
            <a:schemeClr val="accent3">
              <a:lumMod val="100000"/>
            </a:schemeClr>
          </a:solidFill>
          <a:ln>
            <a:noFill/>
          </a:ln>
        </p:spPr>
        <p:txBody>
          <a:bodyPr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03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3" name="ïslîḓê">
            <a:extLst>
              <a:ext uri="{FF2B5EF4-FFF2-40B4-BE49-F238E27FC236}">
                <a16:creationId xmlns:a16="http://schemas.microsoft.com/office/drawing/2014/main" id="{3A36F89D-3E6B-44FE-83BC-D59EC2E5844D}"/>
              </a:ext>
            </a:extLst>
          </p:cNvPr>
          <p:cNvSpPr>
            <a:spLocks/>
          </p:cNvSpPr>
          <p:nvPr/>
        </p:nvSpPr>
        <p:spPr bwMode="auto">
          <a:xfrm rot="21540000">
            <a:off x="3822789" y="2810823"/>
            <a:ext cx="966789" cy="968376"/>
          </a:xfrm>
          <a:prstGeom prst="ellipse">
            <a:avLst/>
          </a:prstGeom>
          <a:solidFill>
            <a:schemeClr val="accent2">
              <a:lumMod val="100000"/>
            </a:schemeClr>
          </a:solidFill>
          <a:ln>
            <a:noFill/>
          </a:ln>
        </p:spPr>
        <p:txBody>
          <a:bodyPr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02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0" name="íṡ1îďè">
            <a:extLst>
              <a:ext uri="{FF2B5EF4-FFF2-40B4-BE49-F238E27FC236}">
                <a16:creationId xmlns:a16="http://schemas.microsoft.com/office/drawing/2014/main" id="{B5BC3320-331F-4934-9D7A-6935126E3E15}"/>
              </a:ext>
            </a:extLst>
          </p:cNvPr>
          <p:cNvSpPr>
            <a:spLocks/>
          </p:cNvSpPr>
          <p:nvPr/>
        </p:nvSpPr>
        <p:spPr bwMode="auto">
          <a:xfrm>
            <a:off x="3222154" y="4523808"/>
            <a:ext cx="901700" cy="901700"/>
          </a:xfrm>
          <a:prstGeom prst="ellipse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01</a:t>
            </a:r>
            <a:endParaRPr sz="2000" dirty="0">
              <a:solidFill>
                <a:schemeClr val="bg1"/>
              </a:solidFill>
            </a:endParaRPr>
          </a:p>
        </p:txBody>
      </p:sp>
      <p:grpSp>
        <p:nvGrpSpPr>
          <p:cNvPr id="91" name="组合 90"/>
          <p:cNvGrpSpPr/>
          <p:nvPr/>
        </p:nvGrpSpPr>
        <p:grpSpPr>
          <a:xfrm>
            <a:off x="673100" y="4515433"/>
            <a:ext cx="2455746" cy="920531"/>
            <a:chOff x="661537" y="1833843"/>
            <a:chExt cx="2841788" cy="920531"/>
          </a:xfrm>
        </p:grpSpPr>
        <p:sp>
          <p:nvSpPr>
            <p:cNvPr id="89" name="isḻîḓe">
              <a:extLst>
                <a:ext uri="{FF2B5EF4-FFF2-40B4-BE49-F238E27FC236}">
                  <a16:creationId xmlns:a16="http://schemas.microsoft.com/office/drawing/2014/main" id="{BA83E2A7-85EF-4AD1-B9A4-D05FAD75C3C4}"/>
                </a:ext>
              </a:extLst>
            </p:cNvPr>
            <p:cNvSpPr/>
            <p:nvPr/>
          </p:nvSpPr>
          <p:spPr bwMode="auto">
            <a:xfrm>
              <a:off x="661537" y="2221442"/>
              <a:ext cx="2841788" cy="532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90" name="îṥľîḓè">
              <a:extLst>
                <a:ext uri="{FF2B5EF4-FFF2-40B4-BE49-F238E27FC236}">
                  <a16:creationId xmlns:a16="http://schemas.microsoft.com/office/drawing/2014/main" id="{AC97B8DE-B8C6-49C3-8FE6-EB31E3B89B70}"/>
                </a:ext>
              </a:extLst>
            </p:cNvPr>
            <p:cNvSpPr txBox="1"/>
            <p:nvPr/>
          </p:nvSpPr>
          <p:spPr bwMode="auto">
            <a:xfrm>
              <a:off x="661537" y="1833843"/>
              <a:ext cx="2841788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</a:p>
          </p:txBody>
        </p:sp>
      </p:grpSp>
      <p:grpSp>
        <p:nvGrpSpPr>
          <p:cNvPr id="92" name="组合 91"/>
          <p:cNvGrpSpPr/>
          <p:nvPr/>
        </p:nvGrpSpPr>
        <p:grpSpPr>
          <a:xfrm>
            <a:off x="669925" y="2845829"/>
            <a:ext cx="3051179" cy="920531"/>
            <a:chOff x="661537" y="1833843"/>
            <a:chExt cx="2841788" cy="920531"/>
          </a:xfrm>
        </p:grpSpPr>
        <p:sp>
          <p:nvSpPr>
            <p:cNvPr id="93" name="isḻîḓe">
              <a:extLst>
                <a:ext uri="{FF2B5EF4-FFF2-40B4-BE49-F238E27FC236}">
                  <a16:creationId xmlns:a16="http://schemas.microsoft.com/office/drawing/2014/main" id="{BA83E2A7-85EF-4AD1-B9A4-D05FAD75C3C4}"/>
                </a:ext>
              </a:extLst>
            </p:cNvPr>
            <p:cNvSpPr/>
            <p:nvPr/>
          </p:nvSpPr>
          <p:spPr bwMode="auto">
            <a:xfrm>
              <a:off x="661537" y="2221442"/>
              <a:ext cx="2841788" cy="532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94" name="îṥľîḓè">
              <a:extLst>
                <a:ext uri="{FF2B5EF4-FFF2-40B4-BE49-F238E27FC236}">
                  <a16:creationId xmlns:a16="http://schemas.microsoft.com/office/drawing/2014/main" id="{AC97B8DE-B8C6-49C3-8FE6-EB31E3B89B70}"/>
                </a:ext>
              </a:extLst>
            </p:cNvPr>
            <p:cNvSpPr txBox="1"/>
            <p:nvPr/>
          </p:nvSpPr>
          <p:spPr bwMode="auto">
            <a:xfrm>
              <a:off x="661537" y="1833843"/>
              <a:ext cx="2841788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</a:p>
          </p:txBody>
        </p:sp>
      </p:grpSp>
      <p:grpSp>
        <p:nvGrpSpPr>
          <p:cNvPr id="97" name="组合 96"/>
          <p:cNvGrpSpPr/>
          <p:nvPr/>
        </p:nvGrpSpPr>
        <p:grpSpPr>
          <a:xfrm>
            <a:off x="9063154" y="4515433"/>
            <a:ext cx="2455746" cy="920531"/>
            <a:chOff x="661537" y="1833843"/>
            <a:chExt cx="2841788" cy="920531"/>
          </a:xfrm>
        </p:grpSpPr>
        <p:sp>
          <p:nvSpPr>
            <p:cNvPr id="101" name="isḻîḓe">
              <a:extLst>
                <a:ext uri="{FF2B5EF4-FFF2-40B4-BE49-F238E27FC236}">
                  <a16:creationId xmlns:a16="http://schemas.microsoft.com/office/drawing/2014/main" id="{BA83E2A7-85EF-4AD1-B9A4-D05FAD75C3C4}"/>
                </a:ext>
              </a:extLst>
            </p:cNvPr>
            <p:cNvSpPr/>
            <p:nvPr/>
          </p:nvSpPr>
          <p:spPr bwMode="auto">
            <a:xfrm>
              <a:off x="661537" y="2221442"/>
              <a:ext cx="2841788" cy="532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102" name="îṥľîḓè">
              <a:extLst>
                <a:ext uri="{FF2B5EF4-FFF2-40B4-BE49-F238E27FC236}">
                  <a16:creationId xmlns:a16="http://schemas.microsoft.com/office/drawing/2014/main" id="{AC97B8DE-B8C6-49C3-8FE6-EB31E3B89B70}"/>
                </a:ext>
              </a:extLst>
            </p:cNvPr>
            <p:cNvSpPr txBox="1"/>
            <p:nvPr/>
          </p:nvSpPr>
          <p:spPr bwMode="auto">
            <a:xfrm>
              <a:off x="661537" y="1833843"/>
              <a:ext cx="2841788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</a:p>
          </p:txBody>
        </p:sp>
      </p:grpSp>
      <p:grpSp>
        <p:nvGrpSpPr>
          <p:cNvPr id="98" name="组合 97"/>
          <p:cNvGrpSpPr/>
          <p:nvPr/>
        </p:nvGrpSpPr>
        <p:grpSpPr>
          <a:xfrm>
            <a:off x="8467721" y="2845829"/>
            <a:ext cx="3051179" cy="920531"/>
            <a:chOff x="661537" y="1833843"/>
            <a:chExt cx="2841788" cy="920531"/>
          </a:xfrm>
        </p:grpSpPr>
        <p:sp>
          <p:nvSpPr>
            <p:cNvPr id="99" name="isḻîḓe">
              <a:extLst>
                <a:ext uri="{FF2B5EF4-FFF2-40B4-BE49-F238E27FC236}">
                  <a16:creationId xmlns:a16="http://schemas.microsoft.com/office/drawing/2014/main" id="{BA83E2A7-85EF-4AD1-B9A4-D05FAD75C3C4}"/>
                </a:ext>
              </a:extLst>
            </p:cNvPr>
            <p:cNvSpPr/>
            <p:nvPr/>
          </p:nvSpPr>
          <p:spPr bwMode="auto">
            <a:xfrm>
              <a:off x="661537" y="2221442"/>
              <a:ext cx="2841788" cy="532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100" name="îṥľîḓè">
              <a:extLst>
                <a:ext uri="{FF2B5EF4-FFF2-40B4-BE49-F238E27FC236}">
                  <a16:creationId xmlns:a16="http://schemas.microsoft.com/office/drawing/2014/main" id="{AC97B8DE-B8C6-49C3-8FE6-EB31E3B89B70}"/>
                </a:ext>
              </a:extLst>
            </p:cNvPr>
            <p:cNvSpPr txBox="1"/>
            <p:nvPr/>
          </p:nvSpPr>
          <p:spPr bwMode="auto">
            <a:xfrm>
              <a:off x="661537" y="1833843"/>
              <a:ext cx="2841788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</a:p>
          </p:txBody>
        </p:sp>
      </p:grpSp>
      <p:grpSp>
        <p:nvGrpSpPr>
          <p:cNvPr id="107" name="组合 106"/>
          <p:cNvGrpSpPr/>
          <p:nvPr/>
        </p:nvGrpSpPr>
        <p:grpSpPr>
          <a:xfrm>
            <a:off x="4868127" y="1130300"/>
            <a:ext cx="2455746" cy="920531"/>
            <a:chOff x="661537" y="1833843"/>
            <a:chExt cx="2841788" cy="920531"/>
          </a:xfrm>
        </p:grpSpPr>
        <p:sp>
          <p:nvSpPr>
            <p:cNvPr id="108" name="isḻîḓe">
              <a:extLst>
                <a:ext uri="{FF2B5EF4-FFF2-40B4-BE49-F238E27FC236}">
                  <a16:creationId xmlns:a16="http://schemas.microsoft.com/office/drawing/2014/main" id="{BA83E2A7-85EF-4AD1-B9A4-D05FAD75C3C4}"/>
                </a:ext>
              </a:extLst>
            </p:cNvPr>
            <p:cNvSpPr/>
            <p:nvPr/>
          </p:nvSpPr>
          <p:spPr bwMode="auto">
            <a:xfrm>
              <a:off x="661537" y="2221442"/>
              <a:ext cx="2841788" cy="532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109" name="îṥľîḓè">
              <a:extLst>
                <a:ext uri="{FF2B5EF4-FFF2-40B4-BE49-F238E27FC236}">
                  <a16:creationId xmlns:a16="http://schemas.microsoft.com/office/drawing/2014/main" id="{AC97B8DE-B8C6-49C3-8FE6-EB31E3B89B70}"/>
                </a:ext>
              </a:extLst>
            </p:cNvPr>
            <p:cNvSpPr txBox="1"/>
            <p:nvPr/>
          </p:nvSpPr>
          <p:spPr bwMode="auto">
            <a:xfrm>
              <a:off x="661537" y="1833843"/>
              <a:ext cx="2841788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862483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2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382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2;#438781;#438780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1;#438780;#438778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46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2;#438781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3;#438781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1;#438781;#438781;#438780;#438778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fa3383a-50dc-4876-b1da-c9e6ef69e0f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#186263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3;#438781;#438780;#438784;#438782;#438783;#438777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2;#438780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2;#438780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2;#438780;#438778;#438777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3;#438781;#438780;#438777;#438778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1;#438782;#438779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989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105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#438783;#438782;#438781;#438780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00eab8d-f822-465e-86d2-4dfa6ec085d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84;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008837"/>
      </a:accent1>
      <a:accent2>
        <a:srgbClr val="8A8FA2"/>
      </a:accent2>
      <a:accent3>
        <a:srgbClr val="7FB192"/>
      </a:accent3>
      <a:accent4>
        <a:srgbClr val="ECEFF4"/>
      </a:accent4>
      <a:accent5>
        <a:srgbClr val="1E5133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7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008837"/>
    </a:accent1>
    <a:accent2>
      <a:srgbClr val="8A8FA2"/>
    </a:accent2>
    <a:accent3>
      <a:srgbClr val="7FB192"/>
    </a:accent3>
    <a:accent4>
      <a:srgbClr val="ECEFF4"/>
    </a:accent4>
    <a:accent5>
      <a:srgbClr val="1E5133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07</TotalTime>
  <Words>2122</Words>
  <Application>Microsoft Office PowerPoint</Application>
  <PresentationFormat>宽屏</PresentationFormat>
  <Paragraphs>424</Paragraphs>
  <Slides>27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33" baseType="lpstr">
      <vt:lpstr>等线</vt:lpstr>
      <vt:lpstr>Arial</vt:lpstr>
      <vt:lpstr>Arial</vt:lpstr>
      <vt:lpstr>Calibri</vt:lpstr>
      <vt:lpstr>主题5</vt:lpstr>
      <vt:lpstr>think-cell Slide</vt:lpstr>
      <vt:lpstr>东莞理工学院 汇报答辩模板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东莞理工学院论文答辩PPT模板</dc:title>
  <dc:creator>iSlide</dc:creator>
  <cp:keywords>51PPT模板网（www.51pptmoban.com）</cp:keywords>
  <dc:description>51PPT模板网，幻灯片演示模板及素材免费下载！_x000d_
51PPT模板网 唯一访问网址：www.51pptmoban.com</dc:description>
  <cp:lastModifiedBy>jingtao hu</cp:lastModifiedBy>
  <cp:revision>128</cp:revision>
  <cp:lastPrinted>2017-11-14T16:00:00Z</cp:lastPrinted>
  <dcterms:created xsi:type="dcterms:W3CDTF">2017-11-14T16:00:00Z</dcterms:created>
  <dcterms:modified xsi:type="dcterms:W3CDTF">2024-09-15T02:53:37Z</dcterms:modified>
  <cp:contentStatus>东莞理工学院论文答辩PPT模板，www.51pptmoban.com</cp:contentStatus>
  <cp:version>51pptmoban.com（V51PPT-24050803版）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